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9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0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1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24"/>
  </p:notesMasterIdLst>
  <p:sldIdLst>
    <p:sldId id="2147483374" r:id="rId6"/>
    <p:sldId id="2147474757" r:id="rId7"/>
    <p:sldId id="2147474759" r:id="rId8"/>
    <p:sldId id="2147474766" r:id="rId9"/>
    <p:sldId id="2147474771" r:id="rId10"/>
    <p:sldId id="2147474774" r:id="rId11"/>
    <p:sldId id="2147474775" r:id="rId12"/>
    <p:sldId id="2147474778" r:id="rId13"/>
    <p:sldId id="2147474779" r:id="rId14"/>
    <p:sldId id="2147474783" r:id="rId15"/>
    <p:sldId id="2147474784" r:id="rId16"/>
    <p:sldId id="2147474786" r:id="rId17"/>
    <p:sldId id="2147483376" r:id="rId18"/>
    <p:sldId id="256" r:id="rId19"/>
    <p:sldId id="257" r:id="rId20"/>
    <p:sldId id="2147483377" r:id="rId21"/>
    <p:sldId id="2147483612" r:id="rId22"/>
    <p:sldId id="2147483613" r:id="rId23"/>
  </p:sldIdLst>
  <p:sldSz cx="12192000" cy="6858000"/>
  <p:notesSz cx="6797675" cy="9926638"/>
  <p:custDataLst>
    <p:tags r:id="rId2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kko blanks" id="{715A0D4B-63A4-4BF9-B57A-690E4108D821}">
          <p14:sldIdLst>
            <p14:sldId id="2147483374"/>
            <p14:sldId id="2147474757"/>
            <p14:sldId id="2147474759"/>
            <p14:sldId id="2147474766"/>
            <p14:sldId id="2147474771"/>
            <p14:sldId id="2147474774"/>
            <p14:sldId id="2147474775"/>
            <p14:sldId id="2147474778"/>
            <p14:sldId id="2147474779"/>
            <p14:sldId id="2147474783"/>
            <p14:sldId id="2147474784"/>
            <p14:sldId id="2147474786"/>
          </p14:sldIdLst>
        </p14:section>
        <p14:section name="think-cell" id="{9B25E1C9-EFCB-4608-A2EC-340E0B460D3B}">
          <p14:sldIdLst>
            <p14:sldId id="2147483376"/>
            <p14:sldId id="256"/>
            <p14:sldId id="257"/>
            <p14:sldId id="2147483377"/>
            <p14:sldId id="2147483612"/>
            <p14:sldId id="214748361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930460333006855E-2"/>
          <c:y val="2.2384847180370211E-2"/>
          <c:w val="0.89813907933398629"/>
          <c:h val="0.9552303056392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D8-4F23-B603-AED46F1FCB5F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D8-4F23-B603-AED46F1FCB5F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0.000000000000007</c:v>
                </c:pt>
                <c:pt idx="1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8-4F23-B603-AED46F1FCB5F}"/>
            </c:ext>
          </c:extLst>
        </c:ser>
        <c:ser>
          <c:idx val="3"/>
          <c:order val="3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8-4F23-B603-AED46F1FCB5F}"/>
            </c:ext>
          </c:extLst>
        </c:ser>
        <c:ser>
          <c:idx val="4"/>
          <c:order val="4"/>
          <c:spPr>
            <a:solidFill>
              <a:srgbClr val="D6D6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D8-4F23-B603-AED46F1FC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100"/>
        <c:axId val="2123413936"/>
        <c:axId val="1"/>
      </c:barChart>
      <c:catAx>
        <c:axId val="2123413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123413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146786056923563E-3"/>
          <c:y val="2.2423458387235879E-2"/>
          <c:w val="0.9833706427886153"/>
          <c:h val="0.955153083225528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35</c:v>
                </c:pt>
                <c:pt idx="1">
                  <c:v>30</c:v>
                </c:pt>
                <c:pt idx="2">
                  <c:v>28.000000000000004</c:v>
                </c:pt>
                <c:pt idx="3">
                  <c:v>38</c:v>
                </c:pt>
                <c:pt idx="4">
                  <c:v>35</c:v>
                </c:pt>
                <c:pt idx="5">
                  <c:v>30</c:v>
                </c:pt>
                <c:pt idx="6">
                  <c:v>14.285714285714299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C4-4492-B56F-E13AFE619FFE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30</c:v>
                </c:pt>
                <c:pt idx="1">
                  <c:v>30</c:v>
                </c:pt>
                <c:pt idx="2">
                  <c:v>29.999999999999996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C4-4492-B56F-E13AFE619FFE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C4-4492-B56F-E13AFE619F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56514783"/>
        <c:axId val="1"/>
      </c:barChart>
      <c:lineChart>
        <c:grouping val="standard"/>
        <c:varyColors val="0"/>
        <c:ser>
          <c:idx val="3"/>
          <c:order val="3"/>
          <c:spPr>
            <a:ln w="381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4:$H$4</c:f>
              <c:numCache>
                <c:formatCode>General</c:formatCode>
                <c:ptCount val="8"/>
                <c:pt idx="0">
                  <c:v>4.125</c:v>
                </c:pt>
                <c:pt idx="1">
                  <c:v>4.1428571428571397</c:v>
                </c:pt>
                <c:pt idx="2">
                  <c:v>4.4285714285714297</c:v>
                </c:pt>
                <c:pt idx="3">
                  <c:v>3.8571428571428599</c:v>
                </c:pt>
                <c:pt idx="4">
                  <c:v>3.8571428571428599</c:v>
                </c:pt>
                <c:pt idx="5">
                  <c:v>4.28571428571429</c:v>
                </c:pt>
                <c:pt idx="6">
                  <c:v>4.4285714285714297</c:v>
                </c:pt>
                <c:pt idx="7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C4-4492-B56F-E13AFE619FFE}"/>
            </c:ext>
          </c:extLst>
        </c:ser>
        <c:ser>
          <c:idx val="4"/>
          <c:order val="4"/>
          <c:spPr>
            <a:ln w="3810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5:$H$5</c:f>
              <c:numCache>
                <c:formatCode>General</c:formatCode>
                <c:ptCount val="8"/>
                <c:pt idx="0">
                  <c:v>4.1666666666666696</c:v>
                </c:pt>
                <c:pt idx="1">
                  <c:v>4.2</c:v>
                </c:pt>
                <c:pt idx="2">
                  <c:v>4</c:v>
                </c:pt>
                <c:pt idx="3">
                  <c:v>4.1666666666666696</c:v>
                </c:pt>
                <c:pt idx="4">
                  <c:v>4.3333333333333304</c:v>
                </c:pt>
                <c:pt idx="5">
                  <c:v>4.6666666666666696</c:v>
                </c:pt>
                <c:pt idx="6">
                  <c:v>4.2</c:v>
                </c:pt>
                <c:pt idx="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C4-4492-B56F-E13AFE619FFE}"/>
            </c:ext>
          </c:extLst>
        </c:ser>
        <c:ser>
          <c:idx val="5"/>
          <c:order val="5"/>
          <c:spPr>
            <a:ln w="38100" cmpd="sng" algn="ctr">
              <a:solidFill>
                <a:srgbClr val="C6AA3D"/>
              </a:solidFill>
              <a:prstDash val="solid"/>
            </a:ln>
          </c:spPr>
          <c:marker>
            <c:symbol val="none"/>
          </c:marker>
          <c:val>
            <c:numRef>
              <c:f>Sheet1!$A$6:$H$6</c:f>
              <c:numCache>
                <c:formatCode>General</c:formatCode>
                <c:ptCount val="8"/>
                <c:pt idx="0">
                  <c:v>4</c:v>
                </c:pt>
                <c:pt idx="1">
                  <c:v>4.5</c:v>
                </c:pt>
                <c:pt idx="2">
                  <c:v>4</c:v>
                </c:pt>
                <c:pt idx="3">
                  <c:v>4</c:v>
                </c:pt>
                <c:pt idx="4">
                  <c:v>4.5</c:v>
                </c:pt>
                <c:pt idx="5">
                  <c:v>3</c:v>
                </c:pt>
                <c:pt idx="6">
                  <c:v>3.5</c:v>
                </c:pt>
                <c:pt idx="7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C4-4492-B56F-E13AFE619FFE}"/>
            </c:ext>
          </c:extLst>
        </c:ser>
        <c:ser>
          <c:idx val="6"/>
          <c:order val="6"/>
          <c:spPr>
            <a:ln w="38100" cmpd="sng" algn="ctr">
              <a:solidFill>
                <a:srgbClr val="83AC9A"/>
              </a:solidFill>
              <a:prstDash val="solid"/>
            </a:ln>
          </c:spPr>
          <c:marker>
            <c:symbol val="none"/>
          </c:marker>
          <c:val>
            <c:numRef>
              <c:f>Sheet1!$A$7:$H$7</c:f>
              <c:numCache>
                <c:formatCode>General</c:formatCode>
                <c:ptCount val="8"/>
                <c:pt idx="0">
                  <c:v>5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.28571428571429</c:v>
                </c:pt>
                <c:pt idx="6">
                  <c:v>4</c:v>
                </c:pt>
                <c:pt idx="7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1C4-4492-B56F-E13AFE619FFE}"/>
            </c:ext>
          </c:extLst>
        </c:ser>
        <c:ser>
          <c:idx val="7"/>
          <c:order val="7"/>
          <c:spPr>
            <a:ln w="38100" cmpd="sng" algn="ctr">
              <a:solidFill>
                <a:srgbClr val="F2DE8A"/>
              </a:solidFill>
              <a:prstDash val="solid"/>
            </a:ln>
          </c:spPr>
          <c:marker>
            <c:symbol val="none"/>
          </c:marker>
          <c:val>
            <c:numRef>
              <c:f>Sheet1!$A$8:$H$8</c:f>
              <c:numCache>
                <c:formatCode>General</c:formatCode>
                <c:ptCount val="8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4</c:v>
                </c:pt>
                <c:pt idx="4">
                  <c:v>3.5</c:v>
                </c:pt>
                <c:pt idx="5">
                  <c:v>4</c:v>
                </c:pt>
                <c:pt idx="6">
                  <c:v>3</c:v>
                </c:pt>
                <c:pt idx="7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1C4-4492-B56F-E13AFE619F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556514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556514783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246334310850442E-2"/>
          <c:y val="1.9726858877086494E-2"/>
          <c:w val="0.84750733137829914"/>
          <c:h val="0.960546282245827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C5C5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4F8-4C10-B289-34E3206C0E15}"/>
              </c:ext>
            </c:extLst>
          </c:dPt>
          <c:dPt>
            <c:idx val="1"/>
            <c:invertIfNegative val="0"/>
            <c:bubble3D val="0"/>
            <c:spPr>
              <a:solidFill>
                <a:srgbClr val="46647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4F8-4C10-B289-34E3206C0E15}"/>
              </c:ext>
            </c:extLst>
          </c:dPt>
          <c:dPt>
            <c:idx val="4"/>
            <c:invertIfNegative val="0"/>
            <c:bubble3D val="0"/>
            <c:spPr>
              <a:solidFill>
                <a:srgbClr val="5C5C5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4F8-4C10-B289-34E3206C0E15}"/>
              </c:ext>
            </c:extLst>
          </c:dPt>
          <c:dPt>
            <c:idx val="7"/>
            <c:invertIfNegative val="0"/>
            <c:bubble3D val="0"/>
            <c:spPr>
              <a:solidFill>
                <a:srgbClr val="46647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4F8-4C10-B289-34E3206C0E15}"/>
              </c:ext>
            </c:extLst>
          </c:dPt>
          <c:dPt>
            <c:idx val="8"/>
            <c:invertIfNegative val="0"/>
            <c:bubble3D val="0"/>
            <c:spPr>
              <a:solidFill>
                <a:srgbClr val="D6D6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4F8-4C10-B289-34E3206C0E15}"/>
              </c:ext>
            </c:extLst>
          </c:dPt>
          <c:dPt>
            <c:idx val="9"/>
            <c:invertIfNegative val="0"/>
            <c:bubble3D val="0"/>
            <c:spPr>
              <a:solidFill>
                <a:srgbClr val="5C5C5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4F8-4C10-B289-34E3206C0E15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</c:v>
                </c:pt>
                <c:pt idx="1">
                  <c:v>0.99333333333333296</c:v>
                </c:pt>
                <c:pt idx="2">
                  <c:v>0.93</c:v>
                </c:pt>
                <c:pt idx="3">
                  <c:v>0.93</c:v>
                </c:pt>
                <c:pt idx="4">
                  <c:v>0.96333333333333304</c:v>
                </c:pt>
                <c:pt idx="5">
                  <c:v>0.68333333333333302</c:v>
                </c:pt>
                <c:pt idx="6">
                  <c:v>0.86666666666666703</c:v>
                </c:pt>
                <c:pt idx="7">
                  <c:v>0.79</c:v>
                </c:pt>
                <c:pt idx="8">
                  <c:v>0.53</c:v>
                </c:pt>
                <c:pt idx="9">
                  <c:v>0.5466666666666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F8-4C10-B289-34E3206C0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360318143"/>
        <c:axId val="1"/>
      </c:barChart>
      <c:catAx>
        <c:axId val="13603181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60318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078078078078081E-2"/>
          <c:y val="1.9726858877086494E-2"/>
          <c:w val="0.84384384384384381"/>
          <c:h val="0.960546282245827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</c:v>
                </c:pt>
                <c:pt idx="1">
                  <c:v>0.99333333333333296</c:v>
                </c:pt>
                <c:pt idx="2">
                  <c:v>0.93</c:v>
                </c:pt>
                <c:pt idx="3">
                  <c:v>0.93</c:v>
                </c:pt>
                <c:pt idx="4">
                  <c:v>0.96333333333333304</c:v>
                </c:pt>
                <c:pt idx="5">
                  <c:v>0.68333333333333302</c:v>
                </c:pt>
                <c:pt idx="6">
                  <c:v>0.86666666666666703</c:v>
                </c:pt>
                <c:pt idx="7">
                  <c:v>0.79</c:v>
                </c:pt>
                <c:pt idx="8">
                  <c:v>0.53</c:v>
                </c:pt>
                <c:pt idx="9">
                  <c:v>0.5466666666666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52-4CD7-9A42-FFBC98EA17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56362943"/>
        <c:axId val="1"/>
      </c:barChart>
      <c:catAx>
        <c:axId val="15563629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563629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961019490254871E-2"/>
          <c:y val="1.9726858877086494E-2"/>
          <c:w val="0.84407796101949029"/>
          <c:h val="0.960546282245827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</c:v>
                </c:pt>
                <c:pt idx="1">
                  <c:v>0.99333333333333296</c:v>
                </c:pt>
                <c:pt idx="2">
                  <c:v>0.93</c:v>
                </c:pt>
                <c:pt idx="3">
                  <c:v>0.93</c:v>
                </c:pt>
                <c:pt idx="4">
                  <c:v>0.96333333333333304</c:v>
                </c:pt>
                <c:pt idx="5">
                  <c:v>0.68333333333333302</c:v>
                </c:pt>
                <c:pt idx="6">
                  <c:v>0.86666666666666703</c:v>
                </c:pt>
                <c:pt idx="7">
                  <c:v>0.79</c:v>
                </c:pt>
                <c:pt idx="8">
                  <c:v>0.53</c:v>
                </c:pt>
                <c:pt idx="9">
                  <c:v>0.5466666666666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C5-48EC-A7F1-7188C5921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56434079"/>
        <c:axId val="1"/>
      </c:barChart>
      <c:catAx>
        <c:axId val="15564340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56434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961019490254871E-2"/>
          <c:y val="1.9726858877086494E-2"/>
          <c:w val="0.84407796101949029"/>
          <c:h val="0.960546282245827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</c:v>
                </c:pt>
                <c:pt idx="1">
                  <c:v>0.99333333333333296</c:v>
                </c:pt>
                <c:pt idx="2">
                  <c:v>0.93</c:v>
                </c:pt>
                <c:pt idx="3">
                  <c:v>0.93</c:v>
                </c:pt>
                <c:pt idx="4">
                  <c:v>0.96333333333333304</c:v>
                </c:pt>
                <c:pt idx="5">
                  <c:v>0.68333333333333302</c:v>
                </c:pt>
                <c:pt idx="6">
                  <c:v>0.86666666666666703</c:v>
                </c:pt>
                <c:pt idx="7">
                  <c:v>0.79</c:v>
                </c:pt>
                <c:pt idx="8">
                  <c:v>0.53</c:v>
                </c:pt>
                <c:pt idx="9">
                  <c:v>0.5466666666666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22-49AB-9A6D-9E6D02FADC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50011407"/>
        <c:axId val="1"/>
      </c:barChart>
      <c:catAx>
        <c:axId val="15500114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500114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961019490254871E-2"/>
          <c:y val="1.9726858877086494E-2"/>
          <c:w val="0.84407796101949029"/>
          <c:h val="0.960546282245827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</c:v>
                </c:pt>
                <c:pt idx="1">
                  <c:v>0.99333333333333296</c:v>
                </c:pt>
                <c:pt idx="2">
                  <c:v>0.93</c:v>
                </c:pt>
                <c:pt idx="3">
                  <c:v>0.93</c:v>
                </c:pt>
                <c:pt idx="4">
                  <c:v>0.96333333333333304</c:v>
                </c:pt>
                <c:pt idx="5">
                  <c:v>0.68333333333333302</c:v>
                </c:pt>
                <c:pt idx="6">
                  <c:v>0.86666666666666703</c:v>
                </c:pt>
                <c:pt idx="7">
                  <c:v>0.79</c:v>
                </c:pt>
                <c:pt idx="8">
                  <c:v>0.53</c:v>
                </c:pt>
                <c:pt idx="9">
                  <c:v>0.5466666666666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6F-4BE6-A298-95D3B6136D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50071311"/>
        <c:axId val="1"/>
      </c:barChart>
      <c:catAx>
        <c:axId val="15500713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50071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980965564976645E-3"/>
          <c:y val="3.0409356725146199E-2"/>
          <c:w val="0.98200380688700473"/>
          <c:h val="0.9391812865497075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0.9</c:v>
                </c:pt>
                <c:pt idx="1">
                  <c:v>0.8</c:v>
                </c:pt>
                <c:pt idx="2">
                  <c:v>0.7</c:v>
                </c:pt>
                <c:pt idx="3">
                  <c:v>0.6</c:v>
                </c:pt>
                <c:pt idx="4">
                  <c:v>0.5</c:v>
                </c:pt>
                <c:pt idx="5">
                  <c:v>0.4</c:v>
                </c:pt>
                <c:pt idx="6">
                  <c:v>0.3</c:v>
                </c:pt>
                <c:pt idx="7">
                  <c:v>0.2</c:v>
                </c:pt>
                <c:pt idx="8">
                  <c:v>0.1</c:v>
                </c:pt>
                <c:pt idx="9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24-4E1F-AC31-6D13438C6A15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0.8</c:v>
                </c:pt>
                <c:pt idx="1">
                  <c:v>0.7</c:v>
                </c:pt>
                <c:pt idx="2">
                  <c:v>0.6</c:v>
                </c:pt>
                <c:pt idx="3">
                  <c:v>0.5</c:v>
                </c:pt>
                <c:pt idx="4">
                  <c:v>0.4</c:v>
                </c:pt>
                <c:pt idx="5">
                  <c:v>0.3</c:v>
                </c:pt>
                <c:pt idx="6">
                  <c:v>0.2</c:v>
                </c:pt>
                <c:pt idx="7">
                  <c:v>9.9999999999999395E-2</c:v>
                </c:pt>
                <c:pt idx="8">
                  <c:v>0.05</c:v>
                </c:pt>
                <c:pt idx="9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24-4E1F-AC31-6D13438C6A15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J$3</c:f>
              <c:numCache>
                <c:formatCode>General</c:formatCode>
                <c:ptCount val="10"/>
                <c:pt idx="0">
                  <c:v>0.7</c:v>
                </c:pt>
                <c:pt idx="1">
                  <c:v>0.6</c:v>
                </c:pt>
                <c:pt idx="2">
                  <c:v>0.5</c:v>
                </c:pt>
                <c:pt idx="3">
                  <c:v>0.4</c:v>
                </c:pt>
                <c:pt idx="4">
                  <c:v>0.3</c:v>
                </c:pt>
                <c:pt idx="5">
                  <c:v>0.2</c:v>
                </c:pt>
                <c:pt idx="6">
                  <c:v>0.1</c:v>
                </c:pt>
                <c:pt idx="7">
                  <c:v>0.05</c:v>
                </c:pt>
                <c:pt idx="8">
                  <c:v>0.0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24-4E1F-AC31-6D13438C6A15}"/>
            </c:ext>
          </c:extLst>
        </c:ser>
        <c:ser>
          <c:idx val="3"/>
          <c:order val="3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J$4</c:f>
              <c:numCache>
                <c:formatCode>General</c:formatCode>
                <c:ptCount val="10"/>
                <c:pt idx="0">
                  <c:v>0.6</c:v>
                </c:pt>
                <c:pt idx="1">
                  <c:v>0.5</c:v>
                </c:pt>
                <c:pt idx="2">
                  <c:v>0.4</c:v>
                </c:pt>
                <c:pt idx="3">
                  <c:v>0.3</c:v>
                </c:pt>
                <c:pt idx="4">
                  <c:v>0.2</c:v>
                </c:pt>
                <c:pt idx="5">
                  <c:v>0.1</c:v>
                </c:pt>
                <c:pt idx="6">
                  <c:v>0.05</c:v>
                </c:pt>
                <c:pt idx="7">
                  <c:v>0.02</c:v>
                </c:pt>
                <c:pt idx="8">
                  <c:v>0.0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24-4E1F-AC31-6D13438C6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92454672"/>
        <c:axId val="1"/>
      </c:barChart>
      <c:catAx>
        <c:axId val="19924546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992454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930460333006855E-2"/>
          <c:y val="2.2384847180370211E-2"/>
          <c:w val="0.89813907933398629"/>
          <c:h val="0.9552303056392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666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3C-4E9F-BFD0-A02EDBFB0EED}"/>
            </c:ext>
          </c:extLst>
        </c:ser>
        <c:ser>
          <c:idx val="1"/>
          <c:order val="1"/>
          <c:spPr>
            <a:solidFill>
              <a:schemeClr val="bg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3C-4E9F-BFD0-A02EDBFB0E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100"/>
        <c:axId val="2132183727"/>
        <c:axId val="1"/>
      </c:barChart>
      <c:catAx>
        <c:axId val="21321837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1321837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930460333006855E-2"/>
          <c:y val="2.2384847180370211E-2"/>
          <c:w val="0.89813907933398629"/>
          <c:h val="0.9552303056392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CB-49DF-90B1-73BEEF5B9F6A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CB-49DF-90B1-73BEEF5B9F6A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0.000000000000007</c:v>
                </c:pt>
                <c:pt idx="1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CB-49DF-90B1-73BEEF5B9F6A}"/>
            </c:ext>
          </c:extLst>
        </c:ser>
        <c:ser>
          <c:idx val="3"/>
          <c:order val="3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CB-49DF-90B1-73BEEF5B9F6A}"/>
            </c:ext>
          </c:extLst>
        </c:ser>
        <c:ser>
          <c:idx val="4"/>
          <c:order val="4"/>
          <c:spPr>
            <a:solidFill>
              <a:srgbClr val="2D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CB-49DF-90B1-73BEEF5B9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100"/>
        <c:axId val="1718032416"/>
        <c:axId val="1"/>
      </c:barChart>
      <c:catAx>
        <c:axId val="1718032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18032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930460333006855E-2"/>
          <c:y val="2.2384847180370211E-2"/>
          <c:w val="0.89813907933398629"/>
          <c:h val="0.9552303056392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F3-4BCB-8CB6-27ACEDE47C9F}"/>
            </c:ext>
          </c:extLst>
        </c:ser>
        <c:ser>
          <c:idx val="1"/>
          <c:order val="1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F3-4BCB-8CB6-27ACEDE47C9F}"/>
            </c:ext>
          </c:extLst>
        </c:ser>
        <c:ser>
          <c:idx val="2"/>
          <c:order val="2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0.000000000000007</c:v>
                </c:pt>
                <c:pt idx="1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F3-4BCB-8CB6-27ACEDE47C9F}"/>
            </c:ext>
          </c:extLst>
        </c:ser>
        <c:ser>
          <c:idx val="3"/>
          <c:order val="3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F3-4BCB-8CB6-27ACEDE47C9F}"/>
            </c:ext>
          </c:extLst>
        </c:ser>
        <c:ser>
          <c:idx val="4"/>
          <c:order val="4"/>
          <c:spPr>
            <a:solidFill>
              <a:srgbClr val="D6D6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F3-4BCB-8CB6-27ACEDE47C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100"/>
        <c:axId val="1571214848"/>
        <c:axId val="1"/>
      </c:barChart>
      <c:catAx>
        <c:axId val="1571214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571214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78125E-2"/>
          <c:y val="2.2384847180370211E-2"/>
          <c:w val="0.8984375"/>
          <c:h val="0.95523030563925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2C-46AE-896A-4CB201863D51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2C-46AE-896A-4CB201863D51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0.000000000000007</c:v>
                </c:pt>
                <c:pt idx="1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2C-46AE-896A-4CB201863D51}"/>
            </c:ext>
          </c:extLst>
        </c:ser>
        <c:ser>
          <c:idx val="3"/>
          <c:order val="3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2C-46AE-896A-4CB201863D51}"/>
            </c:ext>
          </c:extLst>
        </c:ser>
        <c:ser>
          <c:idx val="4"/>
          <c:order val="4"/>
          <c:spPr>
            <a:solidFill>
              <a:srgbClr val="D6D6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9.999999999999996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2C-46AE-896A-4CB201863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100"/>
        <c:axId val="2123410608"/>
        <c:axId val="1"/>
      </c:barChart>
      <c:catAx>
        <c:axId val="2123410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123410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851093971352113E-3"/>
          <c:y val="2.4667931688804556E-2"/>
          <c:w val="0.98362978120572953"/>
          <c:h val="0.950664136622390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C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76-4D32-9533-B81B8F182C4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76-4D32-9533-B81B8F182C4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76-4D32-9533-B81B8F182C4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76-4D32-9533-B81B8F182C4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76-4D32-9533-B81B8F182C4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76-4D32-9533-B81B8F182C4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76-4D32-9533-B81B8F182C4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76-4D32-9533-B81B8F182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3.333333333333329</c:v>
                </c:pt>
                <c:pt idx="1">
                  <c:v>33.333333333333329</c:v>
                </c:pt>
                <c:pt idx="2">
                  <c:v>33.333333333333329</c:v>
                </c:pt>
                <c:pt idx="3">
                  <c:v>33.333333333333329</c:v>
                </c:pt>
                <c:pt idx="4">
                  <c:v>33.333333333333329</c:v>
                </c:pt>
                <c:pt idx="5">
                  <c:v>33.333333333333329</c:v>
                </c:pt>
                <c:pt idx="6">
                  <c:v>33.333333333333329</c:v>
                </c:pt>
                <c:pt idx="7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E76-4D32-9533-B81B8F182C4C}"/>
            </c:ext>
          </c:extLst>
        </c:ser>
        <c:ser>
          <c:idx val="1"/>
          <c:order val="1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E76-4D32-9533-B81B8F182C4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76-4D32-9533-B81B8F182C4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76-4D32-9533-B81B8F182C4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E76-4D32-9533-B81B8F182C4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E76-4D32-9533-B81B8F182C4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E76-4D32-9533-B81B8F182C4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E76-4D32-9533-B81B8F182C4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E76-4D32-9533-B81B8F182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33.333333333333329</c:v>
                </c:pt>
                <c:pt idx="1">
                  <c:v>33.333333333333329</c:v>
                </c:pt>
                <c:pt idx="2">
                  <c:v>33.333333333333329</c:v>
                </c:pt>
                <c:pt idx="3">
                  <c:v>33.333333333333329</c:v>
                </c:pt>
                <c:pt idx="4">
                  <c:v>33.333333333333329</c:v>
                </c:pt>
                <c:pt idx="5">
                  <c:v>33.333333333333329</c:v>
                </c:pt>
                <c:pt idx="6">
                  <c:v>33.333333333333329</c:v>
                </c:pt>
                <c:pt idx="7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E76-4D32-9533-B81B8F182C4C}"/>
            </c:ext>
          </c:extLst>
        </c:ser>
        <c:ser>
          <c:idx val="2"/>
          <c:order val="2"/>
          <c:spPr>
            <a:solidFill>
              <a:srgbClr val="E9CD49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E76-4D32-9533-B81B8F182C4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E76-4D32-9533-B81B8F182C4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E76-4D32-9533-B81B8F182C4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E76-4D32-9533-B81B8F182C4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E76-4D32-9533-B81B8F182C4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EE76-4D32-9533-B81B8F182C4C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EE76-4D32-9533-B81B8F182C4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EE76-4D32-9533-B81B8F182C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33.333333333333336</c:v>
                </c:pt>
                <c:pt idx="1">
                  <c:v>33.333333333333336</c:v>
                </c:pt>
                <c:pt idx="2">
                  <c:v>33.333333333333336</c:v>
                </c:pt>
                <c:pt idx="3">
                  <c:v>33.333333333333336</c:v>
                </c:pt>
                <c:pt idx="4">
                  <c:v>33.333333333333336</c:v>
                </c:pt>
                <c:pt idx="5">
                  <c:v>33.333333333333336</c:v>
                </c:pt>
                <c:pt idx="6">
                  <c:v>33.333333333333336</c:v>
                </c:pt>
                <c:pt idx="7">
                  <c:v>33.3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E76-4D32-9533-B81B8F182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2013106816"/>
        <c:axId val="1"/>
      </c:barChart>
      <c:catAx>
        <c:axId val="2013106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013106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10676156583627E-2"/>
          <c:y val="2.5157232704402517E-2"/>
          <c:w val="0.92597864768683269"/>
          <c:h val="0.949685534591194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.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F5-4B29-8D90-4FABAB9528D4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1.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F5-4B29-8D90-4FABAB9528D4}"/>
            </c:ext>
          </c:extLst>
        </c:ser>
        <c:ser>
          <c:idx val="2"/>
          <c:order val="2"/>
          <c:spPr>
            <a:solidFill>
              <a:srgbClr val="85858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1.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F5-4B29-8D90-4FABAB9528D4}"/>
            </c:ext>
          </c:extLst>
        </c:ser>
        <c:ser>
          <c:idx val="3"/>
          <c:order val="3"/>
          <c:spPr>
            <a:solidFill>
              <a:srgbClr val="B4B4B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1.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F5-4B29-8D90-4FABAB9528D4}"/>
            </c:ext>
          </c:extLst>
        </c:ser>
        <c:ser>
          <c:idx val="4"/>
          <c:order val="4"/>
          <c:spPr>
            <a:solidFill>
              <a:srgbClr val="2D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1.11111111111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F5-4B29-8D90-4FABAB9528D4}"/>
            </c:ext>
          </c:extLst>
        </c:ser>
        <c:ser>
          <c:idx val="5"/>
          <c:order val="5"/>
          <c:spPr>
            <a:solidFill>
              <a:srgbClr val="46647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1.11111111111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4F5-4B29-8D90-4FABAB9528D4}"/>
            </c:ext>
          </c:extLst>
        </c:ser>
        <c:ser>
          <c:idx val="6"/>
          <c:order val="6"/>
          <c:spPr>
            <a:solidFill>
              <a:srgbClr val="7891A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11.11111111111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F5-4B29-8D90-4FABAB9528D4}"/>
            </c:ext>
          </c:extLst>
        </c:ser>
        <c:ser>
          <c:idx val="7"/>
          <c:order val="7"/>
          <c:spPr>
            <a:solidFill>
              <a:srgbClr val="A3BCD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11.11111111111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4F5-4B29-8D90-4FABAB9528D4}"/>
            </c:ext>
          </c:extLst>
        </c:ser>
        <c:ser>
          <c:idx val="8"/>
          <c:order val="8"/>
          <c:spPr>
            <a:solidFill>
              <a:srgbClr val="DCE5E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11.11111111111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4F5-4B29-8D90-4FABAB9528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426511"/>
        <c:axId val="1"/>
      </c:barChart>
      <c:catAx>
        <c:axId val="175426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426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2897761645493E-2"/>
          <c:y val="2.5157232704402517E-2"/>
          <c:w val="0.96854204476709016"/>
          <c:h val="0.949685534591194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9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40A4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6C6-482D-A0ED-6972EE5711AC}"/>
              </c:ext>
            </c:extLst>
          </c:dPt>
          <c:dPt>
            <c:idx val="2"/>
            <c:invertIfNegative val="0"/>
            <c:bubble3D val="0"/>
            <c:spPr>
              <a:solidFill>
                <a:srgbClr val="AB8933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6C6-482D-A0ED-6972EE5711AC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6.666666666666664</c:v>
                </c:pt>
                <c:pt idx="1">
                  <c:v>20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C6-482D-A0ED-6972EE5711AC}"/>
            </c:ext>
          </c:extLst>
        </c:ser>
        <c:ser>
          <c:idx val="1"/>
          <c:order val="1"/>
          <c:spPr>
            <a:solidFill>
              <a:srgbClr val="C6AA3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73B7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6C6-482D-A0ED-6972EE5711AC}"/>
              </c:ext>
            </c:extLst>
          </c:dPt>
          <c:dPt>
            <c:idx val="1"/>
            <c:invertIfNegative val="0"/>
            <c:bubble3D val="0"/>
            <c:spPr>
              <a:solidFill>
                <a:srgbClr val="D3958D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66C6-482D-A0ED-6972EE5711AC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16.666666666666664</c:v>
                </c:pt>
                <c:pt idx="1">
                  <c:v>20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6C6-482D-A0ED-6972EE5711AC}"/>
            </c:ext>
          </c:extLst>
        </c:ser>
        <c:ser>
          <c:idx val="2"/>
          <c:order val="2"/>
          <c:spPr>
            <a:solidFill>
              <a:srgbClr val="E9CD49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A749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6C6-482D-A0ED-6972EE5711AC}"/>
              </c:ext>
            </c:extLst>
          </c:dPt>
          <c:dPt>
            <c:idx val="1"/>
            <c:invertIfNegative val="0"/>
            <c:bubble3D val="0"/>
            <c:spPr>
              <a:solidFill>
                <a:srgbClr val="D6D6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66C6-482D-A0ED-6972EE5711AC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16.666666666666668</c:v>
                </c:pt>
                <c:pt idx="1">
                  <c:v>20.000000000000007</c:v>
                </c:pt>
                <c:pt idx="2">
                  <c:v>16.666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6C6-482D-A0ED-6972EE5711AC}"/>
            </c:ext>
          </c:extLst>
        </c:ser>
        <c:ser>
          <c:idx val="3"/>
          <c:order val="3"/>
          <c:spPr>
            <a:solidFill>
              <a:srgbClr val="507867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9ABC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66C6-482D-A0ED-6972EE5711AC}"/>
              </c:ext>
            </c:extLst>
          </c:dPt>
          <c:dPt>
            <c:idx val="2"/>
            <c:invertIfNegative val="0"/>
            <c:bubble3D val="0"/>
            <c:spPr>
              <a:solidFill>
                <a:srgbClr val="F2DE8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66C6-482D-A0ED-6972EE5711AC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16.666666666666664</c:v>
                </c:pt>
                <c:pt idx="1">
                  <c:v>19.999999999999996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6C6-482D-A0ED-6972EE5711AC}"/>
            </c:ext>
          </c:extLst>
        </c:ser>
        <c:ser>
          <c:idx val="4"/>
          <c:order val="4"/>
          <c:spPr>
            <a:solidFill>
              <a:srgbClr val="104C3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ED6E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66C6-482D-A0ED-6972EE5711AC}"/>
              </c:ext>
            </c:extLst>
          </c:dPt>
          <c:dPt>
            <c:idx val="2"/>
            <c:invertIfNegative val="0"/>
            <c:bubble3D val="0"/>
            <c:spPr>
              <a:solidFill>
                <a:srgbClr val="FAEEC3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66C6-482D-A0ED-6972EE5711AC}"/>
              </c:ext>
            </c:extLst>
          </c:dPt>
          <c:val>
            <c:numRef>
              <c:f>Sheet1!$A$5:$C$5</c:f>
              <c:numCache>
                <c:formatCode>General</c:formatCode>
                <c:ptCount val="3"/>
                <c:pt idx="0">
                  <c:v>16.666666666666664</c:v>
                </c:pt>
                <c:pt idx="1">
                  <c:v>19.999999999999996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6C6-482D-A0ED-6972EE5711AC}"/>
            </c:ext>
          </c:extLst>
        </c:ser>
        <c:ser>
          <c:idx val="5"/>
          <c:order val="5"/>
          <c:spPr>
            <a:solidFill>
              <a:srgbClr val="D6D6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C$6</c:f>
              <c:numCache>
                <c:formatCode>General</c:formatCode>
                <c:ptCount val="3"/>
                <c:pt idx="0">
                  <c:v>16.666666666666664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6C6-482D-A0ED-6972EE571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75431503"/>
        <c:axId val="1"/>
      </c:barChart>
      <c:catAx>
        <c:axId val="175431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431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10676156583627E-2"/>
          <c:y val="2.5157232704402517E-2"/>
          <c:w val="0.92597864768683269"/>
          <c:h val="0.949685534591194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9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CF-440E-A777-532F677C371C}"/>
            </c:ext>
          </c:extLst>
        </c:ser>
        <c:ser>
          <c:idx val="1"/>
          <c:order val="1"/>
          <c:spPr>
            <a:solidFill>
              <a:srgbClr val="D3958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CF-440E-A777-532F677C371C}"/>
            </c:ext>
          </c:extLst>
        </c:ser>
        <c:ser>
          <c:idx val="2"/>
          <c:order val="2"/>
          <c:spPr>
            <a:solidFill>
              <a:schemeClr val="accent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CF-440E-A777-532F677C371C}"/>
            </c:ext>
          </c:extLst>
        </c:ser>
        <c:ser>
          <c:idx val="3"/>
          <c:order val="3"/>
          <c:spPr>
            <a:solidFill>
              <a:schemeClr val="accent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CF-440E-A777-532F677C371C}"/>
            </c:ext>
          </c:extLst>
        </c:ser>
        <c:ser>
          <c:idx val="4"/>
          <c:order val="4"/>
          <c:spPr>
            <a:solidFill>
              <a:srgbClr val="104C3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CF-440E-A777-532F677C37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434831"/>
        <c:axId val="1"/>
      </c:barChart>
      <c:catAx>
        <c:axId val="1754348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4348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1E44C8-294A-4183-8FD1-DAD255AD039C}" type="datetimeFigureOut">
              <a:rPr lang="en-US" smtClean="0"/>
              <a:t>5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D1848-BAB6-45BB-B982-9444BBE190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992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280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1721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BFD92-72B3-42CC-BD30-932FB190215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3762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2802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1960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1220124-9ED1-4EE0-975C-B962A57111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7728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8678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9580B8B-CA8D-42A9-AB81-0C066067EFC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45640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0615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6BACCE-704A-472D-937C-3C55DDD6C171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0173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867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0615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84520147-E622-4CEF-B08E-DB1F8618B1D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187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1220124-9ED1-4EE0-975C-B962A57111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7728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01220124-9ED1-4EE0-975C-B962A57111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038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A6E11DF-F904-4D61-B67D-198B20FAC67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5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0111626-39E8-49A3-BFCF-9D778E74FB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598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97272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80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320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58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1C21ED-275E-017B-DF76-09ED169DC7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43230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1C21ED-275E-017B-DF76-09ED169DC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CN PEG Survey blanks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S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DF8B3D-47BD-681F-6D32-BA0A15E23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40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DF8B3D-47BD-681F-6D32-BA0A15E23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CN PEG Survey blanks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WS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1198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21.em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20.emf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7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22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notesSlide" Target="../notesSlides/notesSlide10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86.xml"/><Relationship Id="rId15" Type="http://schemas.openxmlformats.org/officeDocument/2006/relationships/image" Target="../media/image24.emf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9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123.xml"/><Relationship Id="rId21" Type="http://schemas.openxmlformats.org/officeDocument/2006/relationships/tags" Target="../tags/tag118.xml"/><Relationship Id="rId42" Type="http://schemas.openxmlformats.org/officeDocument/2006/relationships/tags" Target="../tags/tag139.xml"/><Relationship Id="rId47" Type="http://schemas.openxmlformats.org/officeDocument/2006/relationships/tags" Target="../tags/tag144.xml"/><Relationship Id="rId63" Type="http://schemas.openxmlformats.org/officeDocument/2006/relationships/tags" Target="../tags/tag160.xml"/><Relationship Id="rId68" Type="http://schemas.openxmlformats.org/officeDocument/2006/relationships/tags" Target="../tags/tag165.xml"/><Relationship Id="rId84" Type="http://schemas.openxmlformats.org/officeDocument/2006/relationships/tags" Target="../tags/tag181.xml"/><Relationship Id="rId89" Type="http://schemas.openxmlformats.org/officeDocument/2006/relationships/tags" Target="../tags/tag186.xml"/><Relationship Id="rId16" Type="http://schemas.openxmlformats.org/officeDocument/2006/relationships/tags" Target="../tags/tag113.xml"/><Relationship Id="rId11" Type="http://schemas.openxmlformats.org/officeDocument/2006/relationships/tags" Target="../tags/tag108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53" Type="http://schemas.openxmlformats.org/officeDocument/2006/relationships/tags" Target="../tags/tag150.xml"/><Relationship Id="rId58" Type="http://schemas.openxmlformats.org/officeDocument/2006/relationships/tags" Target="../tags/tag155.xml"/><Relationship Id="rId74" Type="http://schemas.openxmlformats.org/officeDocument/2006/relationships/tags" Target="../tags/tag171.xml"/><Relationship Id="rId79" Type="http://schemas.openxmlformats.org/officeDocument/2006/relationships/tags" Target="../tags/tag176.xml"/><Relationship Id="rId5" Type="http://schemas.openxmlformats.org/officeDocument/2006/relationships/tags" Target="../tags/tag102.xml"/><Relationship Id="rId90" Type="http://schemas.openxmlformats.org/officeDocument/2006/relationships/tags" Target="../tags/tag187.xml"/><Relationship Id="rId95" Type="http://schemas.openxmlformats.org/officeDocument/2006/relationships/oleObject" Target="../embeddings/oleObject4.bin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43" Type="http://schemas.openxmlformats.org/officeDocument/2006/relationships/tags" Target="../tags/tag140.xml"/><Relationship Id="rId48" Type="http://schemas.openxmlformats.org/officeDocument/2006/relationships/tags" Target="../tags/tag145.xml"/><Relationship Id="rId64" Type="http://schemas.openxmlformats.org/officeDocument/2006/relationships/tags" Target="../tags/tag161.xml"/><Relationship Id="rId69" Type="http://schemas.openxmlformats.org/officeDocument/2006/relationships/tags" Target="../tags/tag166.xml"/><Relationship Id="rId80" Type="http://schemas.openxmlformats.org/officeDocument/2006/relationships/tags" Target="../tags/tag177.xml"/><Relationship Id="rId85" Type="http://schemas.openxmlformats.org/officeDocument/2006/relationships/tags" Target="../tags/tag182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Relationship Id="rId46" Type="http://schemas.openxmlformats.org/officeDocument/2006/relationships/tags" Target="../tags/tag143.xml"/><Relationship Id="rId59" Type="http://schemas.openxmlformats.org/officeDocument/2006/relationships/tags" Target="../tags/tag156.xml"/><Relationship Id="rId67" Type="http://schemas.openxmlformats.org/officeDocument/2006/relationships/tags" Target="../tags/tag164.xml"/><Relationship Id="rId20" Type="http://schemas.openxmlformats.org/officeDocument/2006/relationships/tags" Target="../tags/tag117.xml"/><Relationship Id="rId41" Type="http://schemas.openxmlformats.org/officeDocument/2006/relationships/tags" Target="../tags/tag138.xml"/><Relationship Id="rId54" Type="http://schemas.openxmlformats.org/officeDocument/2006/relationships/tags" Target="../tags/tag151.xml"/><Relationship Id="rId62" Type="http://schemas.openxmlformats.org/officeDocument/2006/relationships/tags" Target="../tags/tag159.xml"/><Relationship Id="rId70" Type="http://schemas.openxmlformats.org/officeDocument/2006/relationships/tags" Target="../tags/tag167.xml"/><Relationship Id="rId75" Type="http://schemas.openxmlformats.org/officeDocument/2006/relationships/tags" Target="../tags/tag172.xml"/><Relationship Id="rId83" Type="http://schemas.openxmlformats.org/officeDocument/2006/relationships/tags" Target="../tags/tag180.xml"/><Relationship Id="rId88" Type="http://schemas.openxmlformats.org/officeDocument/2006/relationships/tags" Target="../tags/tag185.xml"/><Relationship Id="rId91" Type="http://schemas.openxmlformats.org/officeDocument/2006/relationships/tags" Target="../tags/tag188.xml"/><Relationship Id="rId96" Type="http://schemas.openxmlformats.org/officeDocument/2006/relationships/image" Target="../media/image26.emf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49" Type="http://schemas.openxmlformats.org/officeDocument/2006/relationships/tags" Target="../tags/tag146.xml"/><Relationship Id="rId57" Type="http://schemas.openxmlformats.org/officeDocument/2006/relationships/tags" Target="../tags/tag154.xml"/><Relationship Id="rId10" Type="http://schemas.openxmlformats.org/officeDocument/2006/relationships/tags" Target="../tags/tag107.xml"/><Relationship Id="rId31" Type="http://schemas.openxmlformats.org/officeDocument/2006/relationships/tags" Target="../tags/tag128.xml"/><Relationship Id="rId44" Type="http://schemas.openxmlformats.org/officeDocument/2006/relationships/tags" Target="../tags/tag141.xml"/><Relationship Id="rId52" Type="http://schemas.openxmlformats.org/officeDocument/2006/relationships/tags" Target="../tags/tag149.xml"/><Relationship Id="rId60" Type="http://schemas.openxmlformats.org/officeDocument/2006/relationships/tags" Target="../tags/tag157.xml"/><Relationship Id="rId65" Type="http://schemas.openxmlformats.org/officeDocument/2006/relationships/tags" Target="../tags/tag162.xml"/><Relationship Id="rId73" Type="http://schemas.openxmlformats.org/officeDocument/2006/relationships/tags" Target="../tags/tag170.xml"/><Relationship Id="rId78" Type="http://schemas.openxmlformats.org/officeDocument/2006/relationships/tags" Target="../tags/tag175.xml"/><Relationship Id="rId81" Type="http://schemas.openxmlformats.org/officeDocument/2006/relationships/tags" Target="../tags/tag178.xml"/><Relationship Id="rId86" Type="http://schemas.openxmlformats.org/officeDocument/2006/relationships/tags" Target="../tags/tag183.xml"/><Relationship Id="rId94" Type="http://schemas.openxmlformats.org/officeDocument/2006/relationships/notesSlide" Target="../notesSlides/notesSlide12.xml"/><Relationship Id="rId99" Type="http://schemas.openxmlformats.org/officeDocument/2006/relationships/chart" Target="../charts/chart3.xml"/><Relationship Id="rId101" Type="http://schemas.openxmlformats.org/officeDocument/2006/relationships/chart" Target="../charts/chart5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39" Type="http://schemas.openxmlformats.org/officeDocument/2006/relationships/tags" Target="../tags/tag136.xml"/><Relationship Id="rId34" Type="http://schemas.openxmlformats.org/officeDocument/2006/relationships/tags" Target="../tags/tag131.xml"/><Relationship Id="rId50" Type="http://schemas.openxmlformats.org/officeDocument/2006/relationships/tags" Target="../tags/tag147.xml"/><Relationship Id="rId55" Type="http://schemas.openxmlformats.org/officeDocument/2006/relationships/tags" Target="../tags/tag152.xml"/><Relationship Id="rId76" Type="http://schemas.openxmlformats.org/officeDocument/2006/relationships/tags" Target="../tags/tag173.xml"/><Relationship Id="rId97" Type="http://schemas.openxmlformats.org/officeDocument/2006/relationships/chart" Target="../charts/chart1.xml"/><Relationship Id="rId7" Type="http://schemas.openxmlformats.org/officeDocument/2006/relationships/tags" Target="../tags/tag104.xml"/><Relationship Id="rId71" Type="http://schemas.openxmlformats.org/officeDocument/2006/relationships/tags" Target="../tags/tag168.xml"/><Relationship Id="rId92" Type="http://schemas.openxmlformats.org/officeDocument/2006/relationships/tags" Target="../tags/tag189.xml"/><Relationship Id="rId2" Type="http://schemas.openxmlformats.org/officeDocument/2006/relationships/tags" Target="../tags/tag99.xml"/><Relationship Id="rId29" Type="http://schemas.openxmlformats.org/officeDocument/2006/relationships/tags" Target="../tags/tag126.xml"/><Relationship Id="rId24" Type="http://schemas.openxmlformats.org/officeDocument/2006/relationships/tags" Target="../tags/tag121.xml"/><Relationship Id="rId40" Type="http://schemas.openxmlformats.org/officeDocument/2006/relationships/tags" Target="../tags/tag137.xml"/><Relationship Id="rId45" Type="http://schemas.openxmlformats.org/officeDocument/2006/relationships/tags" Target="../tags/tag142.xml"/><Relationship Id="rId66" Type="http://schemas.openxmlformats.org/officeDocument/2006/relationships/tags" Target="../tags/tag163.xml"/><Relationship Id="rId87" Type="http://schemas.openxmlformats.org/officeDocument/2006/relationships/tags" Target="../tags/tag184.xml"/><Relationship Id="rId61" Type="http://schemas.openxmlformats.org/officeDocument/2006/relationships/tags" Target="../tags/tag158.xml"/><Relationship Id="rId82" Type="http://schemas.openxmlformats.org/officeDocument/2006/relationships/tags" Target="../tags/tag179.xml"/><Relationship Id="rId19" Type="http://schemas.openxmlformats.org/officeDocument/2006/relationships/tags" Target="../tags/tag116.xml"/><Relationship Id="rId14" Type="http://schemas.openxmlformats.org/officeDocument/2006/relationships/tags" Target="../tags/tag111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56" Type="http://schemas.openxmlformats.org/officeDocument/2006/relationships/tags" Target="../tags/tag153.xml"/><Relationship Id="rId77" Type="http://schemas.openxmlformats.org/officeDocument/2006/relationships/tags" Target="../tags/tag174.xml"/><Relationship Id="rId100" Type="http://schemas.openxmlformats.org/officeDocument/2006/relationships/chart" Target="../charts/chart4.xml"/><Relationship Id="rId8" Type="http://schemas.openxmlformats.org/officeDocument/2006/relationships/tags" Target="../tags/tag105.xml"/><Relationship Id="rId51" Type="http://schemas.openxmlformats.org/officeDocument/2006/relationships/tags" Target="../tags/tag148.xml"/><Relationship Id="rId72" Type="http://schemas.openxmlformats.org/officeDocument/2006/relationships/tags" Target="../tags/tag169.xml"/><Relationship Id="rId93" Type="http://schemas.openxmlformats.org/officeDocument/2006/relationships/slideLayout" Target="../slideLayouts/slideLayout2.xml"/><Relationship Id="rId98" Type="http://schemas.openxmlformats.org/officeDocument/2006/relationships/chart" Target="../charts/chart2.xml"/><Relationship Id="rId3" Type="http://schemas.openxmlformats.org/officeDocument/2006/relationships/tags" Target="../tags/tag100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26" Type="http://schemas.openxmlformats.org/officeDocument/2006/relationships/tags" Target="../tags/tag215.xml"/><Relationship Id="rId39" Type="http://schemas.openxmlformats.org/officeDocument/2006/relationships/tags" Target="../tags/tag228.xml"/><Relationship Id="rId21" Type="http://schemas.openxmlformats.org/officeDocument/2006/relationships/tags" Target="../tags/tag210.xml"/><Relationship Id="rId34" Type="http://schemas.openxmlformats.org/officeDocument/2006/relationships/tags" Target="../tags/tag223.xml"/><Relationship Id="rId42" Type="http://schemas.openxmlformats.org/officeDocument/2006/relationships/tags" Target="../tags/tag231.xml"/><Relationship Id="rId47" Type="http://schemas.openxmlformats.org/officeDocument/2006/relationships/oleObject" Target="../embeddings/oleObject5.bin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6" Type="http://schemas.openxmlformats.org/officeDocument/2006/relationships/tags" Target="../tags/tag205.xml"/><Relationship Id="rId29" Type="http://schemas.openxmlformats.org/officeDocument/2006/relationships/tags" Target="../tags/tag218.xml"/><Relationship Id="rId11" Type="http://schemas.openxmlformats.org/officeDocument/2006/relationships/tags" Target="../tags/tag200.xml"/><Relationship Id="rId24" Type="http://schemas.openxmlformats.org/officeDocument/2006/relationships/tags" Target="../tags/tag213.xml"/><Relationship Id="rId32" Type="http://schemas.openxmlformats.org/officeDocument/2006/relationships/tags" Target="../tags/tag221.xml"/><Relationship Id="rId37" Type="http://schemas.openxmlformats.org/officeDocument/2006/relationships/tags" Target="../tags/tag226.xml"/><Relationship Id="rId40" Type="http://schemas.openxmlformats.org/officeDocument/2006/relationships/tags" Target="../tags/tag229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28" Type="http://schemas.openxmlformats.org/officeDocument/2006/relationships/tags" Target="../tags/tag217.xml"/><Relationship Id="rId36" Type="http://schemas.openxmlformats.org/officeDocument/2006/relationships/tags" Target="../tags/tag225.xml"/><Relationship Id="rId49" Type="http://schemas.openxmlformats.org/officeDocument/2006/relationships/chart" Target="../charts/chart6.xm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31" Type="http://schemas.openxmlformats.org/officeDocument/2006/relationships/tags" Target="../tags/tag220.xml"/><Relationship Id="rId44" Type="http://schemas.openxmlformats.org/officeDocument/2006/relationships/tags" Target="../tags/tag233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Relationship Id="rId27" Type="http://schemas.openxmlformats.org/officeDocument/2006/relationships/tags" Target="../tags/tag216.xml"/><Relationship Id="rId30" Type="http://schemas.openxmlformats.org/officeDocument/2006/relationships/tags" Target="../tags/tag219.xml"/><Relationship Id="rId35" Type="http://schemas.openxmlformats.org/officeDocument/2006/relationships/tags" Target="../tags/tag224.xml"/><Relationship Id="rId43" Type="http://schemas.openxmlformats.org/officeDocument/2006/relationships/tags" Target="../tags/tag232.xml"/><Relationship Id="rId48" Type="http://schemas.openxmlformats.org/officeDocument/2006/relationships/image" Target="../media/image26.emf"/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tags" Target="../tags/tag214.xml"/><Relationship Id="rId33" Type="http://schemas.openxmlformats.org/officeDocument/2006/relationships/tags" Target="../tags/tag222.xml"/><Relationship Id="rId38" Type="http://schemas.openxmlformats.org/officeDocument/2006/relationships/tags" Target="../tags/tag227.xml"/><Relationship Id="rId46" Type="http://schemas.openxmlformats.org/officeDocument/2006/relationships/notesSlide" Target="../notesSlides/notesSlide13.xml"/><Relationship Id="rId20" Type="http://schemas.openxmlformats.org/officeDocument/2006/relationships/tags" Target="../tags/tag209.xml"/><Relationship Id="rId41" Type="http://schemas.openxmlformats.org/officeDocument/2006/relationships/tags" Target="../tags/tag230.xml"/><Relationship Id="rId1" Type="http://schemas.openxmlformats.org/officeDocument/2006/relationships/tags" Target="../tags/tag190.xml"/><Relationship Id="rId6" Type="http://schemas.openxmlformats.org/officeDocument/2006/relationships/tags" Target="../tags/tag195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259.xml"/><Relationship Id="rId21" Type="http://schemas.openxmlformats.org/officeDocument/2006/relationships/tags" Target="../tags/tag254.xml"/><Relationship Id="rId42" Type="http://schemas.openxmlformats.org/officeDocument/2006/relationships/tags" Target="../tags/tag275.xml"/><Relationship Id="rId47" Type="http://schemas.openxmlformats.org/officeDocument/2006/relationships/tags" Target="../tags/tag280.xml"/><Relationship Id="rId63" Type="http://schemas.openxmlformats.org/officeDocument/2006/relationships/tags" Target="../tags/tag296.xml"/><Relationship Id="rId68" Type="http://schemas.openxmlformats.org/officeDocument/2006/relationships/tags" Target="../tags/tag301.xml"/><Relationship Id="rId84" Type="http://schemas.openxmlformats.org/officeDocument/2006/relationships/image" Target="../media/image26.emf"/><Relationship Id="rId16" Type="http://schemas.openxmlformats.org/officeDocument/2006/relationships/tags" Target="../tags/tag249.xml"/><Relationship Id="rId11" Type="http://schemas.openxmlformats.org/officeDocument/2006/relationships/tags" Target="../tags/tag244.xml"/><Relationship Id="rId32" Type="http://schemas.openxmlformats.org/officeDocument/2006/relationships/tags" Target="../tags/tag265.xml"/><Relationship Id="rId37" Type="http://schemas.openxmlformats.org/officeDocument/2006/relationships/tags" Target="../tags/tag270.xml"/><Relationship Id="rId53" Type="http://schemas.openxmlformats.org/officeDocument/2006/relationships/tags" Target="../tags/tag286.xml"/><Relationship Id="rId58" Type="http://schemas.openxmlformats.org/officeDocument/2006/relationships/tags" Target="../tags/tag291.xml"/><Relationship Id="rId74" Type="http://schemas.openxmlformats.org/officeDocument/2006/relationships/tags" Target="../tags/tag307.xml"/><Relationship Id="rId79" Type="http://schemas.openxmlformats.org/officeDocument/2006/relationships/tags" Target="../tags/tag312.xml"/><Relationship Id="rId5" Type="http://schemas.openxmlformats.org/officeDocument/2006/relationships/tags" Target="../tags/tag238.xml"/><Relationship Id="rId19" Type="http://schemas.openxmlformats.org/officeDocument/2006/relationships/tags" Target="../tags/tag252.xml"/><Relationship Id="rId14" Type="http://schemas.openxmlformats.org/officeDocument/2006/relationships/tags" Target="../tags/tag247.xml"/><Relationship Id="rId22" Type="http://schemas.openxmlformats.org/officeDocument/2006/relationships/tags" Target="../tags/tag255.xml"/><Relationship Id="rId27" Type="http://schemas.openxmlformats.org/officeDocument/2006/relationships/tags" Target="../tags/tag260.xml"/><Relationship Id="rId30" Type="http://schemas.openxmlformats.org/officeDocument/2006/relationships/tags" Target="../tags/tag263.xml"/><Relationship Id="rId35" Type="http://schemas.openxmlformats.org/officeDocument/2006/relationships/tags" Target="../tags/tag268.xml"/><Relationship Id="rId43" Type="http://schemas.openxmlformats.org/officeDocument/2006/relationships/tags" Target="../tags/tag276.xml"/><Relationship Id="rId48" Type="http://schemas.openxmlformats.org/officeDocument/2006/relationships/tags" Target="../tags/tag281.xml"/><Relationship Id="rId56" Type="http://schemas.openxmlformats.org/officeDocument/2006/relationships/tags" Target="../tags/tag289.xml"/><Relationship Id="rId64" Type="http://schemas.openxmlformats.org/officeDocument/2006/relationships/tags" Target="../tags/tag297.xml"/><Relationship Id="rId69" Type="http://schemas.openxmlformats.org/officeDocument/2006/relationships/tags" Target="../tags/tag302.xml"/><Relationship Id="rId77" Type="http://schemas.openxmlformats.org/officeDocument/2006/relationships/tags" Target="../tags/tag310.xml"/><Relationship Id="rId8" Type="http://schemas.openxmlformats.org/officeDocument/2006/relationships/tags" Target="../tags/tag241.xml"/><Relationship Id="rId51" Type="http://schemas.openxmlformats.org/officeDocument/2006/relationships/tags" Target="../tags/tag284.xml"/><Relationship Id="rId72" Type="http://schemas.openxmlformats.org/officeDocument/2006/relationships/tags" Target="../tags/tag305.xml"/><Relationship Id="rId80" Type="http://schemas.openxmlformats.org/officeDocument/2006/relationships/tags" Target="../tags/tag313.xml"/><Relationship Id="rId85" Type="http://schemas.openxmlformats.org/officeDocument/2006/relationships/chart" Target="../charts/chart7.xml"/><Relationship Id="rId3" Type="http://schemas.openxmlformats.org/officeDocument/2006/relationships/tags" Target="../tags/tag236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5" Type="http://schemas.openxmlformats.org/officeDocument/2006/relationships/tags" Target="../tags/tag258.xml"/><Relationship Id="rId33" Type="http://schemas.openxmlformats.org/officeDocument/2006/relationships/tags" Target="../tags/tag266.xml"/><Relationship Id="rId38" Type="http://schemas.openxmlformats.org/officeDocument/2006/relationships/tags" Target="../tags/tag271.xml"/><Relationship Id="rId46" Type="http://schemas.openxmlformats.org/officeDocument/2006/relationships/tags" Target="../tags/tag279.xml"/><Relationship Id="rId59" Type="http://schemas.openxmlformats.org/officeDocument/2006/relationships/tags" Target="../tags/tag292.xml"/><Relationship Id="rId67" Type="http://schemas.openxmlformats.org/officeDocument/2006/relationships/tags" Target="../tags/tag300.xml"/><Relationship Id="rId20" Type="http://schemas.openxmlformats.org/officeDocument/2006/relationships/tags" Target="../tags/tag253.xml"/><Relationship Id="rId41" Type="http://schemas.openxmlformats.org/officeDocument/2006/relationships/tags" Target="../tags/tag274.xml"/><Relationship Id="rId54" Type="http://schemas.openxmlformats.org/officeDocument/2006/relationships/tags" Target="../tags/tag287.xml"/><Relationship Id="rId62" Type="http://schemas.openxmlformats.org/officeDocument/2006/relationships/tags" Target="../tags/tag295.xml"/><Relationship Id="rId70" Type="http://schemas.openxmlformats.org/officeDocument/2006/relationships/tags" Target="../tags/tag303.xml"/><Relationship Id="rId75" Type="http://schemas.openxmlformats.org/officeDocument/2006/relationships/tags" Target="../tags/tag308.xml"/><Relationship Id="rId83" Type="http://schemas.openxmlformats.org/officeDocument/2006/relationships/oleObject" Target="../embeddings/oleObject6.bin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28" Type="http://schemas.openxmlformats.org/officeDocument/2006/relationships/tags" Target="../tags/tag261.xml"/><Relationship Id="rId36" Type="http://schemas.openxmlformats.org/officeDocument/2006/relationships/tags" Target="../tags/tag269.xml"/><Relationship Id="rId49" Type="http://schemas.openxmlformats.org/officeDocument/2006/relationships/tags" Target="../tags/tag282.xml"/><Relationship Id="rId57" Type="http://schemas.openxmlformats.org/officeDocument/2006/relationships/tags" Target="../tags/tag290.xml"/><Relationship Id="rId10" Type="http://schemas.openxmlformats.org/officeDocument/2006/relationships/tags" Target="../tags/tag243.xml"/><Relationship Id="rId31" Type="http://schemas.openxmlformats.org/officeDocument/2006/relationships/tags" Target="../tags/tag264.xml"/><Relationship Id="rId44" Type="http://schemas.openxmlformats.org/officeDocument/2006/relationships/tags" Target="../tags/tag277.xml"/><Relationship Id="rId52" Type="http://schemas.openxmlformats.org/officeDocument/2006/relationships/tags" Target="../tags/tag285.xml"/><Relationship Id="rId60" Type="http://schemas.openxmlformats.org/officeDocument/2006/relationships/tags" Target="../tags/tag293.xml"/><Relationship Id="rId65" Type="http://schemas.openxmlformats.org/officeDocument/2006/relationships/tags" Target="../tags/tag298.xml"/><Relationship Id="rId73" Type="http://schemas.openxmlformats.org/officeDocument/2006/relationships/tags" Target="../tags/tag306.xml"/><Relationship Id="rId78" Type="http://schemas.openxmlformats.org/officeDocument/2006/relationships/tags" Target="../tags/tag311.xml"/><Relationship Id="rId81" Type="http://schemas.openxmlformats.org/officeDocument/2006/relationships/slideLayout" Target="../slideLayouts/slideLayout2.xml"/><Relationship Id="rId86" Type="http://schemas.openxmlformats.org/officeDocument/2006/relationships/chart" Target="../charts/chart8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3" Type="http://schemas.openxmlformats.org/officeDocument/2006/relationships/tags" Target="../tags/tag246.xml"/><Relationship Id="rId18" Type="http://schemas.openxmlformats.org/officeDocument/2006/relationships/tags" Target="../tags/tag251.xml"/><Relationship Id="rId39" Type="http://schemas.openxmlformats.org/officeDocument/2006/relationships/tags" Target="../tags/tag272.xml"/><Relationship Id="rId34" Type="http://schemas.openxmlformats.org/officeDocument/2006/relationships/tags" Target="../tags/tag267.xml"/><Relationship Id="rId50" Type="http://schemas.openxmlformats.org/officeDocument/2006/relationships/tags" Target="../tags/tag283.xml"/><Relationship Id="rId55" Type="http://schemas.openxmlformats.org/officeDocument/2006/relationships/tags" Target="../tags/tag288.xml"/><Relationship Id="rId76" Type="http://schemas.openxmlformats.org/officeDocument/2006/relationships/tags" Target="../tags/tag309.xml"/><Relationship Id="rId7" Type="http://schemas.openxmlformats.org/officeDocument/2006/relationships/tags" Target="../tags/tag240.xml"/><Relationship Id="rId71" Type="http://schemas.openxmlformats.org/officeDocument/2006/relationships/tags" Target="../tags/tag304.xml"/><Relationship Id="rId2" Type="http://schemas.openxmlformats.org/officeDocument/2006/relationships/tags" Target="../tags/tag235.xml"/><Relationship Id="rId29" Type="http://schemas.openxmlformats.org/officeDocument/2006/relationships/tags" Target="../tags/tag262.xml"/><Relationship Id="rId24" Type="http://schemas.openxmlformats.org/officeDocument/2006/relationships/tags" Target="../tags/tag257.xml"/><Relationship Id="rId40" Type="http://schemas.openxmlformats.org/officeDocument/2006/relationships/tags" Target="../tags/tag273.xml"/><Relationship Id="rId45" Type="http://schemas.openxmlformats.org/officeDocument/2006/relationships/tags" Target="../tags/tag278.xml"/><Relationship Id="rId66" Type="http://schemas.openxmlformats.org/officeDocument/2006/relationships/tags" Target="../tags/tag299.xml"/><Relationship Id="rId87" Type="http://schemas.openxmlformats.org/officeDocument/2006/relationships/chart" Target="../charts/chart9.xml"/><Relationship Id="rId61" Type="http://schemas.openxmlformats.org/officeDocument/2006/relationships/tags" Target="../tags/tag294.xml"/><Relationship Id="rId8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339.xml"/><Relationship Id="rId21" Type="http://schemas.openxmlformats.org/officeDocument/2006/relationships/tags" Target="../tags/tag334.xml"/><Relationship Id="rId42" Type="http://schemas.openxmlformats.org/officeDocument/2006/relationships/tags" Target="../tags/tag355.xml"/><Relationship Id="rId47" Type="http://schemas.openxmlformats.org/officeDocument/2006/relationships/tags" Target="../tags/tag360.xml"/><Relationship Id="rId63" Type="http://schemas.openxmlformats.org/officeDocument/2006/relationships/tags" Target="../tags/tag376.xml"/><Relationship Id="rId68" Type="http://schemas.openxmlformats.org/officeDocument/2006/relationships/tags" Target="../tags/tag381.xml"/><Relationship Id="rId2" Type="http://schemas.openxmlformats.org/officeDocument/2006/relationships/tags" Target="../tags/tag315.xml"/><Relationship Id="rId16" Type="http://schemas.openxmlformats.org/officeDocument/2006/relationships/tags" Target="../tags/tag329.xml"/><Relationship Id="rId29" Type="http://schemas.openxmlformats.org/officeDocument/2006/relationships/tags" Target="../tags/tag342.xml"/><Relationship Id="rId11" Type="http://schemas.openxmlformats.org/officeDocument/2006/relationships/tags" Target="../tags/tag324.xml"/><Relationship Id="rId24" Type="http://schemas.openxmlformats.org/officeDocument/2006/relationships/tags" Target="../tags/tag337.xml"/><Relationship Id="rId32" Type="http://schemas.openxmlformats.org/officeDocument/2006/relationships/tags" Target="../tags/tag345.xml"/><Relationship Id="rId37" Type="http://schemas.openxmlformats.org/officeDocument/2006/relationships/tags" Target="../tags/tag350.xml"/><Relationship Id="rId40" Type="http://schemas.openxmlformats.org/officeDocument/2006/relationships/tags" Target="../tags/tag353.xml"/><Relationship Id="rId45" Type="http://schemas.openxmlformats.org/officeDocument/2006/relationships/tags" Target="../tags/tag358.xml"/><Relationship Id="rId53" Type="http://schemas.openxmlformats.org/officeDocument/2006/relationships/tags" Target="../tags/tag366.xml"/><Relationship Id="rId58" Type="http://schemas.openxmlformats.org/officeDocument/2006/relationships/tags" Target="../tags/tag371.xml"/><Relationship Id="rId66" Type="http://schemas.openxmlformats.org/officeDocument/2006/relationships/tags" Target="../tags/tag379.xml"/><Relationship Id="rId74" Type="http://schemas.openxmlformats.org/officeDocument/2006/relationships/image" Target="../media/image26.emf"/><Relationship Id="rId5" Type="http://schemas.openxmlformats.org/officeDocument/2006/relationships/tags" Target="../tags/tag318.xml"/><Relationship Id="rId61" Type="http://schemas.openxmlformats.org/officeDocument/2006/relationships/tags" Target="../tags/tag374.xml"/><Relationship Id="rId19" Type="http://schemas.openxmlformats.org/officeDocument/2006/relationships/tags" Target="../tags/tag332.xml"/><Relationship Id="rId14" Type="http://schemas.openxmlformats.org/officeDocument/2006/relationships/tags" Target="../tags/tag327.xml"/><Relationship Id="rId22" Type="http://schemas.openxmlformats.org/officeDocument/2006/relationships/tags" Target="../tags/tag335.xml"/><Relationship Id="rId27" Type="http://schemas.openxmlformats.org/officeDocument/2006/relationships/tags" Target="../tags/tag340.xml"/><Relationship Id="rId30" Type="http://schemas.openxmlformats.org/officeDocument/2006/relationships/tags" Target="../tags/tag343.xml"/><Relationship Id="rId35" Type="http://schemas.openxmlformats.org/officeDocument/2006/relationships/tags" Target="../tags/tag348.xml"/><Relationship Id="rId43" Type="http://schemas.openxmlformats.org/officeDocument/2006/relationships/tags" Target="../tags/tag356.xml"/><Relationship Id="rId48" Type="http://schemas.openxmlformats.org/officeDocument/2006/relationships/tags" Target="../tags/tag361.xml"/><Relationship Id="rId56" Type="http://schemas.openxmlformats.org/officeDocument/2006/relationships/tags" Target="../tags/tag369.xml"/><Relationship Id="rId64" Type="http://schemas.openxmlformats.org/officeDocument/2006/relationships/tags" Target="../tags/tag377.xml"/><Relationship Id="rId69" Type="http://schemas.openxmlformats.org/officeDocument/2006/relationships/tags" Target="../tags/tag382.xml"/><Relationship Id="rId8" Type="http://schemas.openxmlformats.org/officeDocument/2006/relationships/tags" Target="../tags/tag321.xml"/><Relationship Id="rId51" Type="http://schemas.openxmlformats.org/officeDocument/2006/relationships/tags" Target="../tags/tag364.xml"/><Relationship Id="rId72" Type="http://schemas.openxmlformats.org/officeDocument/2006/relationships/notesSlide" Target="../notesSlides/notesSlide15.xml"/><Relationship Id="rId3" Type="http://schemas.openxmlformats.org/officeDocument/2006/relationships/tags" Target="../tags/tag316.xml"/><Relationship Id="rId12" Type="http://schemas.openxmlformats.org/officeDocument/2006/relationships/tags" Target="../tags/tag325.xml"/><Relationship Id="rId17" Type="http://schemas.openxmlformats.org/officeDocument/2006/relationships/tags" Target="../tags/tag330.xml"/><Relationship Id="rId25" Type="http://schemas.openxmlformats.org/officeDocument/2006/relationships/tags" Target="../tags/tag338.xml"/><Relationship Id="rId33" Type="http://schemas.openxmlformats.org/officeDocument/2006/relationships/tags" Target="../tags/tag346.xml"/><Relationship Id="rId38" Type="http://schemas.openxmlformats.org/officeDocument/2006/relationships/tags" Target="../tags/tag351.xml"/><Relationship Id="rId46" Type="http://schemas.openxmlformats.org/officeDocument/2006/relationships/tags" Target="../tags/tag359.xml"/><Relationship Id="rId59" Type="http://schemas.openxmlformats.org/officeDocument/2006/relationships/tags" Target="../tags/tag372.xml"/><Relationship Id="rId67" Type="http://schemas.openxmlformats.org/officeDocument/2006/relationships/tags" Target="../tags/tag380.xml"/><Relationship Id="rId20" Type="http://schemas.openxmlformats.org/officeDocument/2006/relationships/tags" Target="../tags/tag333.xml"/><Relationship Id="rId41" Type="http://schemas.openxmlformats.org/officeDocument/2006/relationships/tags" Target="../tags/tag354.xml"/><Relationship Id="rId54" Type="http://schemas.openxmlformats.org/officeDocument/2006/relationships/tags" Target="../tags/tag367.xml"/><Relationship Id="rId62" Type="http://schemas.openxmlformats.org/officeDocument/2006/relationships/tags" Target="../tags/tag375.xml"/><Relationship Id="rId70" Type="http://schemas.openxmlformats.org/officeDocument/2006/relationships/tags" Target="../tags/tag383.xml"/><Relationship Id="rId75" Type="http://schemas.openxmlformats.org/officeDocument/2006/relationships/chart" Target="../charts/chart10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5" Type="http://schemas.openxmlformats.org/officeDocument/2006/relationships/tags" Target="../tags/tag328.xml"/><Relationship Id="rId23" Type="http://schemas.openxmlformats.org/officeDocument/2006/relationships/tags" Target="../tags/tag336.xml"/><Relationship Id="rId28" Type="http://schemas.openxmlformats.org/officeDocument/2006/relationships/tags" Target="../tags/tag341.xml"/><Relationship Id="rId36" Type="http://schemas.openxmlformats.org/officeDocument/2006/relationships/tags" Target="../tags/tag349.xml"/><Relationship Id="rId49" Type="http://schemas.openxmlformats.org/officeDocument/2006/relationships/tags" Target="../tags/tag362.xml"/><Relationship Id="rId57" Type="http://schemas.openxmlformats.org/officeDocument/2006/relationships/tags" Target="../tags/tag370.xml"/><Relationship Id="rId10" Type="http://schemas.openxmlformats.org/officeDocument/2006/relationships/tags" Target="../tags/tag323.xml"/><Relationship Id="rId31" Type="http://schemas.openxmlformats.org/officeDocument/2006/relationships/tags" Target="../tags/tag344.xml"/><Relationship Id="rId44" Type="http://schemas.openxmlformats.org/officeDocument/2006/relationships/tags" Target="../tags/tag357.xml"/><Relationship Id="rId52" Type="http://schemas.openxmlformats.org/officeDocument/2006/relationships/tags" Target="../tags/tag365.xml"/><Relationship Id="rId60" Type="http://schemas.openxmlformats.org/officeDocument/2006/relationships/tags" Target="../tags/tag373.xml"/><Relationship Id="rId65" Type="http://schemas.openxmlformats.org/officeDocument/2006/relationships/tags" Target="../tags/tag378.xml"/><Relationship Id="rId73" Type="http://schemas.openxmlformats.org/officeDocument/2006/relationships/oleObject" Target="../embeddings/oleObject7.bin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3" Type="http://schemas.openxmlformats.org/officeDocument/2006/relationships/tags" Target="../tags/tag326.xml"/><Relationship Id="rId18" Type="http://schemas.openxmlformats.org/officeDocument/2006/relationships/tags" Target="../tags/tag331.xml"/><Relationship Id="rId39" Type="http://schemas.openxmlformats.org/officeDocument/2006/relationships/tags" Target="../tags/tag352.xml"/><Relationship Id="rId34" Type="http://schemas.openxmlformats.org/officeDocument/2006/relationships/tags" Target="../tags/tag347.xml"/><Relationship Id="rId50" Type="http://schemas.openxmlformats.org/officeDocument/2006/relationships/tags" Target="../tags/tag363.xml"/><Relationship Id="rId55" Type="http://schemas.openxmlformats.org/officeDocument/2006/relationships/tags" Target="../tags/tag368.xml"/><Relationship Id="rId7" Type="http://schemas.openxmlformats.org/officeDocument/2006/relationships/tags" Target="../tags/tag320.xml"/><Relationship Id="rId7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409.xml"/><Relationship Id="rId21" Type="http://schemas.openxmlformats.org/officeDocument/2006/relationships/tags" Target="../tags/tag404.xml"/><Relationship Id="rId42" Type="http://schemas.openxmlformats.org/officeDocument/2006/relationships/tags" Target="../tags/tag425.xml"/><Relationship Id="rId47" Type="http://schemas.openxmlformats.org/officeDocument/2006/relationships/tags" Target="../tags/tag430.xml"/><Relationship Id="rId63" Type="http://schemas.openxmlformats.org/officeDocument/2006/relationships/slideLayout" Target="../slideLayouts/slideLayout2.xml"/><Relationship Id="rId68" Type="http://schemas.openxmlformats.org/officeDocument/2006/relationships/chart" Target="../charts/chart12.xml"/><Relationship Id="rId7" Type="http://schemas.openxmlformats.org/officeDocument/2006/relationships/tags" Target="../tags/tag390.xml"/><Relationship Id="rId71" Type="http://schemas.openxmlformats.org/officeDocument/2006/relationships/chart" Target="../charts/chart15.xml"/><Relationship Id="rId2" Type="http://schemas.openxmlformats.org/officeDocument/2006/relationships/tags" Target="../tags/tag385.xml"/><Relationship Id="rId16" Type="http://schemas.openxmlformats.org/officeDocument/2006/relationships/tags" Target="../tags/tag399.xml"/><Relationship Id="rId29" Type="http://schemas.openxmlformats.org/officeDocument/2006/relationships/tags" Target="../tags/tag412.xml"/><Relationship Id="rId11" Type="http://schemas.openxmlformats.org/officeDocument/2006/relationships/tags" Target="../tags/tag394.xml"/><Relationship Id="rId24" Type="http://schemas.openxmlformats.org/officeDocument/2006/relationships/tags" Target="../tags/tag407.xml"/><Relationship Id="rId32" Type="http://schemas.openxmlformats.org/officeDocument/2006/relationships/tags" Target="../tags/tag415.xml"/><Relationship Id="rId37" Type="http://schemas.openxmlformats.org/officeDocument/2006/relationships/tags" Target="../tags/tag420.xml"/><Relationship Id="rId40" Type="http://schemas.openxmlformats.org/officeDocument/2006/relationships/tags" Target="../tags/tag423.xml"/><Relationship Id="rId45" Type="http://schemas.openxmlformats.org/officeDocument/2006/relationships/tags" Target="../tags/tag428.xml"/><Relationship Id="rId53" Type="http://schemas.openxmlformats.org/officeDocument/2006/relationships/tags" Target="../tags/tag436.xml"/><Relationship Id="rId58" Type="http://schemas.openxmlformats.org/officeDocument/2006/relationships/tags" Target="../tags/tag441.xml"/><Relationship Id="rId66" Type="http://schemas.openxmlformats.org/officeDocument/2006/relationships/image" Target="../media/image26.emf"/><Relationship Id="rId5" Type="http://schemas.openxmlformats.org/officeDocument/2006/relationships/tags" Target="../tags/tag388.xml"/><Relationship Id="rId61" Type="http://schemas.openxmlformats.org/officeDocument/2006/relationships/tags" Target="../tags/tag444.xml"/><Relationship Id="rId19" Type="http://schemas.openxmlformats.org/officeDocument/2006/relationships/tags" Target="../tags/tag402.xml"/><Relationship Id="rId14" Type="http://schemas.openxmlformats.org/officeDocument/2006/relationships/tags" Target="../tags/tag397.xml"/><Relationship Id="rId22" Type="http://schemas.openxmlformats.org/officeDocument/2006/relationships/tags" Target="../tags/tag405.xml"/><Relationship Id="rId27" Type="http://schemas.openxmlformats.org/officeDocument/2006/relationships/tags" Target="../tags/tag410.xml"/><Relationship Id="rId30" Type="http://schemas.openxmlformats.org/officeDocument/2006/relationships/tags" Target="../tags/tag413.xml"/><Relationship Id="rId35" Type="http://schemas.openxmlformats.org/officeDocument/2006/relationships/tags" Target="../tags/tag418.xml"/><Relationship Id="rId43" Type="http://schemas.openxmlformats.org/officeDocument/2006/relationships/tags" Target="../tags/tag426.xml"/><Relationship Id="rId48" Type="http://schemas.openxmlformats.org/officeDocument/2006/relationships/tags" Target="../tags/tag431.xml"/><Relationship Id="rId56" Type="http://schemas.openxmlformats.org/officeDocument/2006/relationships/tags" Target="../tags/tag439.xml"/><Relationship Id="rId64" Type="http://schemas.openxmlformats.org/officeDocument/2006/relationships/notesSlide" Target="../notesSlides/notesSlide16.xml"/><Relationship Id="rId69" Type="http://schemas.openxmlformats.org/officeDocument/2006/relationships/chart" Target="../charts/chart13.xml"/><Relationship Id="rId8" Type="http://schemas.openxmlformats.org/officeDocument/2006/relationships/tags" Target="../tags/tag391.xml"/><Relationship Id="rId51" Type="http://schemas.openxmlformats.org/officeDocument/2006/relationships/tags" Target="../tags/tag434.xml"/><Relationship Id="rId3" Type="http://schemas.openxmlformats.org/officeDocument/2006/relationships/tags" Target="../tags/tag386.xml"/><Relationship Id="rId12" Type="http://schemas.openxmlformats.org/officeDocument/2006/relationships/tags" Target="../tags/tag395.xml"/><Relationship Id="rId17" Type="http://schemas.openxmlformats.org/officeDocument/2006/relationships/tags" Target="../tags/tag400.xml"/><Relationship Id="rId25" Type="http://schemas.openxmlformats.org/officeDocument/2006/relationships/tags" Target="../tags/tag408.xml"/><Relationship Id="rId33" Type="http://schemas.openxmlformats.org/officeDocument/2006/relationships/tags" Target="../tags/tag416.xml"/><Relationship Id="rId38" Type="http://schemas.openxmlformats.org/officeDocument/2006/relationships/tags" Target="../tags/tag421.xml"/><Relationship Id="rId46" Type="http://schemas.openxmlformats.org/officeDocument/2006/relationships/tags" Target="../tags/tag429.xml"/><Relationship Id="rId59" Type="http://schemas.openxmlformats.org/officeDocument/2006/relationships/tags" Target="../tags/tag442.xml"/><Relationship Id="rId67" Type="http://schemas.openxmlformats.org/officeDocument/2006/relationships/chart" Target="../charts/chart11.xml"/><Relationship Id="rId20" Type="http://schemas.openxmlformats.org/officeDocument/2006/relationships/tags" Target="../tags/tag403.xml"/><Relationship Id="rId41" Type="http://schemas.openxmlformats.org/officeDocument/2006/relationships/tags" Target="../tags/tag424.xml"/><Relationship Id="rId54" Type="http://schemas.openxmlformats.org/officeDocument/2006/relationships/tags" Target="../tags/tag437.xml"/><Relationship Id="rId62" Type="http://schemas.openxmlformats.org/officeDocument/2006/relationships/tags" Target="../tags/tag445.xml"/><Relationship Id="rId70" Type="http://schemas.openxmlformats.org/officeDocument/2006/relationships/chart" Target="../charts/chart14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15" Type="http://schemas.openxmlformats.org/officeDocument/2006/relationships/tags" Target="../tags/tag398.xml"/><Relationship Id="rId23" Type="http://schemas.openxmlformats.org/officeDocument/2006/relationships/tags" Target="../tags/tag406.xml"/><Relationship Id="rId28" Type="http://schemas.openxmlformats.org/officeDocument/2006/relationships/tags" Target="../tags/tag411.xml"/><Relationship Id="rId36" Type="http://schemas.openxmlformats.org/officeDocument/2006/relationships/tags" Target="../tags/tag419.xml"/><Relationship Id="rId49" Type="http://schemas.openxmlformats.org/officeDocument/2006/relationships/tags" Target="../tags/tag432.xml"/><Relationship Id="rId57" Type="http://schemas.openxmlformats.org/officeDocument/2006/relationships/tags" Target="../tags/tag440.xml"/><Relationship Id="rId10" Type="http://schemas.openxmlformats.org/officeDocument/2006/relationships/tags" Target="../tags/tag393.xml"/><Relationship Id="rId31" Type="http://schemas.openxmlformats.org/officeDocument/2006/relationships/tags" Target="../tags/tag414.xml"/><Relationship Id="rId44" Type="http://schemas.openxmlformats.org/officeDocument/2006/relationships/tags" Target="../tags/tag427.xml"/><Relationship Id="rId52" Type="http://schemas.openxmlformats.org/officeDocument/2006/relationships/tags" Target="../tags/tag435.xml"/><Relationship Id="rId60" Type="http://schemas.openxmlformats.org/officeDocument/2006/relationships/tags" Target="../tags/tag443.xml"/><Relationship Id="rId65" Type="http://schemas.openxmlformats.org/officeDocument/2006/relationships/oleObject" Target="../embeddings/oleObject8.bin"/><Relationship Id="rId4" Type="http://schemas.openxmlformats.org/officeDocument/2006/relationships/tags" Target="../tags/tag387.xml"/><Relationship Id="rId9" Type="http://schemas.openxmlformats.org/officeDocument/2006/relationships/tags" Target="../tags/tag392.xml"/><Relationship Id="rId13" Type="http://schemas.openxmlformats.org/officeDocument/2006/relationships/tags" Target="../tags/tag396.xml"/><Relationship Id="rId18" Type="http://schemas.openxmlformats.org/officeDocument/2006/relationships/tags" Target="../tags/tag401.xml"/><Relationship Id="rId39" Type="http://schemas.openxmlformats.org/officeDocument/2006/relationships/tags" Target="../tags/tag422.xml"/><Relationship Id="rId34" Type="http://schemas.openxmlformats.org/officeDocument/2006/relationships/tags" Target="../tags/tag417.xml"/><Relationship Id="rId50" Type="http://schemas.openxmlformats.org/officeDocument/2006/relationships/tags" Target="../tags/tag433.xml"/><Relationship Id="rId55" Type="http://schemas.openxmlformats.org/officeDocument/2006/relationships/tags" Target="../tags/tag438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471.xml"/><Relationship Id="rId21" Type="http://schemas.openxmlformats.org/officeDocument/2006/relationships/tags" Target="../tags/tag466.xml"/><Relationship Id="rId42" Type="http://schemas.openxmlformats.org/officeDocument/2006/relationships/tags" Target="../tags/tag487.xml"/><Relationship Id="rId47" Type="http://schemas.openxmlformats.org/officeDocument/2006/relationships/tags" Target="../tags/tag492.xml"/><Relationship Id="rId63" Type="http://schemas.openxmlformats.org/officeDocument/2006/relationships/tags" Target="../tags/tag508.xml"/><Relationship Id="rId68" Type="http://schemas.openxmlformats.org/officeDocument/2006/relationships/tags" Target="../tags/tag513.xml"/><Relationship Id="rId84" Type="http://schemas.openxmlformats.org/officeDocument/2006/relationships/tags" Target="../tags/tag529.xml"/><Relationship Id="rId89" Type="http://schemas.openxmlformats.org/officeDocument/2006/relationships/tags" Target="../tags/tag534.xml"/><Relationship Id="rId16" Type="http://schemas.openxmlformats.org/officeDocument/2006/relationships/tags" Target="../tags/tag461.xml"/><Relationship Id="rId107" Type="http://schemas.openxmlformats.org/officeDocument/2006/relationships/chart" Target="../charts/chart16.xml"/><Relationship Id="rId11" Type="http://schemas.openxmlformats.org/officeDocument/2006/relationships/tags" Target="../tags/tag456.xml"/><Relationship Id="rId32" Type="http://schemas.openxmlformats.org/officeDocument/2006/relationships/tags" Target="../tags/tag477.xml"/><Relationship Id="rId37" Type="http://schemas.openxmlformats.org/officeDocument/2006/relationships/tags" Target="../tags/tag482.xml"/><Relationship Id="rId53" Type="http://schemas.openxmlformats.org/officeDocument/2006/relationships/tags" Target="../tags/tag498.xml"/><Relationship Id="rId58" Type="http://schemas.openxmlformats.org/officeDocument/2006/relationships/tags" Target="../tags/tag503.xml"/><Relationship Id="rId74" Type="http://schemas.openxmlformats.org/officeDocument/2006/relationships/tags" Target="../tags/tag519.xml"/><Relationship Id="rId79" Type="http://schemas.openxmlformats.org/officeDocument/2006/relationships/tags" Target="../tags/tag524.xml"/><Relationship Id="rId102" Type="http://schemas.openxmlformats.org/officeDocument/2006/relationships/tags" Target="../tags/tag547.xml"/><Relationship Id="rId5" Type="http://schemas.openxmlformats.org/officeDocument/2006/relationships/tags" Target="../tags/tag450.xml"/><Relationship Id="rId90" Type="http://schemas.openxmlformats.org/officeDocument/2006/relationships/tags" Target="../tags/tag535.xml"/><Relationship Id="rId95" Type="http://schemas.openxmlformats.org/officeDocument/2006/relationships/tags" Target="../tags/tag540.xml"/><Relationship Id="rId22" Type="http://schemas.openxmlformats.org/officeDocument/2006/relationships/tags" Target="../tags/tag467.xml"/><Relationship Id="rId27" Type="http://schemas.openxmlformats.org/officeDocument/2006/relationships/tags" Target="../tags/tag472.xml"/><Relationship Id="rId43" Type="http://schemas.openxmlformats.org/officeDocument/2006/relationships/tags" Target="../tags/tag488.xml"/><Relationship Id="rId48" Type="http://schemas.openxmlformats.org/officeDocument/2006/relationships/tags" Target="../tags/tag493.xml"/><Relationship Id="rId64" Type="http://schemas.openxmlformats.org/officeDocument/2006/relationships/tags" Target="../tags/tag509.xml"/><Relationship Id="rId69" Type="http://schemas.openxmlformats.org/officeDocument/2006/relationships/tags" Target="../tags/tag514.xml"/><Relationship Id="rId80" Type="http://schemas.openxmlformats.org/officeDocument/2006/relationships/tags" Target="../tags/tag525.xml"/><Relationship Id="rId85" Type="http://schemas.openxmlformats.org/officeDocument/2006/relationships/tags" Target="../tags/tag530.xml"/><Relationship Id="rId12" Type="http://schemas.openxmlformats.org/officeDocument/2006/relationships/tags" Target="../tags/tag457.xml"/><Relationship Id="rId17" Type="http://schemas.openxmlformats.org/officeDocument/2006/relationships/tags" Target="../tags/tag462.xml"/><Relationship Id="rId33" Type="http://schemas.openxmlformats.org/officeDocument/2006/relationships/tags" Target="../tags/tag478.xml"/><Relationship Id="rId38" Type="http://schemas.openxmlformats.org/officeDocument/2006/relationships/tags" Target="../tags/tag483.xml"/><Relationship Id="rId59" Type="http://schemas.openxmlformats.org/officeDocument/2006/relationships/tags" Target="../tags/tag504.xml"/><Relationship Id="rId103" Type="http://schemas.openxmlformats.org/officeDocument/2006/relationships/slideLayout" Target="../slideLayouts/slideLayout2.xml"/><Relationship Id="rId20" Type="http://schemas.openxmlformats.org/officeDocument/2006/relationships/tags" Target="../tags/tag465.xml"/><Relationship Id="rId41" Type="http://schemas.openxmlformats.org/officeDocument/2006/relationships/tags" Target="../tags/tag486.xml"/><Relationship Id="rId54" Type="http://schemas.openxmlformats.org/officeDocument/2006/relationships/tags" Target="../tags/tag499.xml"/><Relationship Id="rId62" Type="http://schemas.openxmlformats.org/officeDocument/2006/relationships/tags" Target="../tags/tag507.xml"/><Relationship Id="rId70" Type="http://schemas.openxmlformats.org/officeDocument/2006/relationships/tags" Target="../tags/tag515.xml"/><Relationship Id="rId75" Type="http://schemas.openxmlformats.org/officeDocument/2006/relationships/tags" Target="../tags/tag520.xml"/><Relationship Id="rId83" Type="http://schemas.openxmlformats.org/officeDocument/2006/relationships/tags" Target="../tags/tag528.xml"/><Relationship Id="rId88" Type="http://schemas.openxmlformats.org/officeDocument/2006/relationships/tags" Target="../tags/tag533.xml"/><Relationship Id="rId91" Type="http://schemas.openxmlformats.org/officeDocument/2006/relationships/tags" Target="../tags/tag536.xml"/><Relationship Id="rId96" Type="http://schemas.openxmlformats.org/officeDocument/2006/relationships/tags" Target="../tags/tag541.xml"/><Relationship Id="rId1" Type="http://schemas.openxmlformats.org/officeDocument/2006/relationships/tags" Target="../tags/tag446.xml"/><Relationship Id="rId6" Type="http://schemas.openxmlformats.org/officeDocument/2006/relationships/tags" Target="../tags/tag451.xml"/><Relationship Id="rId15" Type="http://schemas.openxmlformats.org/officeDocument/2006/relationships/tags" Target="../tags/tag460.xml"/><Relationship Id="rId23" Type="http://schemas.openxmlformats.org/officeDocument/2006/relationships/tags" Target="../tags/tag468.xml"/><Relationship Id="rId28" Type="http://schemas.openxmlformats.org/officeDocument/2006/relationships/tags" Target="../tags/tag473.xml"/><Relationship Id="rId36" Type="http://schemas.openxmlformats.org/officeDocument/2006/relationships/tags" Target="../tags/tag481.xml"/><Relationship Id="rId49" Type="http://schemas.openxmlformats.org/officeDocument/2006/relationships/tags" Target="../tags/tag494.xml"/><Relationship Id="rId57" Type="http://schemas.openxmlformats.org/officeDocument/2006/relationships/tags" Target="../tags/tag502.xml"/><Relationship Id="rId106" Type="http://schemas.openxmlformats.org/officeDocument/2006/relationships/image" Target="../media/image26.emf"/><Relationship Id="rId10" Type="http://schemas.openxmlformats.org/officeDocument/2006/relationships/tags" Target="../tags/tag455.xml"/><Relationship Id="rId31" Type="http://schemas.openxmlformats.org/officeDocument/2006/relationships/tags" Target="../tags/tag476.xml"/><Relationship Id="rId44" Type="http://schemas.openxmlformats.org/officeDocument/2006/relationships/tags" Target="../tags/tag489.xml"/><Relationship Id="rId52" Type="http://schemas.openxmlformats.org/officeDocument/2006/relationships/tags" Target="../tags/tag497.xml"/><Relationship Id="rId60" Type="http://schemas.openxmlformats.org/officeDocument/2006/relationships/tags" Target="../tags/tag505.xml"/><Relationship Id="rId65" Type="http://schemas.openxmlformats.org/officeDocument/2006/relationships/tags" Target="../tags/tag510.xml"/><Relationship Id="rId73" Type="http://schemas.openxmlformats.org/officeDocument/2006/relationships/tags" Target="../tags/tag518.xml"/><Relationship Id="rId78" Type="http://schemas.openxmlformats.org/officeDocument/2006/relationships/tags" Target="../tags/tag523.xml"/><Relationship Id="rId81" Type="http://schemas.openxmlformats.org/officeDocument/2006/relationships/tags" Target="../tags/tag526.xml"/><Relationship Id="rId86" Type="http://schemas.openxmlformats.org/officeDocument/2006/relationships/tags" Target="../tags/tag531.xml"/><Relationship Id="rId94" Type="http://schemas.openxmlformats.org/officeDocument/2006/relationships/tags" Target="../tags/tag539.xml"/><Relationship Id="rId99" Type="http://schemas.openxmlformats.org/officeDocument/2006/relationships/tags" Target="../tags/tag544.xml"/><Relationship Id="rId101" Type="http://schemas.openxmlformats.org/officeDocument/2006/relationships/tags" Target="../tags/tag546.xml"/><Relationship Id="rId4" Type="http://schemas.openxmlformats.org/officeDocument/2006/relationships/tags" Target="../tags/tag449.xml"/><Relationship Id="rId9" Type="http://schemas.openxmlformats.org/officeDocument/2006/relationships/tags" Target="../tags/tag454.xml"/><Relationship Id="rId13" Type="http://schemas.openxmlformats.org/officeDocument/2006/relationships/tags" Target="../tags/tag458.xml"/><Relationship Id="rId18" Type="http://schemas.openxmlformats.org/officeDocument/2006/relationships/tags" Target="../tags/tag463.xml"/><Relationship Id="rId39" Type="http://schemas.openxmlformats.org/officeDocument/2006/relationships/tags" Target="../tags/tag484.xml"/><Relationship Id="rId34" Type="http://schemas.openxmlformats.org/officeDocument/2006/relationships/tags" Target="../tags/tag479.xml"/><Relationship Id="rId50" Type="http://schemas.openxmlformats.org/officeDocument/2006/relationships/tags" Target="../tags/tag495.xml"/><Relationship Id="rId55" Type="http://schemas.openxmlformats.org/officeDocument/2006/relationships/tags" Target="../tags/tag500.xml"/><Relationship Id="rId76" Type="http://schemas.openxmlformats.org/officeDocument/2006/relationships/tags" Target="../tags/tag521.xml"/><Relationship Id="rId97" Type="http://schemas.openxmlformats.org/officeDocument/2006/relationships/tags" Target="../tags/tag542.xml"/><Relationship Id="rId104" Type="http://schemas.openxmlformats.org/officeDocument/2006/relationships/notesSlide" Target="../notesSlides/notesSlide17.xml"/><Relationship Id="rId7" Type="http://schemas.openxmlformats.org/officeDocument/2006/relationships/tags" Target="../tags/tag452.xml"/><Relationship Id="rId71" Type="http://schemas.openxmlformats.org/officeDocument/2006/relationships/tags" Target="../tags/tag516.xml"/><Relationship Id="rId92" Type="http://schemas.openxmlformats.org/officeDocument/2006/relationships/tags" Target="../tags/tag537.xml"/><Relationship Id="rId2" Type="http://schemas.openxmlformats.org/officeDocument/2006/relationships/tags" Target="../tags/tag447.xml"/><Relationship Id="rId29" Type="http://schemas.openxmlformats.org/officeDocument/2006/relationships/tags" Target="../tags/tag474.xml"/><Relationship Id="rId24" Type="http://schemas.openxmlformats.org/officeDocument/2006/relationships/tags" Target="../tags/tag469.xml"/><Relationship Id="rId40" Type="http://schemas.openxmlformats.org/officeDocument/2006/relationships/tags" Target="../tags/tag485.xml"/><Relationship Id="rId45" Type="http://schemas.openxmlformats.org/officeDocument/2006/relationships/tags" Target="../tags/tag490.xml"/><Relationship Id="rId66" Type="http://schemas.openxmlformats.org/officeDocument/2006/relationships/tags" Target="../tags/tag511.xml"/><Relationship Id="rId87" Type="http://schemas.openxmlformats.org/officeDocument/2006/relationships/tags" Target="../tags/tag532.xml"/><Relationship Id="rId61" Type="http://schemas.openxmlformats.org/officeDocument/2006/relationships/tags" Target="../tags/tag506.xml"/><Relationship Id="rId82" Type="http://schemas.openxmlformats.org/officeDocument/2006/relationships/tags" Target="../tags/tag527.xml"/><Relationship Id="rId19" Type="http://schemas.openxmlformats.org/officeDocument/2006/relationships/tags" Target="../tags/tag464.xml"/><Relationship Id="rId14" Type="http://schemas.openxmlformats.org/officeDocument/2006/relationships/tags" Target="../tags/tag459.xml"/><Relationship Id="rId30" Type="http://schemas.openxmlformats.org/officeDocument/2006/relationships/tags" Target="../tags/tag475.xml"/><Relationship Id="rId35" Type="http://schemas.openxmlformats.org/officeDocument/2006/relationships/tags" Target="../tags/tag480.xml"/><Relationship Id="rId56" Type="http://schemas.openxmlformats.org/officeDocument/2006/relationships/tags" Target="../tags/tag501.xml"/><Relationship Id="rId77" Type="http://schemas.openxmlformats.org/officeDocument/2006/relationships/tags" Target="../tags/tag522.xml"/><Relationship Id="rId100" Type="http://schemas.openxmlformats.org/officeDocument/2006/relationships/tags" Target="../tags/tag545.xml"/><Relationship Id="rId105" Type="http://schemas.openxmlformats.org/officeDocument/2006/relationships/oleObject" Target="../embeddings/oleObject9.bin"/><Relationship Id="rId8" Type="http://schemas.openxmlformats.org/officeDocument/2006/relationships/tags" Target="../tags/tag453.xml"/><Relationship Id="rId51" Type="http://schemas.openxmlformats.org/officeDocument/2006/relationships/tags" Target="../tags/tag496.xml"/><Relationship Id="rId72" Type="http://schemas.openxmlformats.org/officeDocument/2006/relationships/tags" Target="../tags/tag517.xml"/><Relationship Id="rId93" Type="http://schemas.openxmlformats.org/officeDocument/2006/relationships/tags" Target="../tags/tag538.xml"/><Relationship Id="rId98" Type="http://schemas.openxmlformats.org/officeDocument/2006/relationships/tags" Target="../tags/tag543.xml"/><Relationship Id="rId3" Type="http://schemas.openxmlformats.org/officeDocument/2006/relationships/tags" Target="../tags/tag448.xml"/><Relationship Id="rId25" Type="http://schemas.openxmlformats.org/officeDocument/2006/relationships/tags" Target="../tags/tag470.xml"/><Relationship Id="rId46" Type="http://schemas.openxmlformats.org/officeDocument/2006/relationships/tags" Target="../tags/tag491.xml"/><Relationship Id="rId67" Type="http://schemas.openxmlformats.org/officeDocument/2006/relationships/tags" Target="../tags/tag5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image" Target="../media/image6.emf"/><Relationship Id="rId3" Type="http://schemas.openxmlformats.org/officeDocument/2006/relationships/tags" Target="../tags/tag8.xml"/><Relationship Id="rId21" Type="http://schemas.openxmlformats.org/officeDocument/2006/relationships/image" Target="../media/image9.emf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5.emf"/><Relationship Id="rId2" Type="http://schemas.openxmlformats.org/officeDocument/2006/relationships/tags" Target="../tags/tag7.xml"/><Relationship Id="rId16" Type="http://schemas.openxmlformats.org/officeDocument/2006/relationships/notesSlide" Target="../notesSlides/notesSlide1.xml"/><Relationship Id="rId20" Type="http://schemas.openxmlformats.org/officeDocument/2006/relationships/image" Target="../media/image8.emf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5.xml"/><Relationship Id="rId19" Type="http://schemas.openxmlformats.org/officeDocument/2006/relationships/image" Target="../media/image7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2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7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4.emf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3.emf"/><Relationship Id="rId2" Type="http://schemas.openxmlformats.org/officeDocument/2006/relationships/tags" Target="../tags/tag41.xml"/><Relationship Id="rId16" Type="http://schemas.openxmlformats.org/officeDocument/2006/relationships/notesSlide" Target="../notesSlides/notesSlide6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49.xml"/><Relationship Id="rId19" Type="http://schemas.openxmlformats.org/officeDocument/2006/relationships/image" Target="../media/image15.emf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image" Target="../media/image17.emf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9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8.emf"/><Relationship Id="rId5" Type="http://schemas.openxmlformats.org/officeDocument/2006/relationships/tags" Target="../tags/tag69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2B815D7-8881-BF8B-85E1-1BE43071A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06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BD875D3C-43C8-94F2-0A0E-5390D8E8682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325224">
              <a:extLst>
                <a:ext uri="{FF2B5EF4-FFF2-40B4-BE49-F238E27FC236}">
                  <a16:creationId xmlns:a16="http://schemas.microsoft.com/office/drawing/2014/main" id="{976D48EB-9F54-4E83-D322-276D4AE9EB3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941959">
              <a:extLst>
                <a:ext uri="{FF2B5EF4-FFF2-40B4-BE49-F238E27FC236}">
                  <a16:creationId xmlns:a16="http://schemas.microsoft.com/office/drawing/2014/main" id="{25BEF5BA-A068-35B4-229D-9B6FA8EBDD9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258728">
              <a:extLst>
                <a:ext uri="{FF2B5EF4-FFF2-40B4-BE49-F238E27FC236}">
                  <a16:creationId xmlns:a16="http://schemas.microsoft.com/office/drawing/2014/main" id="{7AE9CFE7-1AA2-30B7-8620-F10E9E45CF4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996410">
              <a:extLst>
                <a:ext uri="{FF2B5EF4-FFF2-40B4-BE49-F238E27FC236}">
                  <a16:creationId xmlns:a16="http://schemas.microsoft.com/office/drawing/2014/main" id="{2AF11D50-ADE0-4F4F-C73D-0EBFFB5363F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A937CD41-2674-FC8F-5D1A-B45FE4D7519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574015">
              <a:extLst>
                <a:ext uri="{FF2B5EF4-FFF2-40B4-BE49-F238E27FC236}">
                  <a16:creationId xmlns:a16="http://schemas.microsoft.com/office/drawing/2014/main" id="{1AF355B8-D7B8-E244-FF1C-C771268E2AF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776334">
              <a:extLst>
                <a:ext uri="{FF2B5EF4-FFF2-40B4-BE49-F238E27FC236}">
                  <a16:creationId xmlns:a16="http://schemas.microsoft.com/office/drawing/2014/main" id="{B41944D6-030A-8D60-2E4C-67312873010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78876">
              <a:extLst>
                <a:ext uri="{FF2B5EF4-FFF2-40B4-BE49-F238E27FC236}">
                  <a16:creationId xmlns:a16="http://schemas.microsoft.com/office/drawing/2014/main" id="{2B623157-B327-654C-95E2-FEED203B7C3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67724">
              <a:extLst>
                <a:ext uri="{FF2B5EF4-FFF2-40B4-BE49-F238E27FC236}">
                  <a16:creationId xmlns:a16="http://schemas.microsoft.com/office/drawing/2014/main" id="{94A3199C-DF3A-22C4-6120-ADFBFCE554A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EF12BC98-5B24-EA96-EB1B-7F2BDC5A45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y 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E0DE80-5D9D-CEA0-A67A-9098448C5D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BCN PEG </a:t>
            </a:r>
            <a:r>
              <a:rPr lang="en-US" dirty="0" err="1"/>
              <a:t>Mekko</a:t>
            </a:r>
            <a:r>
              <a:rPr lang="en-US" dirty="0"/>
              <a:t> and think-cell Survey blan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5034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btfpColumnIndicatorGroup2">
            <a:extLst>
              <a:ext uri="{FF2B5EF4-FFF2-40B4-BE49-F238E27FC236}">
                <a16:creationId xmlns:a16="http://schemas.microsoft.com/office/drawing/2014/main" id="{DC2F8694-6D0C-4ED4-B5ED-F30FE8CB9D7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5" name="btfpColumnGapBlocker676798">
              <a:extLst>
                <a:ext uri="{FF2B5EF4-FFF2-40B4-BE49-F238E27FC236}">
                  <a16:creationId xmlns:a16="http://schemas.microsoft.com/office/drawing/2014/main" id="{814C5F7B-8DE0-4F49-B06B-00DC02FC3C8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ColumnGapBlocker186865">
              <a:extLst>
                <a:ext uri="{FF2B5EF4-FFF2-40B4-BE49-F238E27FC236}">
                  <a16:creationId xmlns:a16="http://schemas.microsoft.com/office/drawing/2014/main" id="{6B39AFD8-83E8-4897-A8AA-0853039F0E0E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590012">
              <a:extLst>
                <a:ext uri="{FF2B5EF4-FFF2-40B4-BE49-F238E27FC236}">
                  <a16:creationId xmlns:a16="http://schemas.microsoft.com/office/drawing/2014/main" id="{5B6825D9-8DD8-4758-B482-B95492AD657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321433">
              <a:extLst>
                <a:ext uri="{FF2B5EF4-FFF2-40B4-BE49-F238E27FC236}">
                  <a16:creationId xmlns:a16="http://schemas.microsoft.com/office/drawing/2014/main" id="{2E155FD9-CADF-4D17-9B25-479D65F934C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719541">
              <a:extLst>
                <a:ext uri="{FF2B5EF4-FFF2-40B4-BE49-F238E27FC236}">
                  <a16:creationId xmlns:a16="http://schemas.microsoft.com/office/drawing/2014/main" id="{877FE432-AB7F-483F-9BA3-D518EADA534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890852">
              <a:extLst>
                <a:ext uri="{FF2B5EF4-FFF2-40B4-BE49-F238E27FC236}">
                  <a16:creationId xmlns:a16="http://schemas.microsoft.com/office/drawing/2014/main" id="{20855B94-13F9-47F8-856B-D6063A7C7ADE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513993">
              <a:extLst>
                <a:ext uri="{FF2B5EF4-FFF2-40B4-BE49-F238E27FC236}">
                  <a16:creationId xmlns:a16="http://schemas.microsoft.com/office/drawing/2014/main" id="{4FB895A0-0D5D-4343-8C9B-1195172C8BBB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913010">
              <a:extLst>
                <a:ext uri="{FF2B5EF4-FFF2-40B4-BE49-F238E27FC236}">
                  <a16:creationId xmlns:a16="http://schemas.microsoft.com/office/drawing/2014/main" id="{04F9EA3F-BB1A-4764-B112-07AB3E23EC3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416498">
              <a:extLst>
                <a:ext uri="{FF2B5EF4-FFF2-40B4-BE49-F238E27FC236}">
                  <a16:creationId xmlns:a16="http://schemas.microsoft.com/office/drawing/2014/main" id="{8720B766-6716-4266-A3B4-2C2F838543A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648449">
              <a:extLst>
                <a:ext uri="{FF2B5EF4-FFF2-40B4-BE49-F238E27FC236}">
                  <a16:creationId xmlns:a16="http://schemas.microsoft.com/office/drawing/2014/main" id="{A556B799-760C-4AE9-BB40-1FB3B21399A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ColumnIndicatorGroup1">
            <a:extLst>
              <a:ext uri="{FF2B5EF4-FFF2-40B4-BE49-F238E27FC236}">
                <a16:creationId xmlns:a16="http://schemas.microsoft.com/office/drawing/2014/main" id="{0282F7A8-10E0-47EB-91F3-91B6A6EA0E9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4" name="btfpColumnGapBlocker763260">
              <a:extLst>
                <a:ext uri="{FF2B5EF4-FFF2-40B4-BE49-F238E27FC236}">
                  <a16:creationId xmlns:a16="http://schemas.microsoft.com/office/drawing/2014/main" id="{D01003D8-1D26-4192-B6BD-95B9BFC447E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1" name="btfpColumnGapBlocker790764">
              <a:extLst>
                <a:ext uri="{FF2B5EF4-FFF2-40B4-BE49-F238E27FC236}">
                  <a16:creationId xmlns:a16="http://schemas.microsoft.com/office/drawing/2014/main" id="{B16EB611-7CFC-49AA-8FAA-A29DF798AA67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157240">
              <a:extLst>
                <a:ext uri="{FF2B5EF4-FFF2-40B4-BE49-F238E27FC236}">
                  <a16:creationId xmlns:a16="http://schemas.microsoft.com/office/drawing/2014/main" id="{4E19EB73-96D9-4495-A156-40A781CD3F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547629">
              <a:extLst>
                <a:ext uri="{FF2B5EF4-FFF2-40B4-BE49-F238E27FC236}">
                  <a16:creationId xmlns:a16="http://schemas.microsoft.com/office/drawing/2014/main" id="{ED9F4C77-B45B-4CBC-9919-734A311683C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btfpColumnGapBlocker460562">
              <a:extLst>
                <a:ext uri="{FF2B5EF4-FFF2-40B4-BE49-F238E27FC236}">
                  <a16:creationId xmlns:a16="http://schemas.microsoft.com/office/drawing/2014/main" id="{1AFF93EF-67C9-46C0-8C27-245801BD4338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576535">
              <a:extLst>
                <a:ext uri="{FF2B5EF4-FFF2-40B4-BE49-F238E27FC236}">
                  <a16:creationId xmlns:a16="http://schemas.microsoft.com/office/drawing/2014/main" id="{ED312EA5-3E9A-4B15-8ADA-1E66C48D2345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151273">
              <a:extLst>
                <a:ext uri="{FF2B5EF4-FFF2-40B4-BE49-F238E27FC236}">
                  <a16:creationId xmlns:a16="http://schemas.microsoft.com/office/drawing/2014/main" id="{D570E5D0-4B99-443B-853A-6BC921BA099D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724185">
              <a:extLst>
                <a:ext uri="{FF2B5EF4-FFF2-40B4-BE49-F238E27FC236}">
                  <a16:creationId xmlns:a16="http://schemas.microsoft.com/office/drawing/2014/main" id="{DA0F9AC9-E70E-4A60-88FA-BEBA9F4416B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329480">
              <a:extLst>
                <a:ext uri="{FF2B5EF4-FFF2-40B4-BE49-F238E27FC236}">
                  <a16:creationId xmlns:a16="http://schemas.microsoft.com/office/drawing/2014/main" id="{3E4B8E75-B505-4CB1-AC5D-CD3DDA8648B7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89413">
              <a:extLst>
                <a:ext uri="{FF2B5EF4-FFF2-40B4-BE49-F238E27FC236}">
                  <a16:creationId xmlns:a16="http://schemas.microsoft.com/office/drawing/2014/main" id="{1AA28B46-8A07-4136-9859-8014EEFBB91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btfpColumnHeaderBox889335">
            <a:extLst>
              <a:ext uri="{FF2B5EF4-FFF2-40B4-BE49-F238E27FC236}">
                <a16:creationId xmlns:a16="http://schemas.microsoft.com/office/drawing/2014/main" id="{91B97BEF-1A07-43B3-A46A-09E409B0BC9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364101" y="1270000"/>
            <a:ext cx="3483504" cy="559753"/>
            <a:chOff x="330200" y="1089692"/>
            <a:chExt cx="5495528" cy="356892"/>
          </a:xfrm>
        </p:grpSpPr>
        <p:sp>
          <p:nvSpPr>
            <p:cNvPr id="74" name="btfpColumnHeaderBoxText889335">
              <a:extLst>
                <a:ext uri="{FF2B5EF4-FFF2-40B4-BE49-F238E27FC236}">
                  <a16:creationId xmlns:a16="http://schemas.microsoft.com/office/drawing/2014/main" id="{5627ABC0-8A67-4F85-8227-D7434D741F78}"/>
                </a:ext>
              </a:extLst>
            </p:cNvPr>
            <p:cNvSpPr txBox="1"/>
            <p:nvPr/>
          </p:nvSpPr>
          <p:spPr bwMode="gray">
            <a:xfrm>
              <a:off x="330200" y="1089692"/>
              <a:ext cx="5495528" cy="3568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 as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mary reason for change in spend</a:t>
              </a:r>
            </a:p>
          </p:txBody>
        </p:sp>
        <p:cxnSp>
          <p:nvCxnSpPr>
            <p:cNvPr id="75" name="btfpColumnHeaderBoxLine889335">
              <a:extLst>
                <a:ext uri="{FF2B5EF4-FFF2-40B4-BE49-F238E27FC236}">
                  <a16:creationId xmlns:a16="http://schemas.microsoft.com/office/drawing/2014/main" id="{D26A1C75-B1FE-48D5-90DC-FB08060C4DE4}"/>
                </a:ext>
              </a:extLst>
            </p:cNvPr>
            <p:cNvCxnSpPr/>
            <p:nvPr/>
          </p:nvCxnSpPr>
          <p:spPr bwMode="gray">
            <a:xfrm>
              <a:off x="330200" y="1446584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btfpMGChart20927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q+P1+7ScD9BYmK/mepUZvn9ubAbIlOvsrKA1fEGQJOYnWVoliQUASwzB1BN4nE4TKtJSwQqlW7GrufFZqdnr5DKOcZjfa/rkcQJxwgba+kR7CxfGVERijZ9wMY1Lo0BQ3nxgzYgIqJVNzFiCl7HfmwyLeXnI2BQfHbWvERgg6SSAqr5su2Ggo18TtIeyrdVLN6mkcnCM6+9xmqzp6Lal2ka/ptyNz5e7+yFBxJWEBI0ChI58sfxcBh0+dXp4lsKqZ3/8swKb0AB8xbbe4+cCJjs2oRUy5Hzu/m+K6sa/QkcY3eJFf222p+paGggQZwai88ykTvQ7Rfptit9YER+jbQg7A7FOLCVR7NO3Bmi8/VfznSgqN6bFpgY/rcxWZBnG5yNSyM4Atiy/3RtBu7z5Wki3o2dW3+1RUpyDto8Hqgl6ob3b4V9H2fWi7lrepN3xOcUqKHvl/O8rEkCq97d49siFyi2gFbd76NobC7f8cbZRvOWQqkXjtiBYLcrep5m1d4xKAEvhPRpyx6m8mcKL/WCpbu1qwxh+0wA7sH73RkefbVwbmHDAC2KPUioJGuxidGckp9coEuFdhOLfrGMSRwtJynFPiq4XkUdlSFum9cjxjEV/s71SsdShBUFUELx7lEgMfSfZDJgBZWkvgEe/OMa0FS106dbizV6JfuzUzCgMAKMrLdLFkI4xiuJunbKfTLDx6PITFUosUWssrzNxEth7l+bL3BDm2vnJVCY+/e6ZzV3gJ8dzmAbTeGdHLf7KzyCLcg2eWgHDEouduYKglm4WfZ+HA+32bXiHYh0kQt6u+smaKIAOyWV4cBYxVLk0INOCA5q7nKf3Z4dqJ+2ZthQhguFraWJ/vgeJaYcdemmENwpQMPmN81ykYpH6aNAzz+g1paZcuzArawgl1+fXzWi1bItLeiRTmT65WpFyBbTYXk/mnNbAUE4yRmhpXsijkNVaRTHBXr+t3qa/OEDhK467eoHviwVM1bW/4bNQzjg9ZdM4f5NXaYg3/ykqJHAciHjofo1OzXhp5Q0mwpHRk4kjm7lPN5wSHQzC7d7yFkVOBTLBnOU0+AJ+T/cAJ+kvbegJU3nJNW9aH6/F0rnMHFB9m03vKn1mHD/xfMTkgbj8I3EguvUaSvdVIYy5qGY6HVMgu1zCwGAPpU9f55Niba8CmjLk0aMbha6MFHj9OIYvwbYyrMzT5Bi5NmAWPkwPnY66V0VTfEjQqSMfZdmiyHl0QNLoSQYhiRyVpQEcAxOONYaeOcnlxBZ0wyUtXJBDVD6awfFZ2zT3slH/4Bpb2RVTvR1kJ5UkTxUif+Mijq0Jw51IckxiVq5Vb2/v9v5NFSg5NL6qe3+MyUIV/oeN0B0SMaE/Taa1fDgvLXe7H22Th1cagxna7tPveMRbJGjOws0yPlKy6ISud0u1mNFomqI5mGX+kUoTwq8Bv71sDF+EYVbAMbScqEAJwhO8zRdfW387cmRLvhBrtMOLJSXxm/CnkFqPOeaaXCeX1Wnuz7b/+7YwxrPkUtd+o0H1d9csIirS92qsbyrDoYyFvuQhTxfb94bV5VsX8Opq2YoP29ubUTwPfKgey1RbUU/hgEWso/WTQXUTbRYYNy1GZLl0I2XbVlkHMv2bPlTb+5lVyRo5iohD935IG+B7StOrdW1ysugPg6SAx03xbbW3TOxTWf3kHti+a+CkpGYRlVvEGfFJbRn4uohEqFTb8oj2zlHGMsNVAsMRGMRS+Qw/ip9+qanRvL4qe8TwLqbSNeQQCS4L9mBPtPxmYaengDjM55zCVoS8ML3wxpXixil41Fsvu7Mpz1etdwaHKREmIv4wzszO2mjG3krGo5ZpmVTXaaPJJVWCJ9LdL5PmmaRp4CxBHXJKPDjy2RTccLEfePNOhVkGSZX7VzL1dHiQxLugmEfuZfdUtLOEFFg9u7azvBP9YtzA1muOIWN7C0mFz2HqsyQSj51se6Ccvu45yUdQ/oyZffBmbpKVz8L6PFUIB97OVnGmHySLMFHcJPEtMMBVaAI96rmQQ5QoevA9K+mYX+sh/aIFg8Yk86TpfSOSDo8eSVDAzo6H7jZFED4dxH5eQtKoUojEktxrvhgPCtV3ewQWTx2JkRmwCBl72W/iWQgz3Skp1gh+8VKEmAA3ovWoTJPjf2jhQi0e8i8Y42VPF7HP7e+HGq7olNB6og/JN6Gmd16QKgksOOXC2oxqKC2x1JmTmtiCrkYfCo7Z/xywLABGMcotMbP7zhvR6kptg+X6504C3bPGuXWrI5Siq6G/+eRVv6XHR3WxJnuPKfPBNGwAB21wxKOPTrYhuM0wEG7Va9T89kG6joQVyuIaY3V+4pbDRSgi0l8hcZALUpSfElPOoKvSEuPkqsxAfX0XVZZtKwHauA6VeyLc9O8js8kMneC7an3AglVJOs8v0cEyrvUzfNNcYor6U35rtjoFJneNAtdYi4eRc4xuHnF9Vl6BM4A7rFEBsaIN7Jj1VnenKg00nrTm3gJWPgGD1uF+bkMS58eGmZxLKYKNoFL3GHulKZOwAgXYaGXm9FqvIqUiysjsjp8Dyzg9PC1qIo41DnQyAjq3TMe8IKozxJG0LC4g7jlCYvjRRPhsYy2sKiYlzj+DdonrOOkpGN0AiDP0G2o+qTOoXlX0J0NBxe2ujz0gXlwXEcMVkFV4qZeow/OhF0OEsWeiDYyZBUI8KY7PV8Fa/Yq4Ne2WJfe0QjZS0UEmlebw8D0WjCCuRj1EH9BN6eYKS65f/sebQCBkS48eFpsbiJ3FcHCCACaXmJLrDycigADCmGxBCqfxtF8S02XymNffNVPpZZlNyMrnK4wQ4H8XtPIsjJPMM75WsjKmUkKUyI0p5iiHRbdAp74wT3gPcx/uemQVnecFm0KVfGHtdBvlpZiFLyqWvpuSBly2OKmA3v/FnEl2bUwSnpE3QMtKoKJrIdD/ILQdJBh3K5H44uObYIp7obaa8LDVGt2ZbGTMYvauAJj10lO/fnV+5TO/tsnoBQ3DUA7zQJGRAhzPN8LL7Tm01HBvrrf9ctDup8BvdZIkRqXN1lFADAmuHMNahbXMt9bQWVtXdK+0Flkwt/wGrHZKQ6eJg/pl+JvYmk8hOXeYmmI7K6mHTf6JNylbLyRv/iaoZ5hLM1oXpZuPlLxTpqccRYYhIs5XRliybqkovV0i3//YZyCYrod+D9gwMfkdDQaZBCuZ1PeUnYr0xE5XMe+wsPIrGwkkT++8oAc5RMmPMq1Ju3Vth8Y6engNODHfwpi8919Q2uxpdLziwhkvzjcUMDvvmOkwK7rL+fbsjkl71pxyNUB6rp/xqgbA8THmwDGgKA6plv5g9NQU/qFmrfibH2CqMDja04A24QTo56Kfo4Cfe8EIKJF9wuQGHRbfNAzPmyK7bgniqoc+H2CHAduMBGvYuh1x1Ye7AD2xL0vb9I1Lk/4Q5W6dHBu22hQJNNkza5hnrLh+XvJ1gLc8a/VBTC4z//PhfCpToBZ9vdJdlaqJ47T0F60RqdGShqnoOKQ3LoVXQIogxEaRmsepVLvAbTqHKbpjL6w9/q1cXbXvPEWvsrVAXX0c7qzLubiYmDlvvdMypRjbeDhuecrEZw3hDkhQ5X2jb6sQf3s01mbKpIM+mTn0tJqxDZN4iWwOeVBvaAy0jqBhEe8yt13LTwnRKGp480LM9chJbCPSNt8NMI20+20nUypqAnCNqU63klxwMCjhgs0e4HSP87sPkGCY191j/LW7c5pJIlFQkUFWueO0j2K96xI1yX9/35toaNqocsg/6RkUvuQfTFqbTna9q+VYZaVawfKK0dlcqDgwuaNf2WUsmR0CxBj6op42bIFIhZEhV79wk090cpVd08IUNujYC22g5a+6qmliCBuKBQ+KIku7swswpYEwScl5+WcJnXnxHOUOaFDIAciWQTH92/u6u0Tuevlf50mw4PmQzIDzSzskM6PynEkOXvgjXSrUU1a/+hH9oM2EtEo4ZU7dVBKyjoThkWS4jWIPRqcoGJdx/t0uAJtL+uMUsDGwgOXOo6/M26G5ThOVQtSeYYuAU15qz3tvdwYEYs9kDqegZhHf6QbU5HPK37uwa9OWKPU4p871on95hzIL7BvbZ2Sj8/U+uL2T7VRut28Z+A8GsqzmRVpGNxld9XWpDB2iAFJCOx67NVsEP5NAr+NIFhMzaIOiK7vQquPJaIf61HdZD8swdGSccLLZB3NOnRejJKbkyaw/TWF4ffTh5u+nbdwiDhAIyIK7tjvXGbJwhmo7UWCJM8l7SZJ0Hp6YlrFmaH8VES91LDc/DOAnm5TqQGrr12C8uXOQXG7oalfRn/UNHxbfqFwY0NRG3cnUsX5Np0HmbYaAHdsaUpH1X7XRwD7T3Sk5uvO8GElY4zwQZemcACWdywUX1FQ0jR+p8l1haliUtKkXrJtInf9jsuiqt+7CBQBWyASGlp+LwSYLGL+sgAkAZYouGWRAeMvUInSCkwBFO2FVMgabRDb9PdLE+8n8zFaCAiZluwEHMrIB+E6RFWaEccrN+2wp35PDHs8Yb1PQe3UKlOpkcsGCJKotSK+GuwWa+Ws92jdMp5i40HoD07yyQQRPD//ufGkRHLqd2LR72Pr0JmmeK/Du2x47535q273OsTQHSeeYW2zyR4X/aYfNmgS5pnHpdOFRfJGNvDerEy0YupQmmU07yQtDGefDW43QDLeRPtbFro25ne44Hk3jb3hw9v0rxl4rIAvghKdK6EIkZ8ZXc/W8F77yoD5YY0iewp5hIy9uap4MFcEMv76+hd9SILcG29LoJClpQgXWvPQhHIZi9NNKzKQsJ1gaGa3QGB9loiWDO6+6q7yqi2EgumDV1kwJVKy3wgzN/532WywQTlLeqnLPIRW1yzyCoG6HwEYwS5NCFZ9sqZT10x0+Dm2DBnme0p5Lr+SbDJIUDWusQ2Pc+9JMtV2ax64jvmqdo/Rb+n8CmmKStroXE90Txouelvh03KUFQnIX8xYwFC98/qouCo8o88rsITugulVzqCtxdVBj71sNMQekYGS9gcPNcuof2rJ1MAuBYm9rlyncVrA5W0RZ2RddLxhHP+RkQ+5Ffe0lyarZ+O99V58lh5pxl983Mw6iPohszyaulMQOCgS2LXdjDGFl3efSSq8LJX+MiSKuuyuHnpA05SyAnBl6DljxIMhfi4y3F9HuaOzea7WIQuyZXYP3AaMXJfoUS8tLPP8ZB5OsBHoFnZKax2XD+zypX4pBY1Oa3Qv2pgDvPcDb8Dmk2G2ynw0ZR9nZFdmFn7iFj0Wm8gwtI4eQ41pGssRMjriCyPqwY9BZ77X+NOhbBH7lvbZR4maIvbLovdIzxICJl8THDR0W/SpGrWsKfzOINNP8JzjMpm061QjbxQ7ut2MDk2uUaQYl/PEKzg097WTkZ1umMFOkhlxIN14kCMS2Z4BSLwZ1s44ivoUxZNhWGOL9hRi5bd7XvAdI2hYbaQA7SlXZUtsVsoXCh31wYHkLmXczvOeIUJ+gYEdrEOzfvKhZk0PenL/CNcpFqbAZF1APOi5ef/Z4T+Om5LC6lxQM89kMdfmcr4b0UstgDlUEsXsFN+vZ+FPQwMvc2I13Sf5AMfUwInMnyGtKOn5ah6TZSvPBQl0HZscY6jvYeUJdR55lYv4rxpf3QOJ7DZRAOMpzh5WD2/AC/n18oC2nPC1mw76Qic+PmdvlMKTmH+ljjDbbIWOUu/xG60afAdbdWn93lmlD+q5z3XhiRu1WICJD+Z0/LG2rDtCSTZuaHwo5iNUHeivFuK7K8hEYFiGH5mhu5KR0vWDuPnG7XN/G9HjRPtjKzRuZtmeCu+NG6lpKXsJZc3iB87B+b4V3vXl9W2LbydqryyVkR5bg8ctlyUhrFP3KG40PC2YRud2aZ/djJL+C+8F9brytyKferPdk6OrD6zNPiDRMo5SE7ZRI5xGzyGpaMAIXcHQJCqLRQmb3LJldXmO5p5WEe1X9+Yb3CN3QUPleGCtM3ibaoio9zt3uFjg2QoQr+qNzQKHW1EfnN1K4Tt7blYQcbbda47CBK4cSLKRv012OkpyzClEm4MhzjukNgfnr/J+3kFroU7iKJZ42kECK37jDQkfa1dJ5vSlLA7lgupJ7TYEmAMl8NcCdzpAAIb55c1PZ2uOn9GpkaPbyQ+awCZWNB/fz/8j/J+aKZ7TjLhx+pikymD5UpX0jPhDuB/goso/IG4g29nuj/svSkLwWcD0x/gQIjfif0uVi587xpQawDtR4CnA4rZb8U2VmRCihLAAYTKbjMooZKnbB6tJGGxdfOg/31tqEC1DOprH/DiKM3I+Iuf7pKngkjiBBU2Sf7oIY/AKXvM2bbyaEZj0189Oggjb2D7Lw4oJRS7SpPdmh0A2ZPA2JF3iyn/Mt94lpBKnyWQN9LzJtnNuyu4ePsad+lUXuYxmbDoxfPufZWANIJ1Sqe+cKt7lnj7TL8mb3KDWZjetB+nufo2wGm2SKd6iScu9Dt4N0h+FYTekK6FJLYox24j4i1rxfyTWfMZ9URyLc9kroDeK9h+OVdk3rxyt7a0HRSzUdoeeHH0pKHSBo0BLUkUE1qIwtk7SVH1ZTSttUEe0hyRz7t8Ke5VvRjpKUMjkjbJodMcHAdgE3PCwYb/pUahEV/ku0XgyJTuj5EYH3sIR+el2eZryFE123H2wa8YrVWaZy9vKuJaDfPgJxDHX6TMp3xMftyd4YDeiPY2awQpa8EnOAFB1fX+Y580tL0S+Rnti40OeDOQcHq4CqbcoV71maNZ2fV74hwldKBD1BESzAMcRlRphBI7RbO3D2ZAnXLLAZ/wh7oOMS5MBvTzNhX4/3ry7xAU3FuOjqSYip7V4TdlpIeks2TOz51snrEELXMV+wIOJUT9m9YZWtkY9u+RCpVtIen8jboMPo1hbMP+PkFXbF2t3+I/2ddXozVtnVJBkI71WjVGlcds9hnZoS6c8MvssTyxen+qgpggnJnak1R6tN8PT4rb/piwdE+6Tn7hyk6++mgJSBQN0MN7VP2aHEKcJzijIqNuCgi6uuz0WcTCM+IYVkt1P/eRUMM12NIjfK7vhUPQfhokYXNAiAIIx71ZXzPGIfD42QNCiDCqpS7WCA0vfCYyzQTD/leBu6qTOAHlAlhJMd0N/PfJlbfiDkvRJzRm8rHBU+qHDqnB3A62mBRVPqvviNu1qH115fcU1ilsoCA9EohWwhd1O0PJFmAQsUaxFOL1F0CQ6WE/v1EApjAFeDtaiFmy8kU3STK8haqFNC7mBfnFI7z4xbcGauYrYTGwBJSwImEgYLMRMoRbXS7X2sOcvdg+ScxzlQs+d83/E40DbmFT4gJzkJPRIFGY034TyxwHLx30TYHDjB83L9S+PUhAgf+8/4PZtr2K+HA56OL5RFj0fzGuEpWP1r/BTZZHZrG6VHPrs14GP7EdSiqy2yZBYEwn1fjwQcMDGDBHO1JCdChz6whEWQbBSVxbe+Onlc/bGfi5TtTC5Vue2eHP8Q/xBg7SI4s3RU/aDFcq1Cgaw5LLhPnwyaSphFxgDTyQGZOev7DNzQsQVvkydj2pnAjBjKgOpSq0PcaV0rKwEwoL8mfrRfqvpHRK6hUcHo9g2FqsmHD/ekqD3E9zsRoj0RzVq0sogaJzr5DKKpOmYL+89tdU56J5vtoHCLxcR65CewE8KnFNWVIhlAoeMTM83oK4slt6JRD2QCk/idcEidagKtlfg9HmN/TSOdqx7c9fViJIIKmbLfuIn9ekXNfnfBmhYBeN/+A58CrJcLMYljLfPWeCOHiFoJZBMm9PgZ5NZxteg1qSvbWjRTFLci+2qkCxdBR8JyQb87RU91g7kvHRZAFWRLF0bspTPkaaVCEYKDJDXGiL7K8ubBQpjlBMOSQtjFBguW1LBdx5YbXPVtj5Tw/q2amAqyeHxO6nJ03JzamdnWe5CoMvAntqaJpwQnWcVQAj2PlRqkjCktSLTtHN21i0bwkX8FYxto+qy5Gxnuzaaxw2PxkMh5TmEKiSp8d+BTmOySZR11J27kPyQoI8jlve+8Mb7mu15R7TCGZR6Q562SP56F8e52Z2k8Ywr6CMI6efmWPMkt/S5iC+tGFUrkxfCuoTqDOOVXxzyUYnnugG3dYHTlDGoOSopAnA18mXXAgZ3bc6YnfRl4z2WrcHEc7jdjNpeR47GK6aW+Ej6cauBSe2otH1jt3a1Z2EkY3XNKVeu/3eFYxuSKbboxpOLkt3foCC8Q0UR3ifboOsqOio7hK8iZF4bYjWyizjinBU8EJCe3Guteq5Fls0LHwPf/Uh5yOwa3+9PCBQtniB7erq18kpxwU6azm3D8Fz2tL4K+8IF5muRvsKov7kqfnyzq5OyDKREJrmJVDxXNSg7eFkTrb1SKTt9CrsHUTyOyPeGbJOqXJdhUHCN/tHxPhJxmZVMB9pVoNsy0vg9Qklye6KI24c0rGJ/1zmdlTKfiLWVV6WPwfBlUIImUxop3q+JTBebhbyGudkqpGYxuzX2PWdZEpnQi/ZUqe6L7madxQkDI5xag14KXeUcg7qiI1EDc8EBe0LPbcvw/8zm9zhWbbefc0HST+/HkYPzyyZ/OlHv6yE3fztFCuEzE0AQb7d4kiC+MR2ZAgJKsy39ZqO/qyX6K4HsrwOOy4HouG3fkl6VYSf6I7Z7ryDfAMHhhGmcTKt6TF4H5qq8IyAjbar8+ZNhDgGdoB4r61EwH/xMmbwpqjz1Xa8w+tfY6RHEuryQTP9LEazg1v9i1jd+6tu27xTqvdPtLmXyAJy7Q97ViWXbdFuTRxPdl0XEbspJ7AkNYtTz0+3mGRlZxuqhrV26m3ns4sVK1phl/RhcfOOVpy37STUDOK1/sq2T8sYo/NEuIc0yR4uV6My6Kpj2AJiMYJ+eFAZ+wbk3k+bd8jzZ74oUbUGqcOWP6iMwIDYF11nke2b4qlSHqtcXqgN2lFrYcItO92+4c+8fAoR2cE2VGahta7kECAa5mBfnBwcOd4SHZROEBmRb0DrXOR6mNG4etO8tqR80+um9BOq2hkTqyHfMGU5uRiBhCoLmzJmfIF8gD0+Vc7GpKSgsqip7hZHASkwjGZdfZzxGu6Y1Z+jbEucFNgukAzB9Bf6szYqUnojEpt7a+5D0rH782sQVdm16HJTHcSOO6usDYELycrKX5CrnJwWTzqucx0BRG09ciLtfmaZ01nyoZg914BxO/hQeJ0EqnCLY20X52/bLGy1uJLq/37ZAATwh+54PHN5e1SBR1ZPH7xxNVQ3BHyquR0w6hE9Y4DocRzUMtj0Cy1i/yt8n13hROGWEOHIS6yDPw+ztjPFlUtnfj2SK6+NvEax/JCHPN0Erc4cnsEr+Q7b1NU1E9Ps9e9IyxW0Ug2+gdnlxBJ/EqUpPMVtvHHoFgjq44sDErMktgac+bec9KK1AapVpa0mSR+LGviKXVkE0gSYgg5QwfqMs2iZm4pbPQelhFXqOxvqknuqlw7EGtX63b8BtC6MayEPObnCkA+DJz3qorUW3pZx0zmLfmfh9KTDMbZfvs+KVKp8My4eIkPMetL6ZAW/x6fM5iiDGLqKIZiHyMKvCkVLh7NkuZFAbi2aEvRsHUDghp0+nN/KrjTlkDcObI+x8Nmx6Um5p964wvwY2B3VVtAaU0yl95F3CP/J7yh2QKuvSZ+VDU81kGCjqOxlfKD0Yx5SSYEtU48JZByppbTKCvLigRmVS4lrBGJwlr5m2luyDV5twZ0gUKEbtDfjiOmtgx24R9+PrOZt168x0juXc1Hjq/L2i/zym1XvHLrbTmg3HqR91EoMnIcEBRtMNA4BYIxMktVkcUR6T8RWVosgcPjDq/XVOthTFL7ahYXEPflRLY8V4O3mFfEPKaE0BoLa6Hrft3EuXjVEArjounTqu3pQy+SOAPYB4LA1+ueTmaBsqby6/R9kZGW5pgIOVRNwWwSOB7oPV4D+A9K/uvT+DOS4bG0PEkZc1d3PbiNdc7/Fl1zdfkC/sz4pZqqkbdrZwi9TbPJ42T6fdyC1IvVR5YcUgpLc4SeoDYxns8OJMjNcuVfbT4Hx0D9u5N37yowKnxVx5XvYuvtSc6pjV6vU5jjVbkcOQAVE/oWyP3AXc2+DttitJjExkVFNZx6pv1rluLUPFzq/Ofm+jZwqfmFr2DDiZAz9VdgxoecNOHwXRhY21yhAcFRVRMdl/dMZ+sC0zEVI+/Ll3W68UGY8gFcYZGP1WN/ZJWKT20s1tPJYHQRIhmXiMam5q3z1omzZHMDRqGr3n6qn2RFmnqHSMrY8FHGFaqJoFfkvIiCikYkBfSVJNXFWU6yaxW4buhZRqWSoAzFQpAy5Demuf1+gDL/Ts5xyJq7VFWeHKHtN7VgMidtrMvIlcpWbHKnvhmP4OZHgP4SNVVRAdX7uZeANaz0ewmvEte33CZeU5mrUfdB/5Q221q3U2OOINifRZ7Xw3ffMD81LjBHfstj5sWdxwA3JuMW5bxCV4E1LQN/AuSufZjPTV5YW5NLmZskPjBR8lpkw84d+vMhgLmId/Az+oZe6sG6RgabYOq59UiQSDjGBiQI8VaN2smsmtEH14g0qCscN/YbjwOIl7LhIpBJLoINML6tMPj/W03xtT2th4enTT5dMq1qDooImE5UykJZHmFBe4uUTow0xR4KZJ797DLuOrOaBcbFx2hdiHKA7BcJHWK2gMAz8DHASPk/A9nIxlPWLa/GsTpXJ6DcHsmXMPbvGfqpYu57/RWc6sPCUi/ET27Z8XVWe0/D6a0J3chqdaJmBr05/YaMagiSoU6Lik8XufN5WgbpmK2zd+UAk7MDIAytcDA9gPZPI90pl9DLJZnAlNNvAsSxD3b2MkRC3Oun9gk5qs2cR0cMaMzA02/8OcxCDfxF4E9tl9rV2wF+reoSMGwDz8fe8G6dEOd/e7vfHUZD247NvXA+BMjeICg06l8gMX1F1dt6KWFCrf0MbAzrlmViaenVTw4/GfHlBQGI28xh2ohdXJ70FM/g7SJN94j6Y2R6EvuEeQ4aVT7sG001M0xDbjIb50px2eXgw08ZvN023v8mKUIEgF7YuVfjZjPsPpMPHS0B1C9Kebs/W+s7MfI4/J8wMquL0T/hX/RQWC4tNS1ATvQn+UbJeHxg5qZIzjfAqHZWF/UwqDQS1AOpq1XeUuj+9XVxHCSPXVnzAqa52dfXm3W1KQbzmN1AD/bpFhJEruAY/7R4r0CrmhgQNAhfMPRtpRRzTwG3A/12BY04HED7TrUKaOjUz/d8GoAiCnCG3CkvwC3Lw230Tk9hpWFl8/Ps6xTmVWB3l6DihiBLyhLJuAS3/J2mDt6LQAeOrAGytnT1yrHFC2O/laesupmMyzYEnxCGDH72UtF1zp4JXk8d7OmXSIFlRjl4H9CDnKc844Bxw7akVfzmkiGIY7gZAT8jnZYU5uEFdmCXNPRVmOz25ZpisQw3KskmqnSlbW5YXJNAKqBafPyqq//0WDxnq3mdiJQ3LMGh27Teh2FOnNKjcI4voDneXSNkdMBKQkNz2G9u0JRDBH2EImiuJev4CVyMWqoqtl/EMd8Ffyvuh0q8Ev352eSdPqdMdY+AskTfLOTHn+pFfiSM3aPbHw0wT4FdeN/C1ehgPASSe8FGdtAemnrxVCJ6UZE9Ue5JM9JNfZEAgjzYWBqx+Jhjw8wDUpywLzkvL3um+R44G2575Wial6xOkDGBtRwg21hlq7+t7lM4b+GWgGvhEM3ybNBS1f33xMNHrKvVXKr3Qp+aIOZWnBnEln7z1iUrZStiZ8aljFodcGTXPFK4BrtIgZpnumLKEtSW+AH1xdDdr51yjGNCdQjGcPF9vUnlrY8eJ5Z0lC5jZDJuJSbZJn3WopgplUXT/fbYTCnQY3lgQR1nKp5oxirYYEBXM7GGLuoyAYDcctUqmyFkGXhi3vdsfI4cD/3W5zOsqTjsWrgKiEB1mkUmIbOXwOi065XeGlo3nro4g6xAqv560hHZvY0GebdFIVlW7YJ26i1z4+Hr36QGtXVQqb7qMcWl+18EOacyCCmi8ZkAnMlGLHTa3+czcCeGIVeoEBsRc9oRxKPj2G+d/myXDRgY+80EyCuI+Wl8L9Vp5eAyJuh4iLp/IfBopqVn4hJp9Zxvt5y25Lb/gqvB+zAAsUfHYS7q7vRsg3MV6wbKw/eNGU6OT+PfwPbV/rSYU/wcKkpTUw6kX4mSBFxyEkIntlxrv0BqNsE7XjSaJXWqD7yi4U/uWTkpyny4FzCR76GoK4K1iKahIIm/QTCesVM/5DnBYGTAa1Fokh0DDSySgADjWk4x5pjd0kfASQowe0KZNNKr7XI31BeHvgaM7SHckEHXlY0fWqvgILg87cSPuG99IrA7zkdCVhBMxE+H1Vo7y/2Iv2a5WmhrbGhjg9h2ki0k2eyiug4qLFApAntCCXro+1YsQn917V60ZLjogepYzMIFIzn8GGD5QWyHtW1qwgomLD60UrNxjl9MV9tiv6DuuTAMHsAhR4H0Hy37bdGjewYcn5aZinzszt7xaqWp8JsTM0WNJylO6ZIfPBP7P7UUsMWDkREj0rWfM8uDRdhdWjq+MzhdfiXX4+mCCy8j/LokZ08WXEq4eZxc3H0EWEjpF9ffro1YTVU7pt9J+n4Sg0gRpZupFVFAdun5UP9gvza5AHU23MoHTKaV5q/B41kQvFx+MrzaI2Z9tzgXj8pE+ueBw7PcRMw7W4Y4wlf6FrqrPRbw8WZoXueXx+CJU0PBPVeiMch45Uk5AaQrJiOpVQx02guleaGwPDCg4TkRYb0i6S+eB/Ee8O10NmNMG+6BASSQL4snyg487Xi//mHGAX623dm0W37dMhOSGo8gR+XWDIn5xNz2RYZWQ2GdwO+YF9y1Xstm5b2oJdtWOAzQ3hsibr9BODNDDe7mI/lnJFsogWqeBv7UFl+BmwsILICMiLj9CqGPqBP+0FtOwDf4CSV2pfZXt92Ls9rV+lpzbCp+w18gdrT9h0ywbTFck1UhBoycHnO0hAoe8virrpDVUEIj0me11PNsbfJAagb8LW6ZsZQHACeP1F+mBcQQ3wz/5TiRfjBbzfFCh65VVdKXuZYjoYoNPEkCjYk61SSvZqxwHLINApcgOyi7ckju2tmRPLkxHT0jNIAgDd2l4ugGip58XRdvugnD5Pr0xbV8rcP5yHLOyFiEDaCcFFn1BLFHQMqRiTAfaecZblhEwJQa6H8qW98tDY3yIt9ngN3VsfV13m0+WJw8K1SiDFP0dkPsA8iktGrmNShC5iK7UILrCgwor02E9Hl2uWUo57QT5IWMB+cgAKgS6FTDwGT3pwwpSBfLVmWSx06utHCycbWLXmv0dSD72/weVQYveknTN7Fi8F7OaG7twcicC24JfjQJ4FRfCsULDKO+RNKjVYMMPLzSh9PAXpC1rPhKUl9vbB66XU4C6lTLatYVOLbk0y41NastYyVVv3z2u6ycypK8SY7+UOVFEy35NA2vYUDIEWTaUcaNB89+l5jz9zxVdffrrsjN2BzPhV2MTEo7gIpYgbS79h1amU2daTqN9DUeYZUACJFrQzFV9/M71SWFceFyvZychkxY3+rZ1UJxEb4ePtnQjWpwMSsfOzI8dcZhOXdwjRVDcg7xA7ZO3b+OXBR6HHd0WiFiWychzKa3B4/DG0Ojg6YO0PKz2O5+1n9Tfj428gmcQ+5LbNCDu+jh1x22+H6A4MqfHb+tsqLy6YvOSVThLlm8fMaGI6xzqmvRnUHB3TlUNjMUSyXVbtuA4Doin/NjdcxeJepSXPj/QSrioIV4FRkvGtBiRsYkni3s1gHQJ69l4SaVqpSEoccQ7qiCxzOq3K1lo4xlgOz+aRBeqSwGJW3S1tJ06NzswpPaASmvoE7fFCsVImv8+H9U+clEhFoJVsh6mUALnoY8oVOpTS+ssRh7DZH6H1sGu4ONMxZ4tY/7Tapuc0FWLCTPJ7zkHDbaxNL/CdMj9CgwxgZEYc7HAb84aMdnXkD9l72uvbdPSm7mlY+6LIgj89cKatCsViVwHaE7a/z+iRIRRSvWFGzW724Wr0yjlsHHqRr7VLBNdEFU/3FfdaCmV6aPKrPrlY+nEYm0IIBeBfIwnE3OjlqbcU2VMeqS6r+yh/bpHlzZj+Q6cG1/lF2VL3dtkRJd9JP0THdBxJ69irkAtc5vEPyBlXgZ0GPsBCPzC9toa+SmMsHGgVd9MzQ3/wexXt6AK+JciphuLJ4KyG4wPs+YOT/cSkSRmOsBrAFJvmPzkzL3GYRo4yWYqExakkRxtvuA9NiOahWUDoh45a7g8Y7BOEdeHxSyF5o/0xX5fVO2ymKnq2ShLYM+pBNpqHFJWqvBWYETLv11ULdqGObKBEI6uhdhC5N37RS7Dk0ayYTXsvLOL8qwNMHhCs+9AeYdy3IkeAnqU6P9Z/540NKrNx4Af6RlrhKsT5iH78eCdaekrvaOeAqi5s79naVS8nGgXqk4oRk5Hn1p9YDtIMdopdlBal5TUqLWQZ4G0Jv6nQsU+WGV4kB/EzgW8ElVJa0SmJv0+s5hBJnyvJRq5+kawcEDf23LSpxQMKmiP6HTbHVWbOVVvydV02ZpxH97GhnGCtrbJDK/XSXQsOV3AtQl0Xq3KpKjbQtaKRBDuH/L9CkW8GxhjusZO3a5dVSujjKDvOuFSZTFuSag9IiUZe5GkS7QXI94Wi+R4aOSHtySQG5S9PbhhnmXR814lY4kEMaebU8IbpUA4C87ip6kk8KxLqsCPlI5DX8HIBXHIgQ0Jia4/9K++c0myieIZauYe9gaUSiKaigWaP0H4lfsZECYlFrYhDj3sf5yFavGmkAfwTurGZnwIDQ8Vcq31HLmPRpknmqtFsnaPae3uo3BKntNQlMIrxJ1mN0v04oK4Pt1hdNYDnKU1Lpzsamta0xkSftiQlXBq3W5U4sMLASmB/q0oG3DP8jzw6Ahe96ckMqH/yfecLFprh1yy4XvWWsZpuZTmLSQ1to8Vx9eAF/bGzRd8wkvkboDM4hUeH2Ws1OdsCFq8sAo8HuHKjbdRUgh5BArKDFrbXxtiHVrDnSfQWpijOb1qdIv8y2JJOL7cBbarvWIQZlDPO+W8BCAPuC+QwFPK92aU5gs8Ud4BHR2xRfHh84LNb/Rncrl3nc6/2X3Wjb2ekHfQMKvvHoMzaRupMOxwCJom2nYgUJOUf9cfzwDM4//xtRmV2gc0pGXXHR3iXHlR0jvd4uwYADE+esjI/cfDewzCBWmCEF4j6+fQ+CcR6EOnjYNDtC1SyRKZMRWVKLHWM+Bkj5L3MOSA8XIOnaEXzSyjD7Us7GzSFOWG33Uz6hUqvSNFw2aeVfMepeYnxpVI2PcmyyX/ppjMlk9IIxZ4viOn7FlVvPqKHKpEhXGFy7LXHNOF560eD8C5OBGVCB2HAFG5geflv+J2fDbP+q5CF6XuMFZyKG8JuCWMIPLVVCxz3XaNd7wL+3D8UGPpYe/piyF9qMjEQwzX35rNz6JC50ePgLL98nroQudXD/QgsHr8N/hl9Xd2kO+GThlKo4jMeslHowIoMw8EXP1ccJpCSPDr7qHFGxDpjB0mEnOSVXOSRRnH3ONH2KWIj8KTMuhVa150yM6C4Yn/Tx8MW1y17nAVN9ToGQl+v2zmkHVOE6NSHJUuTkqOQNTaVlrV3DC9sNRkeP0Vbh7jYPM6QEdAPQDAn8r1xKnUzDcCg0BegNl6RsGfopOlLptCDbByZCSqfQOydu5IB2MyWCzoVAgS1bmmFAzNXRwSqRDcO5wkS8+Z5dcl9RTtg5lCX0h6iZ/2Adpzv8bT4UeubMTHk4YRHfVu521kSTjGAE5uj2uALx60+13+ph2uvozmuXk0K0lYzaGJHtiCUyrU7aY7CRS7BPiDjGIE/B3cBhr7FvLlqcPoan4LqiThSRxPUN8JO01HjvfMfUkWKfBf248x+H2vNEG1Z8/mhcgTnyHRON4D9dRNWk+uVlAMw5p+KSQPNN7o4f4/MKqIXKkhwb/dRuQNBxJGXQNXzvwLouLSz5W0/JxOKyoQfdzQbwvE6eton191iKZy1riLbJPxADXGF+mYMzJcHgTe7tFXWmKqdKizQ1RwceZWuGUaJhGJwVtZwktpfjRtHjwzT9VEsOfhDxYqOSYaJ6U8W1P0wQvysehIse6gHcwVIq3YsUWga0xKsnRpdgjd6lEFZkBa9ib3lH7X0Td57wak+3BlcRox64h/KYROUIonyCw7/NkI7i6zYERBBjYfDDiuEGUxNofz3tyTN78SezjNspM/cM+FYoHQTW6r1OePEf+sdR6P0NaC0uFgILCnY2ghZuXGve+vyhgIGD6+LHyIGoshJOi8csU4dxnV3MHKzQK6jvKJiquDGeeax7JYr+yhFPVOzKjApZR4+NAe0a1bWS6G6Gv/yux/2uG3AShCmqoJp9PXLHTE/Nriq6icHHviSsccfAfKqnl4aelVUbu4buZmqR2qEojz9pbONt44gVXM8gJPskylAMwtdjdyVVU70rnwbGKQUDWkxijDnrz8aGjo79KpVEu7v8TXIDvv94OL6t8TtKIVgmwzxD6ke2wiXDWbIY91quLFmeJY9JTIVS1k85V7gItMektHMffrhUnsRoQtXIwDFWDw0ajswKb0utYdzBOTd3eUB2MT4rO91uZvPdR6G2AVHpHOuoEZ1LCn7HgGsXUhvz628sjtpjOJChdzEhNUt0FaUewe88VQm7N9Eer5O9SwPicq64us7GR4pkPDstTF0AFUPOdQLJ/83qaGPKKgK0ljfjQoVt01cN1X2ibM/iegAfSwO/nECVhSDoqrf8cmejGbm5SWF3h/4moBSxT6r/eFsGPhOHZ4y+bi6tyiDmZzy29++zTvszg8A7SpaYaiYJJnjprI4FoKXeEVSfcxzSsm8k3vaZ2d2BLHpUAGAlwb4OdlyFudTG7FugLKL9gZJinU+FIw2Kna9K3jXkjF5adVxaK+Z6Oyl+swdC1ofZT4WlsZfRxxf2iYHi/ElpB6GVwbBjZrEmNM5M+aEpp1iQdVW5uUSmk5mBy9/ELDiYF/fGgpKWxPxOXAPWQ8+PHicGM8RJVqReaSnKNwDfdwRSYOeWl8ZZlBXer1Qa7/qF01bBAIVuhqVA4Q+D45/7Y8EsB2KqvUAjqsaJqo4gDBfw/J/rMQ6x+v2TSzKyz0pHYyaT7vDmT/aqbN0KbYul+c+89gOv2/Fu9V/LAWCDWNzVcn2Zo0Nc3zgQ4pr/g1pK1TApCFN3jXkToSWV+c/nOvTcmzGRyIYQeBWJME1BzfP5CnBlHegK97Mn0PZtQrAvTS+04gF0TNvttvRXxD2wrPYGGqmamvrBkgqoAylmU+lNH65H7RZPEopvpsy1q80D0j9pevGbjwHyp+/yBtWEsRTCbrpb+pICmApk7tnIR2WH29Q7jjwI1C7W3/nxrYJWikK/oG2dUfAfdk2svTwYdJ2Ux3Fxe89eLi4bwKoI3SsfOASWL9lBpt9/lk/lJdQNeupSACY2rU78s1/lP5B3xDw0ZJLoY3ERBcPdOjw0ElKs7HLUPizpRq2UIkrCT9QBqgpstpVhaU+v+inKJIorTNIpI1bRSpuRneE9RnZUMIVLTN/QL9y2Wj2VwpwFrr8NeRo3TyWC+nyx+40rblf0H4BKECHRD+TExYZMe7Pk6uh4RORtJ++mwQ4SiHFR2jXr7aJQjCKDZ/RntfKO/dnT8pGqNNwuJIcjkH2J5gbAHglQ2y1Tsj+uw9y/WScvymxgc2fs9IN/es5qFuJY+8esGVY5gmIvYLAyvRzoBPNPAwcH28oGlvsjeKV4lm5dB43O/Ax88iC7svJizeYCQ0le+78ZKsrrkDHc0EgcI6pOEzmz28PB0xHw3/a/7ioZ+ZcQi7iPfqWslfGPIWZLqMwf75zLXJQehFUsFdfW23TsPJ/LwKkfS8vLnQhCBphFo0yCYCMr/v0xkbgPE7i7rYZ0TICq9R2myeqW+P62F4tVBMxB7DbnkxpRfyJi0Ve/R5t2YzoXpG4M4lzQKBEYWIeD02GZNbc+IV8PZlFxtZI1ey20tfTLZH3vjahYoomGvwHRqVckdVa/OhUiBX9/ihSVVhxBCIf+1danBy7VW1gsZMv0tjDkQt60DFjGuA67qa+sxxpfvTjWHM6AMLrQVCizLVZioZXAe+ApgccbGfXxaBCC3R7olrKdnxr9/bfSxNqPDWGlDxMmWYDNoncnehXT6IpUvdRd9xoXAotWfuqptEICv0M7p6G7jHLvQSpyA8Ezs6JKsN4/sTzLLPBUVmz4NMHxZYdSRYwOmJIHT0BlE6c/CRLo90N6sXYb/2ERUui5kDOSkKuOV98oV8m3XmwfeUuDeX6hL5+x9nkd2yNGLdbRO8TcTpTTrNd/Q+Jwa8ZtvGF/b0bhUC830hHixV/BYMmLMEMk0w/Ih/7nYlz5aCq341bG6hhl1UxfX7e/25kObaFf7ZSxkOJD6S0iwuqKtYYGVKmfUeoVR2LgsDR4ViNOlu2sfZ4hWxyaFtmJln5t+aWRaeR+uP85v2PQ4aNd0q6pFmkPqFLYzsPtlGziM+g111qbEcWFESyU/4NKHEaMRuieIXyTOy9bP9P781mG3hTNfoVORTox8gHAWbq6C5xr7+v7RrOmoaBTGsnqKoiXR46esaLQZu2uGcWaSE0MX+aRg3deENCfWc1NExp1eTafb0VkO/knshmVaxvGTgz5WvSfHb33ftCxhq5dejvgvvw3+jP9jI6gIyo532fOX+g8FRcc9eAnk7CIh0IAiarVBh6IM1srxe88tqknghKN4aW5cvsh1HpEvTFj3R6Q4S+uQPbf+E2Bl+tdi3GwaceAwD5Npu1aSNXwxgPY438hOa9d3codzI9O67Bz+SbVDRSSbQLVw0geASFpApEY6930mfPPiOLlF1HogZUrAJpZm08uiULm2vquCrnHyv9UcjRnoHwrXFWYMBGstfhUEvZHgNDwizL3AmRtMSox0iJF/s6x90fFmc9hLodnfIS4Jw88Fb/zh/7qZth1TyXhRlcvsqenNjG9+qoN+YlJv8BRXpraKA7vjIzLUaI0ajED/NlHgWbR2SSBf5Qc16BBLlYrNKX4mAkRadYpXeJEGdCuP2a7AsSqvOL9DYwu4hsiDf3DYJdF6p9omLPseQi0YFKLh6sw3WCnQ+BeEClQqfBaQsP1EqnxzcsPoGnc9ArQq6S90jjg6PPfpNd8v3PvKqTn1ElwWl99hr1seOYPFdusTzFXLIDtHNJmvHNPWKd8bQ8UTmDc5y+Q+SHK3+lTivvmaeXW1A/nonnGOjYU32ztRtBjE17eHQzygFDwKdqBVS/Ru0TcyLX7BpDNBiBTH/ytqy4Vc2JtbFqzWrdCnTO2IRQqB3/ZxP5s6OEe1WBnjVLAbePK1hrTo67fn/wIlLg9rpjbNmAe1CpjzXsSS357RBxyQy9d/keygzWZmCZrR9zeNF5IDruJ/SkG4Rzv4Scu3FYfaV7aiklJm2sDjCCSxVVdgnKDxYllXdfrpeQ4bT2/94amTjvUCbRYrAkjRSrGkjPprSFeNqjV6GPOA+4HpQaKGc1aYJYZEqR8RDlxVzsZ5IGwWrSg8gXmPAIz409suNjtgSarfq9OC0ohoqEqENtEIHp8Ln/ggQTKtLeVTvZF0cBJAbA9VWKmJol02oJNElcaYRmRuLnaiK20yr1SMF5j/kcknxxHMSauFvfIIUox9feQ47MDp4RcjteseELKcaBD0YTXPmbRtLcuHH7dgK8i33BphVPmp8lVjQg32a24FHV8yCXmrP+ZwREAXEEfEMtrx1++jDQ1XB5enfP0J7Po1cwIGs6ykb0fqFig3obtUSFWSn5Ng3LRU4VeiJaXUqSXE2l1lotx0GGqxq6y4syJBzO7EY7em+vzBBsyrc2mmX5p/2vCu9f7H7vysGceX/lPpO6ndLtcTOud6AQSh9f2kfUgmrohhbrpRxZetS7h8Y0EWoEGpsE7Rf3VIDiTNrRAH35TL7TeG3IHTfMH9LivRiQBILa6cFXT4IYVdmCNHx2CYMwqYeqjmU3Tnt0qipmynery2ltMxPg7jwq3kgigp32in7zZz7GaX7TuRirc4vTDc+daZ4eGDe1wfQkEBf0p0LfpTwK5Wo7LUVaa0tOs82ExuyZIodj+HwFj6lprng0HuwlQSWLSiZtK92bk6C5sNFVxNsNaDXCyzHQiAUq7UB8yufSs+EvC3JjQuVpLcP51DwsorcUa0WPg8zwYV7oOPADMY0bOAfGWhfFkdEZ8LhkvQv6fv1pDr9PWAg5xhFXUgY8m7aM12KRNaG3DTyygVdcFAO2ATtqoZpq79uKO53XldIMZpsre76Hr2ZUNmLPRTR6Ldws667QoE8jfS7s8ie57MBrhBwxZV8pbBWxBYSXYvi5p9s41H9L866WqLGhLzf5kX+Rq/eK2kx3yyncb0TtJc7ojzc5mxdy2hrdu4NMZCrOTOONzCT3XMOfQE3n1T7NdMp2PJOhAHn05mDA2RuxgtZU5nOEuCzyb0FrMUiqTukarkyapMJPPVI/cuvkE2Tspra7VDfCWgD0Aq+S2nCpKbIdvpJzsXMi8ZD0fsusI2mlQ0/71nd2krg8wG2ISiaPJKD2wrY7hh1GSbgnFnGiIYy9oTACqrHugBESHRhxjGeqYjv11UU3T9i1XxBaRQb8Kzms1xGTz4oBNIs4gq6r6CXyppG45/ugGHe6RcGddYlgQ1HRwAyiWQyAJNVFZcVHOd1yw2eJZa0qoiI+ES7NLrrBMeUq6lrr6mtKI+WH/11ZkZYZUzZmmZfZI2PYXz3mXLdMQDchrpKW41qffsy8KEwD2gWo1AVnbKKRUqH3WootX1lMVsVZ15kA521EamzsdffjiekGMcGWb7TZQd8eJkPQMW3YV9q9bPTeY1n4I4wHXccOu3Zb7kkmNMDh4a5gNrJ0BC3J4/aHU0kdpJ64ER8qxX//sNMpybvd2p9R9C8jfxArTPPB8WVNOpy4MsaRksvG5iZjK3YZFAE9LRoSWA0eGOWmvoIejBP+5pU3hYtP1C34QIkA4ZrUkwzsqi6ScKMzv7iwmE4Tb2I7hMhLhJFLSClNAiLpBw44KWtThKlZCSAInpSXKpkcwu9IuUqetFlElrtqmXGJNmx1tkNHysxKHCJygLb1SNllVAb2qgkXjIQpaWRhH9JB1ZLViopPVjq1VmzzTMgSR+i1tuxdZJ9VnbhxVMiUIdBi8pZiIee9rKmBnbmlI8lc962s2iGsyZ7mhCwVi1JZ2dZ5vM5T+fBEnsQVJ2B/yMkqxBB2irOQ8OM/ZnwoOhztPSK4iCb2b7g8a7TkhN3wwltHX6YYrEv60JyT57HDh8NTyWdikxguNfdgFFSNAVaLcqq8uojVDzR03kaLgevzpdtqDNmOLcPT1zg2Cu+MBY419Cg78szLrLM+sncr4LNiciPsom/OGrUn0iDCWHi+86dPgj0v1wCCuku81K8S5td49EPZV5PCEXdF0HVsP+bO/IF9r2m0iGCm9j8sdm7mF0m4/QjR6kvMJ4K6Ab4OVO7VdYUllQp4MevVPGLBtRNuwGPHLzrWddS5OBOu9Xi6M4K3rpAxKPxbF25q0HY7oqECg8bMFF8Zdwxas4gMeWqQfcguCbTteSs/Lbw1C56pcASg60uW4fqHxULaABWKX47F9hlZydbGfsHckfGCqKVRpzCiuvfdyI9fhUS4Ds4ee4vS4Xzl+pJe1cypiPSqWT6aKAv1g5wyCuV1WtrRH2cD2GzFNKZcInJ+oEHs/6hXr9HlqwLf9IFX5MgE/drgfhdTJQMEq5hXFW+dIzdzB4kNpWRMV07zL4UnYS41Yb06w4bXYvP68ItSiLCM31O+u8jRy2+y7lNLRgFvUDfItndJgaRqJpPVETDpVubnzQTspxkEsR+U10VCKRnis2WQUYQRi5JJs2gTPB47HvNyZU9MvlYtEYK+NTNRpv/TSsT46Ea3mxojLqP78UdY+EOurh3TK0v97nStA/MCurliJkfxKF8uyImvBQOr3k2Gs6w4QnSjMxubDFbWBITRuSqNzWYsVU5z8e4U4Q9vPgzEtW+c5ZonzrC8nNRxfhUJVnNw+CDvZWE25IW4nbKA8KLV/8GFYe+gdZTigpjYIAN+5k18+ZkuvfyHcQyzLECW1zuM599zyZk0R3nXCnVBf65o2f4faBMwVpWEjbJ0yzG3Soyf5iIAaz/l0I4vf7Nvjye6Cqy54SxDfTdVMlGajB4lgrcGZCeC6v6tx9TT8MDc3KfvxEOIxLf/qdqg4Q15vHgEvHVtRsFVE4v45ASKsWhDL/K4ZYdHbatRF+QRXLIZFQIGfdpOihSgr9RFhSzEaFsc8Q4YXP0e9ozsIEPRT1ypFEAsErxSJPNAf/5UbHjCFdLgR1bNBCQYtV9zGvfD3CoEMo+3CVeZ4BqvX4PoLK7smGSeIPpnCVqz23ycMn+8de6aaB4afxOVYOYRDrkvbJPK5FiQwIoZRWatvibctUpGTVjyQnyZjqmyCoSZaxaOtLRhX6lI43XF61Je0UWsatHeqdXNqD5TPS7r3+vk0B8I07gyNF8afcbTsrZ3Nk34FWHBm+towuL5aCwWnTAbaoQim9YURcciQkzPMK5b8xZvP+gVLxeKtl/suG59XNOwNwKdevphKgfVAUNo6vds/BWwzwY4Cd+a2mSDCFAxeNjL2ngvQuKg2L5Zq7w5m4iya+GT7yy3JsWFvNoT/ei0GooH92ArAnxu4OluJSZgqsxRQWNGL+VIqMDeldxIHcUn9dgUqkW+U+G8C1im+in/szzZW1++EXugrq+3Ow52KjNbMWX+yDu2yx9oa6VgSzOqb3yyExlQALJan5TQy8h8ShGMNPopuZDQKF8lwIURGVh00aU/3saS0Ugn3gKVlzu3CUoOZvIfTK2/eX9lqMyzE1eQI6ZhOT7zAuI90YtaHOW3XWZkxm2j8sTT3iFIfBtD0oeR0S5/NEnjAlU+qSen1cMIWhUHkRPoh36F6IXpJJvAtYwBI876eq+C/kegkWZYrar64E2fqvAPEIKx3LvmBiLQrx1VL0BlDcXXbaGzRiV85JALb5qdfcMxjceZ+zNUD7q9WX7JL9Vf/2yn/1zG7IuF5plALebsvKq2SpP7l4axZyLu4oCQdqyNZXQ86jQKxgZp+jBA+SeeuYLWUY+X1NYS1RHHcH2zXE+89e+9poyXHX2LUBvz93oHclqNVuaEKGpGMvVkDpu/JiTrxjV10FNbEXcKzGux0/Jhpd5e8M226wO0S2/Ryhl0spc1RhVHqtfYqZLs1gwNKQamLXRHKUNBGVslV1iq6tSU1mkXWzx3WoUK5pZP02ip67JqiJrHrhF79HT1vdJSXABWCCFYBoH5tya40fNpNjkS53mB4w6drYBhXzSuzVgu8y1cQ/Xt/S+0WHcTLk9Zka0QC2pyhF8nZAW9am6/P/v62dsTUhiVPvD7cxBnPPXsL+5gN/uvBtfaqzmFz1nVU6I4bKeMzqpMfCrlULWbQryhEOPj+w2JTwztPyx2h0jw6Fw3/AUDUKhs9aTv4aHzPHP/UBm1lCuwyFSgvX9tt1c30qSlG+IxRwMP6simlXLbd2E3sWWPQLCnYEmiFm4oyFzQEOLWxLZ5IHJpySi9oCVm8ndKnTv9NpeZW8rtEwS1JtGmkjBJLZWpCQXTH9jDEYSbGJ6HikZ8QChjuGfh+/RSycTAyTtjueCt9pxJlMidcnDKkKrxBKtE/4yTSAngPpfWVbScTkuPvKx7cVS0glxejZb3h2ikS1CrsSdN7mdcz9tzsJWv/WwzVVVzOdhJ3mJvEOylZgBoDLEaEn+ZFGMd0rmBrGkTFniCYcDIaOn6KjqfyApBcxrEPTMjSuHUXcHejoe1Pz1Vzi2F/er8dAVvp/OYnMyCY+CNn8B5/oLADWgC+mOdIdV5ApTSx9VrcNDQ9jpTuqUdop3GdW3NLg42LF9B+83Ba3c0SnBjpBzp3GqikG4Ri5fiR90QrSb9wUaGAD25GUNbq4S76UIsfvxyWZ+86HA4NX0eH4OH7bFUGc1Pd4HV38jMELvsI72cywmpjn/IU71clYLNO1qS+p/bMZfsFEcCW4CxGHZRSjx+hhDs4qqSYai9CKaRp5wFlH5jcf0mk0E8Kl03pETEp+nwe9ygGeNo9mhc8rwwoEaVD3I7Bkc7oVqYdr9mkWogph8Iyr+1TQEsrOWfytSNY2FOz1Iy5cXdY+YmHDs0CGGNXr5fUcfM9FTsCbSdU7WGnJt5gB6fg076Mdr/ahw+hF9jBLpf/8wQtaQpBMlBHWb6Dy5P3NsXGWaFBIOF1IlQyqIqb/qVUYJtVp0qJzHkO211u+cjHgoV6ebLtrG8tQmRmHenz0VgIUj+qWhkXQP4mhF39lhtxwJYuUx0GYwq2id9KfFFtV9CXAkzJtrcTHIeIz0DP9q5b07XAtjzY37DFww0OhMpejnSu85J0YEMZCrdOEUSCP+YNsAiiQKTskgjcNj1I5YgY0DmO0ksFNYSzExwumywC3u5AmeyiYnGrtrr6OjJQtoxVRI+QnmA9WoYJpm5t0sM06cGILyAI4VUMIWQPb9oJE8KmIX6f7ksrK5pAQxuPhFN2I8xSRdHvYA3YL/Ow/70FM7vE1CCjJR2EsIoLvozOlOBphdj/m+qSFZWgubKLB4kNG0kbLhyQF7wnqANCJNDi758uhA/szEdmpszUJTbGEk/D43JMQrEaO3y2HfqFM0DkjYRpM1uWwVxYSk/DHsmS8XVFR4qXYGlZuCClcanrudoxgb/mU68wj7cAoZks+adiNav1CEv3BP9cpgNlXSgaR3y24lLN6EDBCrNg2TajHdMibXBdhJwimFgir5HV/5WVy9j8wPf6flVcleOppuisIYGBpmsJJ839z53rSkTfFp1pBt16QHGRtL78Tb3xJ6jFbNNz17zOn26nAR9uchee36JCg/ML5Twl/tnp/AXcqLQChnfZo6t5I4PfGhi3VC6jldZyXgD9mthfz7p37HI7Eu+TCUzG9J9ojQB2YsEIrf74RbOr35KKiyU0m0TEPPcxShR1R9TXILBTQHJJzhv/FArmNQsRnjbuqsx6w3KTny+YJ0G+WRWAVvyV4CynQZsCaWyc1ACjFG5e2qC2fhD5FtZCgbJANjtBtcFoNamJRjO9L3C9eVncKjbmJXvB+i6DNehWFEY/OeQTJWkBOt3x+IiR8Bh0MrCo4lIz9Zh3dPgiUFwwqZlDpviRlyay19Feu0REoevWlXh/Y7s+1hBvO5VCxEBE9zidjI2sG0eO+ajnLZCuc39YiYnOoFdhB0zyl5qPmKwNNX2Zxfz8SvafRjTTy2iCileb2Y9LBwaivGsQoEBwGFDMTpnR2MadqdTeIGWvhcCO1HUm+D/KZ9vJGftbdQpRSwKXoo/3hWNWJW8m8agdauLnq9YwvwYXNmDaF0KAJC8BEf2yj3A2SDYEHeYes1hYbnMvzxt7Tqz+sfpTy+3fZGodvqILTpor5EyJr9ihEegymcnzlHCG0k7ggek3ZV+ZTvSyd1ct0EnZbv20VQT4o7AIVzv3mkwI+IFBjRya9QB3bAv6XqQdAlBEHlZyC1gvsq+DmE6cgIg4lu91aTmtf4gKhNTJTcw1ZjvvvK9q2oN9J2i+smpxDCFNXut6InJNQps4Etb3E7Q5mp+RqjHAT8LjiEqGOBwhOSfTrT9u/npayrDYZIhspFLdm7o3xVuPhFhpdDSv9IMTlNmbdcfdY0rjLSSqT4OWc0Nh3cE93HCocYpy7q2uiWGwJNymr8VfBaZSGN2/oAL3t7BlYvLLlSGggzLVyNKgFBbCvlgMVusxxktEgSCtRbBTloD8R5ssGs8QwBmHexBH6E7/C29WUO7jbXj3nLoDqjCv4z6l/+2jKzsE4GLyDfh7DySDdF0hmZrSb9rvRERvnV09bxJ+QIN6+KX+F8koz8VfwxQKpdRbw8z/1jOUGjKQuI7H8A+I2F4FxLXrBfCvt04i1EVu9vrcPXf8Y6mA24PcKpJJzPSkbPVlHXYCWi9wFxH/3Jm5CMSMy/xndqJ3V7l3LaprgTl9s1Hspy/ZAP9FAHU158mmfBi96SUwQeJbFCqWam98V/eIEC3Mrk5s5YlKILrWush43NKTkES/YWXMqiNt8rKhlcx090PDlXtcQGtq4tozJDxM4Zyr1fu5KkoJ5QDWCj8P8Xfw1PGIPlJKdgV3EsoGj+fWmqlPufeir7TyKAwqOJkALAkCwVzUrNC+tWQi4NMiiTVqaFHf5zV/Btryo+NNbBjs2X+4nvwbkSwTWuzlavVLZ4vcqEDPHRqo7vsqwD6k+BNxwwhJ1DUPBP0Hv81kKVI2ijGvBSxn86/6giAuTf8i4g/UsGTzdJDYMHViw75KLydD/hIsddDwQ7KSx8M8bUnPzqstXA3ouaweDu9LuJ49OezrjJlzHH0tcp1szTb3V8N9Lhbihf2g/Ks/FbrEMMC0yIwukPMHVk05YryjkMCplxWhJIVm1PYJ955OOYmcfeJf/ajWTgn9BeBNJKKbEUbb1YoW/9GgCRCjjXXQTgJ/Zq9V0Xk2VlycelD8neO5nxYEEfIz21N75KL060ZOiBFYYYLm9H7luI4vmklFx3SjuKyf283f1a1sNWZMb472t8MLmszuD3w68NN35K+Fvqc0ajXhKI/fYiTl/KRqZHTLvvpBX3OydURw54aBTqnzpx71lAK7xJA8U1GshKjZYo41vt4NT1II3l8ANUDtQnnq3SRLFSRk7207Zoh1KoyzV64yJiSj1tqM2LpwrOhwHX/3HD5DQZ7OZzXAqxo37yGXk3P1AmhhFJmCxyIoB/+pS8fkiSJdatbRhK4XvvzMTITgZch86WFPDtsirI+G/o7BwT7hJ3E4/DSgIXfL/qXADlRXrU97BVUoeKB9WA4K4nwd+oMOiyzXsu53dJx2x1LWIkEOGRhz97Dol333SkLSc0AeF1uDD/ylfxpJVNAn9H0F+XgDGjLMxY+cLk2Wns/3bobpsjyLXusSbM6+G9A6PFcP7xrvhvR+MUlYNypwSDOzroTj9qMe/OuooNjK2wan85oA/Ve/cJJA/f+vfbEtoPozHyqL1PDHvv0tjpVJNwp9p5J1kWSdC5U0WMbCf8wr2UnLiPFpz4I/janmPvE4AaTizoV8DaQwsRKqGAjTh7o6ZphN/GJbkG9MQbeW09Ynuucuq48RL8aq9ilm/GoJOSY7c0Se5bLex7diMaxkLHotUNB89hHasjznlTvSsJQgHmOE/+HV4lkWMHiuXIJrscAwAsfTr65NjuYUSjjQmAw/Ll4J8gVKICAVsBsqgBbc9xL0KDWI7p5V4AVZzRhDADaEDgOMcehDie1qNSDeWutV4oH/AZe5UyArzhiuwRj11nZ2kthvD7ql3vT+GSb4brIgMm9xNeKJeCxGm2GfotaKvy9BrzOPjg/F9Qxvur7I3yvm0sNycj2b6U2LFtr7Mo0uP+BP4FqcHC2ewcQVY1zI3atKnb8ZbY99c9AbIWWQo8iwjfuWDTyuw4WUnMUJfrD6d5qatdJI004RlpAzKrTSb4ui2r5HeE3DlC10o75BEU3/XUEXUv8wT32OZ/nzk8oDOcQ+TuVRjWT/OyXxFY2PZzT6DkNKGj1CebWQqpvmf12PZ1zkIw/EgotUshMRnP476IjoquCAXluzBxiVE7OdcJBF1M+dhmm6vxJ6D5wLzq62rRvfhi5w1I6Jqurr+Lygv4rmFGdew2e78KZ6O73JzYxl4+lsYcmzkv1rXw7tbJ8bHciatCSEBEZUj4949ai8V80ZGmEMkW7k65ODmgexuxLlmHwiAqj+yJ374GdcEJGlVykR/rCK+hUiSPzpvkozr2XxmZ1RnAem3f2zatBpOJOOaJ0/B/6BFyaoGiAC+/yz0GXS5P1Kbmhnnyg0hTWyYzXjdo7OQelfrFrJY1yEZN9OpJUnlIwtzF8VrWd83PMQ3x+B2wutMXs6A2ru+6foY855q5VdNd28ucqp5sdvyFfm4F9yrYwpofShE8gCGYVZ/YU9AdkOeZ2aDllNjUpK8wSDzbz7PG3aZhzonRjfbouVi7WGdMR5xfyhMLlpaJIX65C4WONBB1VRKTSrKCCl90CXiCWWQ12/lEK8hXoHDfdeZftAl/g6OlIACEbNJbSWnKtuv93+wBdwcW+E0BtOnG1DWapEoglvrQJ9rUXuuH96j01A9kfdPm5TxvA6YcaG6s7VfbG5qjJHbTyslZXsKQPb6oU2bJVEG4/37DguKEaOl8V775Mg7zpelD7RfedXfFxiUojX0C6SKPCrLS2WnPBnscUVdmaVxOQTt5cW5tL+jlrJCtsUR4PVOZDCfgDRBHcq2ds2f6p9bPlvhWvFTRwE4zmgmGMYZjo8JlgLev/vSh2jEGE/+bp11RwFJQDMo2PcO3bqvFtxikNeHCGv1Qf/e8izIvi5Pn0/iBIKBZQ90gMc4hkFT0UjHuJ6dpEYc8+1YwdftyXXSKLBTLQ8sHn6+jTVht8lYtso07helnJfCzrs9OnejM6PgotDO+a1mQYhLKSYZsxyOgFckGCxh0GkFGo3CqF/lhZbc4BDhmh25krqfH/3NdJWbAikbKEKm+4RNddiIv4jSot4hVFs1fDKhA+o0+3AHvmcUHUfcLPmRA0+12YJPBfZW5pkQ0kpg0oebBq0s+OfemwqjwexvlZ84KdPKbUcpH4/GM56EZHXADee75X+VL71j0Bt3BmWMLhrl06gg67b1OZFBDRNsX8qI9zonp3+GsUvOKkLapEMqaUe3u4UWmADcABh04CW81YRX3pf098Jp3+3iBjOOcrgJOxwr27DewjKDHvDGIPlptuuMKAvD1BwZ5+Po0groFjeDr7GIWifOI6rpA3P9+VgqT9ARegb61xqUmbw3ZIDZFBuz6Gix/hxP9YdF+1UT1Oir8G2HPuvmoPCEI2X9tWU8KbyHFPlfpc4Rfj1IVGtb+1aQ/pHF3o3lumjk0/5AnSpxxoiip6c0RHZxmFCe9UmN7nMUYOubsJwgIw7LX0ki4U6FhIKiNISt88PigBLT7LINdshkzzBQ1Hmb3pTTegVDGVJOb257Bo8cWoY7/3N8pM0agKOheyAvj65B2lF192fnlDU0qs4jZ5jxTnpJxF1zbrdDlkOFgYdaUSBbINtCNASVuvNC/eyTueMKrR+KmGbhrzpuBrMzObFa3BUY7eTP9ER1ykdQpvClFmr7mb270zbeMKLgO/tV6nVWsKgnZdfH9z2na0Ew16V1objygtOxiK3O68qLiRfY9PTSwW+pDfddvuTTzNbK9OjtNjce4z4K8RDqhS7i97SUl5f3Me2GGHc1LFsqbXNHvIVVBgEFsxOV4Jl0blsFK47UUDqQKmoh7JeDME8mXcdh6MjGKANRJ4r9ziptOceOND1K94RZQ2wLWUSV8Q8ef/sJw9r16gBAxvUf2wd1lO4jkJL2Q0UrG2iuAD9f6E7CWGLtAENLMe2G0bomt0xHH55dYk/15dNqpUW2ctwbaKYcmHQX+g1Q0deq0/I8tkXmkm/VoWaU/nLbt6xnIRNHjqohvY8txzmmP/sG5EFYlr1yU9IoMH0gzJGTvv6CNenKxFpCFgCwTVGwDvtEBHSjkAG/hvPueHLqyLWhoqf0kkCllhpAabDalFm47GhDWAgmLTSQiNeUCRPdBL+Gmfwt02wD4dM1/nrz9uA86flfsMGVHsKshJjcvXIw9aKw4w+h/f6kLQyEDLl6srvmHkRlCjaNUTXsCmpnq+kf5Weqi5bgtNdgWKNgnT2B2KJkNvYjDgCtPKJSzsGeCkqhom7cT5FxevUlvehyryw1U7jzq457mIZxvrksQ1C0Ft6XGaPZQ2qKbUPBk9ZuooDkKAkp+oVVzo6h6yC+6WRF6qLDhSj3Vq2Qydeh0w6x2m5YN3gKd5fIcEKUfFG57aW3LyUfsl0UQq6/E89137TtjMg+PW6Mm9SCj57j1jxhcabSgFf1PsehpdnmpCoSLXb7+I8oHPczTp4V4tvVbv+G1wB/A4J9s0VQCO7xml/MdUHH7vUBi93LUJp/mt2CjGzJhmTFgBwGZimG757kBT376fUxU3xllB0hQXoO7eKzy0Y+6hIljISIX6FqmZ+UfwLuH0oDy9zsH0+EYjbWHk+r8VGX406CinWQ5Wqjrtgo2NQ9I3/IHDN2SvsONCaksjP7ziu5h4V9B81lB6QZq1PUWabd0785k4pAcuJ10aBiLqzFlJi3LVkExnZcvh6FFc4MINTJrXx/8DQ33NvYnUNwu5gAoj+2rbWtrvqFyULcfq3RUgOXM787SnPzCt1yEsljIa8vAyhKYvSzWo3FNs5hrvThPE9lXiIHRaj9E5SlBNoxvre413wqYsu7cMhwhF5la62SBdgh5lkL5A/NbYiAnOehWqxyj54A7hKvFKDhsDBKJvph3AcJdLfSthDc/L6fnZIxRPcfJ7yLkPJJ0B1drI5Wxe48iS5YVjtDhrtsejE1A49UR54WPTS1VziTD/ySYwjgvyMwIlQZ1zOvzw7goWiW80V4B7KIxYMfceEmmtcHZlCXop9I7p3jcEgka/yWhg4WiKVesgoe7Cil/PkLSwvQEqwSveAkcwZnEy37iAVv9f+6CI7zf+C6kNco4uPoYuT4/DD2DFXtqNxiVpp4bp5V++cx7NbshaXH/D/DBFopILuQB3B3kq2AtSd5ecXOyl3sGhMzI8fUtNbLdHHZjxW5mHvEcxvv1IBXNKkxLbh+YmPqKtx758p3yeOZdSdih8ZpyokgtiosrIVCSs8Ef1TAG9M02K6V3ryYYDfl8hz95JchRYzcF7yDYhjsQZZBDzrsmRp6FVDxrPUES+Dm3exgYCV+RZj/u4O6amEUzeielNxvv+CZtcDHbtQaYM59wcaAsSqSAkmjS8rwlB9sXOH6yponfIx1yjZMFQn38UzYdRmEOu4PoqHaV5n7paItD2mwHBt/E81TevspAgzTIJPshFYdNeRyfl8hGuspvpisa3PiHWDIwMyM7T0Kd8Hqkpsult73itJAnMdGmBtl2PQ7CAS5RxTg2RZso+sHoxt5wnuvNMYt7+27Ufz8hg7s5l3w0h4hG2ezqTwZwD6g+UpLLWlmBLQBhsmWDvg/f9e53r2OWPY6ugrlIspZCax4QiYpHRV+f35ufHSIYKyAicFEZRrICuh8wrnMZNmxa4RDfOg9JPHmTqtabp73zX305O7wBgGe+8Q/5WzYe0QofKNxcBeOoy+jhF4xz2w2/h/iert+qkH3B5j7zpI4350SLfZnJpkKFvNCSFsbvGBITB5Euh0sqUssK+odlfl317psJOCWT5HDhYhVak5OwZtTFuzDF6YJ4CJE6iFGm6sPiOAJzppUaC3vgADSedWdmnW4Z5M52kswMZsnOhyBz5WbOKAUTUv2P5ojGTwz7y1BDvthkde4uVEDH4eVozu1DNB52yjXDKeCREwe3pFYYWWG8nS0UrnfKhId1RoiJuT0P4WI7znRUwqheHfJA8g3IyxGoJcptitulrTDc4Ejc2ohH2uBYDVGH3ajK7X7x+o2GTQmWASIAnH5+MJxP4Pb0YlT4st7BjW1M22RhvhxmAZ45wI6CPmFPatD8icm5BxfReGp5jsC9ueRQzWOL/g2WLPE9ypzGtBj54+MfA/3UMlkk+urM5TKhX5/h21hOPcz81JJ+N+dXPyOvQMfDPpkyYFw0iNG08QQMXyeCoLI5kq8dq/IPHWsFI5DDDYZDN3Q7pFDeq1B06qyuScSpg0Ebw+Xufv9UPSwdrMnY9auDQNHVO7Duvwi2yAhwxheXI3A4HfEjFpSnZRfxHtXr4TNggjS2RBsRtPo+gjOxHx7zUemHOMtnJ2JfWIYgXc3nR4336IMDDwQ/eMAwzro3b5FInebKUWagqMxWDdCU+VVBfJ6dbMN+zyzbvdiareER1zJurgFoBtRLZfWChVXBekdW9Q2nEjXUGduHhVkkXJ8Rk/23Yy5NHFuBuWnR0FeFyxMr3hmzWVAn9Smj+nXA8RjD0R8BE8E2tOuZneKyAQ9dQgRrqkvczIbpJG44snv+tHtnLx3MgBmHaBSwYTO5YEx3LLoAUJdEddvHE3Ns4x9+QJ8M1/zxEKs3aZvU7c5XdmSpbLUAeruoEHwTytOgG3+G7feuANEW3n/Wo6Bu5aMYtEmgmCXp1UyVmPpa+Tagr8i92YCFsWVsIeK7TTh4yecQflnnFNasVjAX8r1b5kaSni72gCPHzYmmAkDYbExYeMbqUDUSSw6jNgSQ8qFTHqHes4S3KQb+KTZwZBpSh/rOy5rVq3jSzQvRDhQtlBRGrbrOvSBv+gz980V3EB+STEDj4xeAurtYbz5RhbS35+cpglLqXagUzfSROhMGdLickOIzuqqHHBb5v9N9YDqR3N3t5rXq3SyoKH4DbUQQ41khapZE+GIQ1BPBgwSLkJEc9OSK4JyHsNre6F3k47C20aZW1AcPDLKHa66Cc0GU0ssCMmFHVtFB0Xh+Ie32AGQRYhN/5xt2LSJISC31nT3pzKE62SpqjrQxdThAacutkWPDVkJotxpwV28reCShe2uOC8bdrbCXX1M7a5Zq6fEiQ3cmJFtIVI4S1/7P4I+vNCYYDHeB61ZPpdBhRHiMU3CWE3NhXkkx7Js2bWtBFhWpIMmN4+CKnuhoN3QlBPyqcBNIGXePHVtk0PEus9PCQ1u/aSZ5crMwY9bI1i8WpOPlu7jRvhPNM6psXAdkwuRbzJg6QXzu0RoZiePPIswoT3wlg14vehHhVfbMj1oI9GqlfkZ7GsoYAk8gCRO4V4x5SFq/h0lmVa7sCD373jAyYtcJS7+RLYf9HndtzTICcJfubPxruIjL65MsoaRlJBtpGiLohVgflRrWesybSxzlLfbxxjzkMZP8d+hCQQ+hdoUtpc0z+Cp+prX2+mCTMletgyrOqC3oIiH6o+JyQx9M/xDMt+rzhPtmyeYepY0k1TjuagT6QuBgsdifpk5LkefH2/Gsdp7xhFx1eX8Np5BrKct17kJx4w2dHuZHfWlPCvZ1mpFyFUYsi6wjwjJJ+YGex4pCWQzrJN9a9nuhH6oY2o/drla+c6VqKzQtkDhy0AaEwCEuReQeCXhhYpDuf0+EN05y6++IbjQEC6a9Iu9q+gpPPCCcUKilbe9VvaW6FbP5L0eM6hDW3ZuFPaNs6vTtl+OgPXIGFgkGUF1Vkhxkor+Ru6eAi7S6486B1VXJt3+W4Xy0ORLds8CU6H8V96PoIAwwv/QnDqLulWL5vVv7J0D0z6E+oflJnGLej7hsVjL73QAoNKHWjgWQoKHdgbA/RM4sOQKJzIPh56+fWOf9uc/eZImSsYlb+iVHEZ53muv/UozFhxFIXJtxb8WkJygvc9pjWW+jU72662cbsW5LQOcxYX8ZSUP9NWnabAdWQVlFzLpTgc/BpP8/8BSP4tKWJZTL8BqTDG0ihatYZGRSBevidGgv1bhu3pJt5vLCYlZxw/Pq/hLXISovILi9gQtrURohgWGRiNAQ3Mx3qm9phXNbQoROxskhfmubfKD1bBehhrJj3OvsX3P/0k+vQgmn9flfswgsWoyVZtuLNyrfVXz6hLaRS0IGe8dzPxdNMFG2jgAb9rdFCWI+252hL1XE8nxT0ud3suKZvIrVwfAmHFTY+YwpiRjsieFod2yCUVD8uV6KrFRt9jDdwJj+0wIPSFOZXrDtY8MMrssSilPZCplpcIEtNpfIRbvIb+4TqmJA8aN4m1x77OWMeR5el5zA+rmatAMntLJdPgKSl2m9eDdvczGG6QbZz/0jTxXxw36EXLTf6w6MheUGYi7qUEV2h7Kc6QUFCxcQWGELnjpX4qc11vz/ErxD5s/x64eGjXhBGAK/KUiUmb9pSqYZt7GtNiS4GNBAy+RE9dzNZ8TASdEurnn8AFOR7uqUcDglGAvvYcN7NxSMfTWW1WKrfYPW0UO6sqJoJh3sF4iCLY3fFPiLYXPMO8WkedqMovJ8+bdKuwRTBWiMlu3F/wkSZTqulCTLfaLfF5FooWnIxxPYS16WYBjnLLnbYsdwaStGZ6I4dRKXM1dnF0fegubYX96dPjiSNOV8TIdJxMkaQRCt4In2JhQiO5N/lan91cyfT5npEgwZBX1QDIbKAOOCd5Iq3LhpYLCAT/IgEU7LFKiOxBQwL6kZM9Fn/RgvDG2l/GLWgV5OOjvOyqoblqjuoxYy4snrbZ3YmOT7S2+fefkBV1sl3QYGwXJvML+sCC2b8jy32ACR6UsE1NrJst0CR4h9cIA1kXLk3FOtEd/shvuTMY63EGZUD72/YQ6eTH2ARl+FHBWeHvyypqhq60BOEv/zW99My5jlyOaXelQRHLpOEeDK9Ycj1GGUHV0t0PRBqcgpEu8GdCG4IWgVLx1M0gImuC9HkMCiPMBm1q0CX+GJso1lOWQclolTLYZ9WFiQ4v+K8nicx7KfExQoRRBA9ytdbcKO8xa+5dgzyTx2kGt9JG/dMDAvytVhN1uNZfM6geLI+uiI7khte/6zZMt177dGiWAH5H5v/81Ugt+oHs9CgF6zqmazluGq3tIEl8YB3ZtOb5S5hb+D4jqDtlBCuDWDs3Uy1SHuKI7tvYhSxmv88uFDoQgJ/WhYbF04EkzajjeS0tOoM85t3YgJ4n+mGdHUNdeOdjWd7hAemdhDcR13lm2exaIS4SXxtA0T4yIEdkgEc9I9vUxAOvIMD0jMyQbfQj1mFp8bVpVpdZtPjUx0PljIvkfhUpHYPCWuWEsDZuFOoC0Ji9JsRuRFvjD4hCtHmzE5fI63dy8bbEvAFBsOLwQpA0Cpp9zjbn5aqMD8BtwQtNMDGZSTNBa47WbyZZqdoJp3PvGYYGhTvd2pnPaC/bcDWEAq3jksEQHRz6y6hY0ryb9eByNOpmrHn1/C5gfe86oYkNxxCEF0ekGwFe88TVknvd352DhVofOA+Ue8SXHC45ULdS3uVwxaR7FpdJQIMYuvwfi1DfXmcNRWPSBFSfKwdTxc2aojmoso9eIA7XppiE77oRu/Tn/FLV0d23kKwA/VX08A0YzQNJjMeJxHp8z/Qs+MjoCBS80zvwPvUXZ37uHWAuSebvTtprKl1dmTAkaAEe9B/VVAEJTzuAhauNG2Qi06GFtMLGBSzaUHbfiMewP3Zm+At9RyQ/fzfsCaaedF1WU2vHEwMDSuLuomrTOwrrMo9NtY6cGr93PYYF9Fn4kV5r01/SyApxE2ZiKcksfIt13WZ80r91Aa5fQiLnqycfElRZBPBx5CpYo04d5+tZ3c2Vmnm8dFnmgR2A2XKfANo+ooS07oHfJmpGAT+auie69cv97SdypWX7S73WX6Xi/GwrSAW5rAkYOesWoTwlJrVFaaZGjlaCSm5GdegP9F/7fC2/nPrbXjJgzZkPnrcWVYV1oVY/JsBU06AkvQGqS3wMyWNkujpWUQZBLVTD8RAWmORUdQByUSz1+45KcupG8Z37L87dYwNw7IydYMnnVnzenSVQIsaJInJhzy5d1cAIRGFZjTXU4bqtcM2abOPpakLaREXm3960P2qiAuovyVl5gNmXvXzFIAvKWlnCCe8uRjnEPM5GATuJg4RYX9gmC2tk6tl1VNamGM/6apXdl3lVQX8H6pbXLregdWH1KQtTRqhZIrhKZge0FskZuJtv5lYQ8JIX9TjP8IdoHnBa2WAsfPrIb9Vq5u4SHde6U2Fx9a2vAyynaJBwnzShGwn3fTpG/jDkeiAppbvhOjerKrX/nyJXjpy8/qeX7QHgd8pIyXOlt0Z0FWpkK2FE3kNdXZIuLvgsLqYiLs2dHhWbDHTinSqExz4+LZvRj+oW8ZSmYZjR5Ao1NCSKOi2r0/O4kmQwQnUUSVHvxxcOQOOHh9N4zRJdTB3q/ddXAwpVuESy7EqAAh4d1jYwwyRDd/upOUzlAcwZXDVWBcTTC8ZxR0t3UY0eR/3FBK+RE7hV3Vx/n+Om4Wff2llMVvZrOq1tep0PEwWcNpfl3I28FU3NvOGlhkiPuHTJ4xG7RpfYCxgfQiKixPZ8acgE6fU90fNhN8Ca0fCzsgqssKyO7Mo4BettTq0ZbqkHYr57md5p/aIqIENxat4fXbpx/fl+xFYHSwH9N4jKMVmvgJIBsmI+Xd3wf6psvLrbJIylZMtas3tgyqoWYsDk6Q89MySBBPYmRT6p6bJvFtrIMGQwSLiz6ONLM2lQ5PP8eMkxhNOgtQ7I47Q70RK4logKc6bVvJBM8LXDsySmzyuewdUQzUv+GdzaW/Vt75rgvZ2k1a0ixjbl6nX+8pQ3W6t3mCAj2pafxXzqM0ThNJU6laXam/ILhzzG312eUZtJrK62OoOL4v3QAw6guHCIKWcwI4+HQ1/TpZsaHT8kkodyW6QUd0tNEtwUmT655gFHK+d4QnJhHFgpRjlYEyqAM/kl57TndoIgEKFMkvBbAy3a5xxZ5n3nexhRaVRFSCK86B6clHRGR9lnhXvKT2fmeRjzHurguASsWwmyt2ybM2F21UaEsRedAdWI/6FgUQj96dxKmGiO1vpB8Oln0asTyy1iFYRtQfszU2hy46TgmQWg0dPEm8Vd3W2Yv3yUDiDeaCNHxR/eeSxYh2w+zz3vlVIeBIhzENkYQCg+2/3hE/G+LGo4h/f1fLTs7OfS4PK7CAVkB5owVCjEgI+uJ3nX05kAornNhuwa8msjX1QyP6RtkNIYPCE3MZQ1KXBsoaRyVuAbp98dH/XGoFOND+nPXGAmCPX5smkqFbbYFWZkWG2uM5M2uLzFgWlDHS+/pPEOzjboLsyrT4g0Y4l2VPZNXVuw9rJIFhk+zRUDsRP5M8JiHCEC7dZBrgThvmg2RzsH6fwVrILmrXurqWo6Y6MAplTfRvPqZZoJggt+scqwh+7daE7Kp8uLvUm6XescUm/vaKLW5PVO7Xyz8T1pRrxAFGDTXc0wENzCZ30qVYMwyR84yxV5YqPvw78awPWw/Zu5ZbT0cVlyOJMtvMXJeBR5VoFj6RiF2Kquw3n/DbHnsrqsPr1lfXtAOsrdi3TkKQuRWV1QSgFy2g32UGHlOYn2XsDIlqcUc7gN5Inu61bRg7agOcwJY9hNJY6R40vPkNSs0bu/y5zERGz40Z0Jr2R7wyViAxTtth1aiEN64M1/nMDuwZSaAnI6zRmyFMffI/NAC+JEt5cIwo5HTrJ8qBhFYwbNz/ivGtvku+W0w6KOzUqHzbdxYP4GZQY/sk0j5Ral4IRo5UdPsVeio5IDCmk669AVXQWDSuxwlRTHO1WzLFAqTaIrsUC5Exb9FhwkvJubdKIanIWzGavGpvgg1+eWcBhiDvxopJf1Ap9ZrSYlWzIIEEB3KX3GpZ0sOVriVuB/9EIm5+qe2NtEpX2e714TdCR28c9V0rfv5pxU3sLvjTjanxwIrSze6ZF3x6tmSR1WYM+FQnsI3LHgroH+wrlA2L22cwKHFma35InDVdJp6mkrQltBpWvo9T7s2zf0UccDK9Y5fiMx3NKOwYvkayXjgYXGMiwdDOQP8CXNaDm7z9k0qgiHtHnkM9sIT/4CyATZvdmKsDcdXLPYbGODEbLyeoLujHYh8R8Hh/VG5FfSIcGbTcqqhfSZ6/1ZCgYhykJIAG38fjBDKtgEh9k5yeoM0wVHwfvfO2ADHa7hmPX7D/rkfhmDVzjnhB4WzH1j13adJeU+lk1+ucgE4bKGMKPW0s/yVhwd9gIBUPsDOEmkZjMEXmIerpBGJW2uNbaqbyIOrMMURjqOXXGzyZyCh20w2Pnkcu4A/PTYe1lsq+ano0DYcsUzjXru0FWr3K/UUMmwkRHjP9uyxWBBST9vg0gu4owYC3Y+l/q+KqfJYZxtcrFzbcSddf9xTEFGHW3E0IqFLW5KP4a8UxgqzdQxortcu5kFuE3Paj6IfupTApn6/bQUn0zIP2rgasjZMQcuFIZFP53TdZKZU4yzatJlgfcGTE+TE3ZWe9LE6Ux0a/9BM5+y5K1bfbM1zSbjiqKouRcUJYhMdThAv7CZDZZ4SjCorwyCAfItR86kN39HA4WDzTjiwCzQVME8l3FkakdSO1cIulaGO/55eOMrvAga/NK00F08GU1j7cP/BsdTBCEhQTQ7g3mCP/f38IHQflctMVU0ZjG1ZB+w5DG6oizawtBz/IDHxYoIcdZc6ou0y+WDCm9lgBLLGg1XVDOZnryTVMT7Cng5CkUpAulqgYvzD/XbPlg3Bpvovcs/TM9TUc0rlw987eE4Lnao7jMlsgTnQ6xuiM/yNFiswOpsXz0+5H80dUhAUEo2OQt0BDPHgWMl3+G9JlXerGd/+G6jUoCTwk8QkUpQLHb+6jIIIZBNcdjMWEgnh3LGaD//SIdUxf/hIdVTn6IMI2asxavdGcWHK4EqxdQooFldli0Z9rUb3CjQB58+GBQeep/r6MIXqKejj1d+YifCjOmR2SOfZue2zUVTJ8A83ODhWVN3IW72Sk9H25OMVyoKN30owdryKwaq1JA3q1cpV74YQEbjEk3kAwAx/XhE4LCpylOOWYzRL8ga77rmauOCkf6PtD7SErxbS/pAexAC0TV/mb0mCO//Ph0k2sBoNWpJRtRHtyB0YEcDPoLKqNGybBRsP0fXjRBhMW1GRqjjqvRkUC3TALm0kMIeRlciAcwTfc08NipqFOQCm8KCVQZ8eM3O3q4FGt8qe0vbIDIBrZxl4nqONZVPtbTSuZ62+AWaFmxebwGNBxLQ2sVDjxRnw/uaKOnlhHVKaW/zuhLuljHe2VKxRlcgt8F+6e0Vl6o90i5cFyNNsFdB6xN4h5JB+SrycD+2JyS9xqYUC1nOoSyQwTY1E+OqxQEeO8Ft0Ci8u4KvZkCBdlPMJTDTM+p3m38xhKck6GMqwcilY20Y99tX" title="Mekko Graphics Chart">
            <a:extLst>
              <a:ext uri="{FF2B5EF4-FFF2-40B4-BE49-F238E27FC236}">
                <a16:creationId xmlns:a16="http://schemas.microsoft.com/office/drawing/2014/main" id="{4BA244A0-CD43-4EA7-963D-E43299994E6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354251" y="2349924"/>
            <a:ext cx="3483504" cy="3902020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E54251-EB82-4CB7-B48A-A2864F7A738A}"/>
              </a:ext>
            </a:extLst>
          </p:cNvPr>
          <p:cNvSpPr/>
          <p:nvPr/>
        </p:nvSpPr>
        <p:spPr bwMode="gray">
          <a:xfrm>
            <a:off x="4354249" y="1873793"/>
            <a:ext cx="3483504" cy="5157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is the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reason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 expect a future change in spend?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2379016-9B9B-47E7-9E81-69334799BB25}"/>
              </a:ext>
            </a:extLst>
          </p:cNvPr>
          <p:cNvSpPr/>
          <p:nvPr/>
        </p:nvSpPr>
        <p:spPr bwMode="gray">
          <a:xfrm>
            <a:off x="322496" y="1873793"/>
            <a:ext cx="3627332" cy="5157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much do you believe your company's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spend on 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d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ver the following time frames?</a:t>
            </a:r>
            <a:endParaRPr kumimoji="0" lang="en-GB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btfpMGChart20927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u8RT18Ix/KiRV+dREK3q7dMAlPAvLzgo9Tu5onRyOxKTwI4yAia3bUCJ4brESH2QOyXMPZGmcNXNmK0k8UBQTIhS08mHd6vMhD/s1+x/8d3O2/vIUxMEsdnhM43YP/I++nL5XJusoDaYBwfVgxpkE9NwtS6yqDmJvrVZXr3sIC04S5cF0dBrAYeNooaflsC0gV6O9960QhfvYj/V8DVE6a63xB75HgzKvWOEAnomMeb5+J7fyTGKPAhxjgQN9wmS1YKPzkA+MK/EUimjy38xEOmimVyIaFHNTUTA2gL6wChBrJ3nN6PPQzs5Ycnbc/rHXIlpWCbCApwx8u5jv8h17MI+4GY2mDRZgZTzZ7ISShSPQHKWLIFD8000jP/QwE6PJpsyolwzy4cH4xt+cXZykic5pQaYlcadA/MT8eGRnSZDVQDBc3u4/GDDUxmif7ZHL2eDIlnGGHTKE4HvCO29qTBCrA1GLHjLF1iq6Hirh1668qC1Sa5VyyJEb0xDmePGtVkweT7CAoSR77IwjDUry6DC44D8xkb+qx6KRa1Jhl9pE53t8s2F/WRvp1OC4iXVH5VaMbaqouJliIKffD2Q4pYhdxqSzgEusRma0NwamM6oJob5Z3BLawrqKXRSUUPgv/9pDkg5vAU+v5+dyFgVNQebJMERjaQbdjaalJ8Xf7PlpRl8VN+XWvYDDb/N3y/3Xo1LxR+U5hcLKxSBw+t7zxgnw07NncKv+U8ie2FgMJO8gHHQITozJevMmZf7SOhO/7BUa8JA//E7/eMU8Jy+07W3fEQ5GPNhGkatYSuP6iva0FZ2+kC8L8KD8GQmzyLxlwr/JtlmjhqI+IQfwzOkUVxbBlGozuTzSS0cWD3uykXkx4Szf8U/VlrhDsF5Puk04c3M/7Z7cwPj3wmjY9rRi+u/ZQMSCkUdSmswjy2oAAj6Mb3RIcncWP1pdNcA5zYMXqslDeAOkRgn+hM+unCrDNz85TePByxPF2ZoBUVAUQv1Aa4jYVDsOwNTO70oq/VkP6J+jmje/6TlW0UKgHst8MrVhG/UZij3XfXkOJ/5KmOOlHQ1pGM5rcQubKXKclcGqYL/qoVgR1g5bLB43eYjOrTfDAIXPfIGmYQaqRCe7P69QaEtlxXUYZcDC+XFVgh/OjwLkBnBHaKq67/7A9wMnBHpOPlGSLJ181sx3uXS1h8dbJVFPsTcZkWgTpo2HAC+mkWhuwvzkkHbQ7zVjfWYPF7AE30WdOkDHuJlylqY1h3dkO5vwcpBnZuUm7p+/xzvh+dpzAIiW3SZvSkv0IB3qwjQT4Zg2NfBuNvbBht04ycRmZTS5Zxo+aEBFFFdr5cYcZ4UJH1T8mSEIXvwDcKDsFSE/QZKihZlzoOMkwkTve8k8Dr8DWZ6DFVECE7+0oW2G84gL8+pJN1vO//9wgoibE5n20r5hi7PQArbBoxrEpYalLkqWrPutrjELe0Nn7jb3A7uHrHNn3AVH5nX6kToQsFWcZsOm/n6VglSTwU3qoCup41zSmlKLYHaM5PlxOFLeZbmIpffit2kjoJw5/viQeOuUVAP4Xg/5VpCBlGHq+rEYxX0vQm/fSJab447x6Z4207iM7Q/D3RKoR/4SqPnC8GBhpuGJbMVHC6cqLHG9TO4BAMxK+FS5mT7DzsDJzWeTUEcH9mlM/q7Wbf8oUv1ggQjHRAUIEJvKRlgo1wP2OI2LorVOphhfC4q4+4QVPv4uZTBdckOmsxHtgt0JZLmrKCPQRc19BmfBZgaHo5vRk2CS3TkRQ1nCQkUOa7vFTcWEfipC67fWMmPZXKDvAbYEdQx7CID+WEzV2oKMLnOKBeRH2uZ4VvmwnWWyWcnCsYi5SGZALrjeIbgZPDpGUrw0ePoNH1lCLOJyn3IE7/8ZHemHh+Hw9c91Opwawvf98VkRsm3rhqrXYzEcb/JjZtJt3yHyAsbPLKosCdSEpvxfxLT3w7NbxYKOcCR+ka6ByKvk2+oA65k8ThixWZJWkjGm4wKuCq2Gjo15TuxjXMM3U/BoHflY3E7fN+BfvfvCbOuap/PlPQAcUzxt9jLrUjRvNBi68os6bEN+JzkjO/uKwguvxtl5KuDdNMKcTKznRXqLrS1035bWrmuMu037TADxgblM3JiiyduFDaWH66WSiCb/TKjQ9Yy6Un7/PrRXm5sTWosKT0SOy2wy1uNYWCLVM4/rmOs0NDdonoqO/qPr3AM1c22Jf9EeU+5kMAMnpRFDvsI5FL/buWyaqoMqXbQoDkylX1xAjjK1HG29nLSyR97Hp2xqjfSdGGDdEJk7R/xkG7ToeLq8MpHaJXHmvHdn0Ob9U9TpqQ3P/opPYB9L0yxLdKEhQ6NKj/AqVAUdAhzQQshT3Y1caTUnbFcwSPu1bySnKYXCJBiAdhhJdfkoNDezODABWQwJ6iEI+3g8am+j5fY3A5tYTLgG2oXLuC5hTuZcnNU5m9UsJKJajpsTC3fuJphEoGYPs0gQbM6l/2/nJFztAEA73AAtVwnWuxzCR5B02MnQL27UxcwhOyGGiWSVxFKxySvr2tcTOKNHJznyCWHdGMl3ECmD30s5ueSfYiTYJrsZn1rfIUXUi4iL42s584ToVgeK21hnt7JCZeGPNBbMIo57WJcRZggnSLQ3A21DaeGX9l0ULRrMUgrCTxBC0nP8Vwk3zsmBcXHN5mvtNh4NiJmH8yYC3H1nJLE3+vq0JiiUTb2RCHsxBuOCGo3zSRpUQQwoiRpE4gnSQSToSGDV/KLW++PTdn+6ivwz1nu7poHM9I2sjjrQwVKdwtQczlzDirE6ZJkb3+S6ICvD93mpu8aqXRvfnMu0FqM6SO7ICAMaskn7SlK9mTWmfHnmXmHn8Uy5A53UaXzvfeo9SyLNYI6odi6khb4hdG3bEf83FJLc+h4+ECKx08QGcVpFINDAA93Ijs6tiolxVpDro/go6Z+74Qk6cHpnLYc1csqsNcAZBW6pRiRrcRPFl4cZ/g2weTWVEoBeXaHcZwz5K9uoPCjq6iDd6zVbSjAd8hqB/RUunRg5TP7pUbjMRo+4dSHo3xepg33gOilEs0zzrgc3NwuW8btRGD+bGr0+QHbmtAnSVHG8UZaLa6gUnxODAsmpinvaouFpFQbR24NXYGHV5+EHrkrHsIvZHTgOou+d09thd9SUZWpHJeQy2NXIYZwpjhQ9QjxSDq9Lm2/tYcVqjLCnvCytjfEDblaMT7WRcXHAQSPt23jYlFuXNfaWrUULLHk9Uq+bHCaQ+kI2KyK3ahQbWqEgO0DUrRCNfJVPKAxI48k18Mv1R5hxB51/YJtLzqTjkSla7lW7/PwQfN2rQBSss/SjYJxgM6fd7xl3d4A8SaDxI7mfcH49K719ci6zy81BXfur9fmm7jIPbBvDuckKRomAROOwvkR4/A4NCUE5kg01wDrPpSiMJZCch/g8JhW3RXQrExb1PDnzGprYstI0NLFGOFrS1y6OCTLJGAhjIfTO6d4jaSO+sbTEYupCQbX3OB7A9AzJ+aEJE9Ke+maR0nCWMS7ChevwgIUUrbZuCLXmyY4lG2AbT4NkSNc56EL6nOT3+0zcLbo/dsqasfpr6LEgos/bjgZ9Ram4jiPjISA8Ageb5tJJkAU3YQHAsgCybggVBoOXDakiFb1oc6KL4uv1VA/Ei5LfCJnXflFnHWsLn3cvEWVcKd7lELKNqEQ8fioM105Slyybw74lMgkyJMaQv5XEsnc9MkrH9SIJCTnInhwBAyHKbw0eEB8qsTPWatqLR+LPmOc8FB4Zn3hE4dz6AYmreU0AK0I1LenPidfiN8e0bcLQ2e2tEma340IAyHX1cB3XWcuj4wk9QSopTTerFViQzuapPP5c5RdYgPztlLdoYWuCfebKxJeodHrziZaQgmWseKrJ5u9lA7cFLuFXlOQyqoiEBtTyjWu+T54f4wE3ru3NV1cvalk0Kqpm6yKes49E1p3UMftot8OS0qg+Y1uKAnYJqh7574eZtvPiTMjlmWPOUTWg8AkXJkWEylM2WLe5tCbzvaLZFayqNyvtL2DiJTV6bEY3khepdUBKA1VI4QL+ARM1ZI/os/RREa0MmWRbmNn94BGBKXyA8Klhmh+rdb6VzNJz8Z/qTD26tNQhfPoUFfYrsd+TU9jIH6/uq9sZR9DWSB7rgECSH+yTSGNBbUeIk/fjLu3DkUX6EK1xYRXPYi3Je4XMKVrO+/gNnnMQoh2lfwrIcaGEek8o96e3b4bt5s/fM7l5zpivPiSo3tqI9sCxREZMefXKUbaujD4m5pSjvdCQuNHWyYNIoqyyQiBO0m/iBi9DYjLRq4XRvHYyCfcTWZqLniR+XjEdSK3mMpjv4l8bhBrXSvDtsgvFjKZ3o2IaJQpRDpobVL796szmuXgBWsyWyNLzyrrehRYApUQGLOhwJ7k+J0dnzdvFRsqUnvE4Ts/XTQkVzNCG5pfESyq6aViVRsb/1+OwBduKNmK+L3ozbpaaFveM3zytJWUzYiNrHcCBFQCA28/62Ix9bB0Bvc1KkOMQWEKmhQ18QJyhcDl5egxFYX+zGtV1RCGkV0IsuHRZ17qOg+b8HQ9CYMHG5f+A/yjX7dm7oiJb3wdSoHQnEwaE+0elk9BmLnDVh8UI0KuOPCivpo99Ih9OYk6EzTYEBpJOfNxx/YvusFy0U9PAHkVRft2s9kmfP3BFWvHYEpFw6WVap7GH74GiRq9rGYLbfasXwlIqxLDTt5TgorvPVMcQfHWW0s/3HSzsns4J4QRjx85kq3jfEn780+6Mn27mIrFxbKEAeOfyy55TH4PzTmrIgDaaYri3n5emuOpzFOMs2rdvdlWuO9gy5qOwS4G1RgFnrmb0XEmuN5UyoUOUQlqmNwMEvsaVpHV9+oFfr6fIR/zRDgCi6wAAbJxsMlM48drAEV331r4Lghsl9DG1a77TOYJZD23sxnn4ybcqTHgzA3bTD/+Zg6+xpukujq9cIjgtR0eyZyINDNeXRg4djBsajneIpzifzJ7wOVjlFw/pohNRt/t+W/WcIjTF42+HAvTqdkxVDyF3SQFskh9gOy/Qx1KmLX9xOjPCtrFmM1QYFsHUIxZvSXn3XdMTSMjh3OjaVhNFbp539Az34VGNiKUqP2Fpwzk4pY3cugiGyPUHboZOSemq1VthlaYc01hBKT5PQFwTYaHVcC4RaWO2ZYBWqEXPmpg1E60L6mCuY9HtwFPrXIwpU7YJJQMfdKfpmrN+CrqUloferNcxkAlur4LizZDr824euepKp4uVMlkteaVmnim7CFxw4KthdPtN8nonK6zkUC9uXeDzcpRn/XPQqNEkPqAkmUB28NOrSs3ps/5M7sEa+i43fLA4mytxyKI4+wGMMY0JYNjLiMYOVMS6wyz+nnEnutIGZ5AxNAvIZhP5qawhFBON6u5tG7LmiAd7BGZgACC5kULBVr2ttjyYH95GVoi86xj2E7LgEWGwhahA81nNM635cQfWJRIijXR2AS1yUED1WVkNMSNWXZHUFCX+v1a/hfsgLU9MKG6sBE5N/VdnwYnYhl1rwoWm1KXP3VeSluQACo9Yl9WPPKh6Ta9Svaa9TG3+7ysNf5lLeP7pEw0lVK8FOzKcam1kAvIO3FA2LyxwHBeEIdQ/jZSNk8Kf8b5blu596tf39qyV3u3RIQJkJmfvZFA/6pjU3Mt+aAM80Wbh+cC18W69CEnS81Vxn29A07aPiaQs6LvOn9nt85LCTkKZPXrcw8u690+fFUFvBXSSBWSfo3713y8TDZC8/TcPpRDYJt3wRFZgPOuZXFsHzxULNRYkKCAUz0u2ypQ7HMkOHxAhPsJ5tQEDcQRpKpuU1IU+HDCtNtCw37dtblGooAaWquSQDRzDlfIB74Dh0AKZ+jtGohM36vZeFCdruGoBxzCL1zjhQQWSpdLAhv+Un0zrTUN+/dYMAiqEkKQzZ3zzWaO+IPR5FN2oML+Rmc4AMpJr7TzWZDznLcb3UZeBBmJMVaGpEBRnYurdKpIY3EJ7q7cDh+occzy6L/s1MS0VeJPbFD8Mewi36+myUlVa/IQ3oGBhqiAiqgiiJ3aoS+Fh/1vEKhk7RAWerXx9K+dAWfIAY4UQMvuRSOA4fVrBgfLTfRGZGz+YbUOkXKlWCVajWc4JTEeql7RZLWOj6YugEYw/9VuAD/6cweGhuvDfGZTwqz1f8jmy+DvWSpir0nYMci+x0pIIaRrDjSd8ZohZ1vJ/EKL5KDfRzDicjeGmTFDLRewhURrE1gZlQQB6YIQHdKLccfXRnB2fX8tC6qYoj45Qr2vkE7w7FANEFuKftgeY5E4oxBzbva5dYQtKv3stdbGEBG+/KxQ/Oq05XPzUYGSt9AETQaW67JgvCAVn9aKDpV/vHMrq4xRxPGmD6nhlB1vw8vxTgl/AupoQ/B+hX2WCQpVftR44zqkFa/OQpvJcKoHxq8VDTE0+5eg/NFfyG/s4zZK6OK65JyAoDnDSB5m4uDpvT8707tbyAaXedw0KCHEGsfsFZc4L4R5hS/sqkCOU2DrVqmA6TSgC5EsNcDG8knP1z72SrYJR53J96hh+wio/EvPUicw11989jL+DTgmUGzi1hv4dPszk641YvrtkktvT6Elj/riTDD+g14zaljrVsO9jR7JP3zO4LX/F3kEu8XpmyyfkDdueRZ5wA6c7vk3M4t+hKk1bGco+UjvOiC//91WvHNKaJTPgYIlIbzwgCuEow45kQe73Idaok1EgYpuqi+r45cIBmhbN6p63B2EkrF7wmbcDcMiTcGpiAs5H4t8SHbhXY1lmi0yP4Am59EPvscdBaH5nw4dv9CeWC5+hze6ldpMm5/hss/KQqQafsanq1szTMEufGfyTS1GT72dbxT+f2Q80tHce3Zrx94kX4fy3NJZOvU+5dASr3ElpnVpBT+dS+yyi5ny/WLIs4TNvdcBNgMb08e/1HZSUeYiSE2zsVXh8bcgYcbvZ7ak4oIyM3CJWaTTc7mi/Ei9Z7kTaHXyXOp/CWKiq2VnmPrRcmKmMv7w6jixThAAHIh8HItg0+z6wilNe7n13H3uFuA2ZAsODwbi2mr9Z/3AEBnn7OLf6L/Dq5AxjejDkyBmgGsP0QzodvlkJBwxRccSng0aOJ7KmQNiq0FB+CjbzaFJDLv0jMuhwtdhUmmYQ5S0yQKrEo0skrcl38epXG5Np1BMAp3PvKqwqEUhpJ8/yBgQsotm92T7RJivw3A1EUeFNz9TQ2f2ZeKBnxJOtgmhgo8aTcYc2dlDqu1I1rBExszfs91C5uEOP2EHX1T2hN+RG8vWcjVBU8lu0LI8nHoaFirrK95P3y0XVeGZuizDLf3gDFZO3vgxTiMip9cmul328SzIcw+mZUpxKeJO2TSt0+LfNfjdXWB54V7hWLbfea/7HLTCLamYE+NEz2pr5wNNV6PkWKg/JFSu2Vn3V8DYDI5sPbzEcD3z7UdhL/CTI+M6C6hGLODpReGqEZn2bNy3z+V+DGc1MqORmEmVCXYLrHYyUU9ovsQE8VWTJbLVuhBsPVqvfYX9fWMc1aRaJZzTJYqU9prBKyM98S6nlUN66rCzbY9Vf4/CeMvaYZwhFJnzOXfM+tMnYB9zFzwWk/d+ykJeXCSOfJydGtaoZbhHRK4A0KdxVGAZtLwP1Ai0mK5z7X/O6S7l0vK9EMJf5b2XSq8DADSMn706K9ru37bHujW+LfYQQAxfLEvqqhCedM8Pnfk8AB8UTfqXhK6PwcN+Ai2yRKT4StKjFWwBvAqmjMjoHC8kH8e/or4lRM1rPDgEbaqFvWR95UeNM1A4Vj1u2CzkXsnq5+XLXNm6flwhr5O3p8g/Oe2R4XsQ+pfltY6WARiXRH78pbrk7Kv97Xh7hK5cmzI8CAxsNkZ0T3qApQ90dMBV+KbSMRx0H4wMl3u+C25S4Nzx+aXPG5V8xVWUfAyOvgyyLD31a484pwgVBi2kW8ERs60fo9O85TIffMUw822COSaWlcD89IAu4hpk7PrNksD5pZivOCOJiuHbONAU4ysTIP+PiPcl5UVBtBcgDofB/lu2Otk+S6OgF7gHoiop6uVxTA7qkiTaOjOnYiC5fre7sGIsOgiSW3fGyFLmV2fHj8SqHa79eXaP24/qcEqaCb4L73NBjcYuCW1AQSXV22y2ltluWD8JAGE0bp0Sz6AMW0pUTYn2jUva1xVO3IaALU1S/P3GO3QNO9IzSudI0/NjSnEL3OEMRSN8fLtWkFrLLphOFQjnCAps9336TdIENMPgr2WorW/+OgoMePdm1YjE0Swv/UixKPD4Z8lKrQ9VTUtv2GwJ1C13kzWtaBTSn2ZToG0a4oILd7L/oeSWhaj3nUjSNlXU0mbUKcpQbK6RdvciWot8vcBGq9oP1l2KcHN0YpLNOUVdZ1GnjPcJzDf9wDl8idIo1mC83Va3sAEV68zgd9IXy43QahX8gygGptUMDRdk2ryQ4qjFoLUVPJWVs1KdlUA/UXlYS/5witJplRn5hQ/qoIgmDSYFJsJ0oV3OfveLPFfioMWl/E09EeDKgt4huwnxUOcaKAHORhcZ8A+ABD5WDqo73JmxZtwR6tavqa/HMdrq23WATyFxbn3i5BFT2I1QZTqjF05SQjnItQwIiswbc2qvgAvghxjISP0LOm5ESK9tk0djIr3BChQhQuxhM+cpO51cuo1NO7Gq9Nao5ApQ173C5ztzyh9SUt2qVHoXGnmtSKJu+AOO4ttvoOUuitHZ10qwKsxOs9Zvm1qo77sKr++AKfCTNaSZjCNgxcZLkz8ucUsWFv8buWvBQzZC+vuIc3xH8CR4ETk3usBpZ/jEz1QHmqIuIHH3bmJSkJU8SJrdWKLYp1Ri7Lv2wPaLHlt8w1Kh4TElB/1FWmnpk/FLGQfJwCdUCBHhDUre9BXb6WkOwaRffZSOp0JiQ4mvfB2fDrGvShWn7Luyqpjw/a43Qac6M1/tN/w321otRQ7CjHS81qTlQua9AF+SRl4eJVE98mcm4jTgXDz8bxVbeeruZG7I4FvQxSZ+J7PlRqs3cg+CaorVcMaWoQvk5lo+TvSH7BpMAUXnaA8qObuh6jxE6H9UNWWYWUHuyXaVPoRbSAobNV7R80XNBoI9xz8+6MFaoFvTVdlrsQd6vKvdfJrgNkd2f2ETLfGpV4MQ9Wp3SS+AuzCTegLmeXHWy7ruG/sKZnxEdBA5Ymz3muRuMXU/eLeecmPAOihD+hIAe8Ddy5rR+5a0v4AHNQffPaKVtLbRunB/80bnNO/hs5cOqFFnAEtihTAaJuwdQwscX8mqcb6WbcobaWJkjgkp5+iuwdDq7Ug8QliD9tFkB9IE1Q9WKRQ5oa/Q47pFbKb3vwvikiXCrtslnuglRq2m7iFpmLrbBrFl+7a3McctOsONjtt0GEjXxa55CHl8lqGTB9qoXzKimvDJYa7X+e1Xa0VkrJ7GWFEB1NjtaHuw5H+Ob8BI23A+XEYU/8Xp9y72xMX/gwMfXfDrJhv2GWMojZLf6bOwDEsA5IXckpVSy1vlyvJGvczLK1Yf8Zqsu//qtEjWj9TyqIYq7GUAyVnQA0QBmWQIy69XFUqqURa5Cbpb1/5WCEU8/sgtEmWh0wzXavM546CWksWfMiplaSoo5kEcMwU8noHOEixw1OcrvYG2V+/gD4xx6AiH/Oi2LShKUlcmvLOjbNNC2GIrI/DV6mm2iQ8NpNa6SoEjhxIORt2bLshTtdnei9t6pTuZ6bscKiXcpugwLs/AZ3b7DtPZmahHwLVDieYTdDmBBdoXoxfiRiQTHql7yRw9VwxVe0hFnGjY64+geOz4FfMpWW7PXxTIG5LLYl6jv9Vux3Cfq0O5VUP5EjbKakH0anXFu1Ogzbh6tf1orM4lKZga3feWfSBQh9+em/riYIHkyll8MaRub2d9t8acbVcymuR+BE8OAhNI7Uh3TJFuVkKTdr93ePABsqD19HKho7ltesovuMnHvX08s3nFg02tuZkYoINS31dWDZ2lCWZc+dtQoVE8iQBlHpr1KZ94jGrg6s1lzepn/ZOvxQvAi97PSP+kUm1V57xjjNy3ocqkOBP1oFRuuRNwnSnH0sbhesFlj4ZrMDRXVlTZ23QgaR1ngAgW4vUy/04ErenFofI7BmWa3jPuqtIvYX5I7rEz+OgblOWw7tv1VIEGYFbN4gXi2/kbdeNMN9nw5VOawHNQn5VQ+n7vFLoU6upsxhX6dMePnf7DKIUsE8M+1dF2gskTquIodTCfaFDmDZvzQli3kGNf0S39s6gsuWt9DOzqj9wVQfM6H/y7zkmdHDe9IlC+L+FOxacP3JvnqFi5MmiZCMUbICrRSYGqabPhQMcLq0dLBadQzDuSYxLZGdufV9koRcUcJTLC43GuoZd3JOkOUGIuGJIXDUvSXm3W+Zv6L2nGnnLT8tnqfDGZwI08HAnJ42Qb0tOzvjqpX9fMz4mbskNJCfeLjZlrfKiOqJzPG11MBwAZ1GVARZQP9n7cv5GJmapVYZN5kVqUotNI1O+3kjaZXCkCR73M5WLypGbIH5dQQBZA/I5w3OYOhooAzOHjkerTpZo5tAmDFxK+TbrxXj7FR5uqxJa8SB4XxrMWTVSrFLRYzPNT+lDjOoyjwemfd8uow+sB8pdVCjozSaxFrvxalqxTlVxFXgRO/s2iTDgWFyP7bls2vJcskoO5Sgl9RY16KUYBnwRO9nuZiRkPwv58OYRPvtm9RRjxC5j6aFo5saa/Sz8y32EUrF58Bu286MyqMg6N0wSBUDQDLM5AsckXNdJXXunMNowRVKx2kWPo9dUzG6CObArV4rPm61ROX3i3EoxmpOzFK2eXsma/++9m1TTUCQMvoTUPNdP/YT/NDBR7s9LmvQyRBCpPOeXANGHB/cTLJ+2tgyQmZnqIqa8EHH+yrCZBjh2pikOq7qNwS7vxnFMAAA0Cp+uf+CMEqv2dP4J0ZNlQVfYLNwo0JO4D9Ke9JUt0akMkF+hTcqmuLliEVj61o/4yJqO9z12dnMuOXmbKl4AYTlXM8IwzE/i46M4EDQWtsiQi4a//1yrGnabcbqvIfKZoaWh1H7Hs7vqsHugDGExkOqsCebV64XwDO2kKr5vMkWxZ4Xh5tZbwb0IJMWk7Xa0HKBMrO/+qpmlT/oBo92FhYh3cerQKLF4V52FabCL9VztXdCk7rNJ6siN5BnrUDzIzOQDffq/QsVY6TMI6SUge/njlPF81lZYWKWD9ieOn9NqG4Fbg0rnrrdFga0NZqM+H6ystKO1zPmJXX7PkY2Vx7eSgv5gSzbfxr3nAPtl66nD3I7aeSggBmF61ssrKdWgyTzcH1dOdasGbRGwKPa+ZQhK1A9qhB597HrkQC7oOX1KgsuUfb0yGrjAgfDtsnLOTTF/TtgT6TfVdwZLOiBCDlyxsNusw02laZMZt0a38xR7Swlj6S9awthTuCO799y9boT8gOdF3w/JJSCw7XhqF/RUZd2dxM6+ikO/S9SfpCEpns6Ypgh1luVexanGZ2YNvncANuriGb0dI+uhikvfRPGb/JnU2wJfSDMywrp5FrpNcz4SVDnjMNagSNg1N5gyxeMOmeYwnR6pYihmTCDV1eFS8hCCUk0gVyDaPWiJYI4Std9HgQvOnKG8rtdjuEUorF7+h6rR0t+5lsRK7KnzAA84mqsp4VwdZvdLPuNAsV2GuTCA9ybuzZXHoYI9HO9gRuPao2ZGF/vfa2+mcHOO3JLmuSKRpNx889Fnz3PMxAr2H/w0kc/16pIV1146akK0X/cRU6JIFN8kE2Bez6EYC09aVzk1eVyryawOfrM8YGGU/GT3zKNWeGbNp4lTDD0lVQuLkDAygEJDC+U1JBmtO20Z/PvoWa5rdE4wWlDIKCKqEPsk0v+AzEbTVsFgPPtileldfQ2YdVZcl79i7Z6Cs/7jJy74bSW3sKH+XV2KUxrCWOnOzc47d01CGoEaWvxmVc+HXiMsOn0LodLSVFh+aPt9sEv9u76gabJ9xF3FV9lNRm/vBjrsRz5Ki1Fr16IbcVd7ICd4mVDtCVbHzcJtBoQgOCg3g7rNFl2uSv8HsbFMHieTh78kpPQMvjrwGrHe1nlWozOdtLungjzBgI88bbJUvLG/nVBOXIxmkRucYHZtea953YU20jEfGXGCyQfZbNFiEu0rA/Twd1XHcr/dz/A0H2owpZR85FEvRdgZYFEJdUjMclylrZp+HyQHD9IXqe/mJcne42U35golkKJO6qhmtKYreTPXOZMIcXEY//QbD7uzfzHRE32KYSLbjHK5npLwwIovsjqKlnEHdW8zYghuAiBmUhtw9W3HgMiOTVoTr2qHZ0JUCA/ng7hm4jC6cU3ijLWPdFl+6lsIOc6kvn9i2AnL6DblTc5KxnUun7yvZXVPESCFfpxjUF5Hhe3gMbzn14O+gSMEk+s7+39HtkaU+b78cRRJEeNZAUfGgS0P/8Z61xSG93sVKeKvkuNWvZMN/60SSc4WNWN/PlmLZOyLXhBdkGX7NpYLJsGBzeDS3kx8g4uyBKtFLItHhBJBByqu48FDN1EmlmmyIDI42z8ZsZ/lb9iNoSP08xMlB2khEjvQfEfYA80sScpA2RfkWM3VPkbymuRu9/Qrde6erlcqOWfKEOif+gEgsqZqa7KxZOppKY5KQhJoapgJm6Xc4iGmooFi9B+dq5uHipZSMRKDC3GxfZya0kdRUtyvghHR26gpn3Uf5QNTTuk40Yao7hbOVWYi8jlG6Y/nkuuDo3hd2xdw4rvWuARHegbuHZUIlQkJW0+CgGU8jUKTv+nIWDYtBpFxz1oe+PlkZXuRrkUsYOUm62FIn5lbs7yFBeXDnjbhfdmR5T0Z84oC6yCTRbrxZIFO9Scb7N5Wo5mRJsNMrxOUo3xtujr1hbh/ZqLdxuisG+yWHVmBHK9hivnD5F9rYxYvX95lvmoJdj7jGqV76T3Dga0CifdvPZ9RRy1JBkKAa+/cvSIHA7+aLEkfGzoV7A4svrAFG7Gd3/p/TcsqR+aCw/e05YBdMcm6QIZhqcfvhb62tDEzFrjYFKtFOX7UG98nGQlij1jyMOulE+exqt4JSXLwgBVXnd5w7laMDv4hE8qCjuRBJuLf8W3vFSLs8m2PIOeodrC0TxBs++qlOE8ktH1+CDyqJ1jrUII5LYo+QdrfaBJX9e58nfV9PNeKrULIrAC1pGgMj7fegIHnwc7vhvMdrkUIW69RSi89cMpZIqMXbv316+jK3yTzSPiuk6svApOGg+1XbNGa6VcJwMmwswVI7UoRD6nFXaJ6Qgn0tv+FXjy1b+HsrdaTGYJYYK19SFERgx5gn6UY66VJ5PAcTvMjSuPaBcGQl6qHENG8nwk0YUrCak3Qyr8xnbLMccX6Up56SRI0Ej17RTU9Es6J1c++l1Fu0N+2u3WBKHrYo+I5Le/m+TYTfCK8Hz4D1bmdSPJGqL5PnwnTsFnDcvef8gReVUswuFt7hlcOzXRpVBJTGw+CkAcGEFjfzF7CYPGfketyndO7Mkk+bjAdQsy2S567q3V1c1orpTNXrrzYlchXAFnjhWOgo6cDd1bkkTaV2b2zv0bHONdc4f/bLYWJ+oI8t7tvxDtjlZUmSlGemfJ1OqmgOv6PJlJaT7ss7YCoWV+q//PRnFQM+1aD0PHu9PXMcWnynNQif5s5bOXkoTp9MqNHvUJy9dx3UnF9ZRG+FmFPZLR5DiDsYUBzAzZFmGdUfXcKfWsd+ZCkgfZ4xnmEwDIt6pV8h9tT361z/op1QjOM6yd1+vrv+rEaFsc4IZDAg2heBFMvgZmSPdCm/n+iSwSBBpGc8Ukrv06LibMSaTv+1mRKbTdtOzqK3C0VtQ1yQy6/jpTieT/L03mD3/nbgOxzobcT+0GcWRnd2EN4XkLeuALVoolQp0sbGgwFK+NuQseTL9D/HY/KSM+eKoH2rLVOzv+dYF6p9IM8PPArJsp+pWax3Xfgat6SREWJHLC2LHJv+2TAx9gjYD85R4bBvPJxQw26xllGyIUAS0W+HA6nTrSsr7FdqcMqPDvm2aO6v20UwKMnp35Qir6tpNvLBClmGNK6yHKhD5HEl4k3Fxph1Fo317vGqqipMkAHfRaeCOgxudQC8r9hx5LM3yZKySfTHX/5IysNzFRam4TY+71kaowAK/tGxpTcmgfjDOH/sxkrMngMb4m0SrXWI6iLJz8LWktNXvSR0mDtL+efpPpBhOjwChNa6KOwqtJcx4fwQKPFOKWFCJOQDAtmxRHDxQH5BWJqjZy17Bq9zkaG81K6lvtmAFMNxLufHBu9GRxXMoOMbQK8+k850L8vXa0lIFcoJ/EZ9zODZuwPlfEVZHouaBeRio0s+8awlR30rRphMePGa2uJt3hI27AJByogKk9Ctk/sniySytooM8nLabscG0/7kBxsx9f3dEa8C4vGQiwd7WZNRs76IphzmfmDd82aWsIjeSNA0+Tk+Jklyb2pwNXH34L6j0Mmcs5mERbcdMKODMPqOteWN7nwZjL8NICu74OcViBAgV76S0o7dWB8NhV6Ax2Il1Nj19JP7/hAdKgBLRNC0h2Zpou2HyLuv1CumDmXmionArpJfmzovLnxmsb2/MlT+UbCqtPGcZPnTdjiLYEFZPkBzxqRUtCChCBUd5FaRpgiJ/GUlNV97zU62uFZibtnAPCAuNPhk/YlHNaA6K86gIENJFSpDoebY7YMV3yJc9P/yyJYUPJnGAiy3H9Chy559x23+OaN+F31+KwiySVwJdUeSxmHq+1OISzL8djpC1SyC32CulUJkWm+ZdRGy6saxcfnt+Cq8Q2fRMCXSCPFjac3UVCZcQlpFPejPEusD8HkuSh6bPGVKMSPuNZGbI2UJEwpOP8c2w5EuOvXfRRJjoWZJbS851m2d5RRubo5UAly66seG6iHTn4xmi4WruzD+Bh8FLBfniuSZ0ZwsKpV724ACksdmVOX4YqNXvCrf8XimMsSeLFl1h1uJw0xlbGpT48c4G8KDyNpPPydqlLdtMPOXIuNVK+LpGfrC5uXrs7DV4fVzXSjsCNEHq78ZahT3wCWrzqsyB0lsnmdCc+/WrW7YWXRqIosRFrkjgq6QzIWsxOHy9z2jAHKCBHSzB2Sh/KVIKEjFmPcIvb2sT+oh7l96BzDVZJEiLcbV+H9+AmOuBS/kY9GIaOor4KIA/9mIUgexkKfyZ6tdskMdts8C+hLoX+gX3SBxdBQt2ukcSdA2suuw5MbVXi2o2lSz8gNXlk2+agQ7GKDzNZaOzpCSuG+ZORz3mVpgDpeAYKoor5POAG1CrWMnQdTNEDn746IE0rBjDAZA833RxnFp8ssLaeqaief4zcw5XOrhW/vZgjKChsNAeeCXPQjdCumzol0YwIbIdtWIIoxqVEzM2z+w1XE2dCTrdbIISS2yJtYMtWmiOtUC8tsMwC4X5Oa8oiy1rpvMS9+t5trcItxmCUucNLbtxwQNTqmfR0Hcyl9yda/4QKBdl5461InghIeqZDnvvuW2lMWoBPC5oLvjRmjraool0qvGj3Yis2nS6DEtV0mbYQVILBGyT/BE/Po97Z2i5hEDmQ22yIXqG05tGSCp+oTbdqg6O1tlyukVOAeXLrkTUa3xLEJdKFD8T8l7tFdrbHzQQa2HwvQ8leCYbpnY1YbLWgzidKG4PzfSxO+DFY/XmWK64TBfdI4+j3O3WQ7Se0eNM4F7V+I1TCXjORvjGLyito0goGmjsFXhArovnxsjXhkDhJt7YgqUzLb3KmvdO/4him81Zlnr5NMeZ1sQ1NOAiHhmC8ghZcz+ZyB5j+FcoHwV3U03jejUjxh5xlguJfP2i31xtEsA+tGhVBMQOkwbu6cSapTAxb8DGlq6vJT9EvKOFLaobBFwp1a24zHN0obRxT0KqfmwgGHQHPZ5lffAcRAvArZmOgDfgdhf1ot/3kXSfUoui8NFTUP9DrprhrWaIB22hFuvvFFXdL06qrDx1VIA/oYUCqvjuuZJH92UiRR1iAl/WM+YZVzgW1BspMzPo9vIpFC76quLER46KWV0DiaEnbrE6W+kwGFbL+Toy4vSWxpqloFN9SEv4xENJGdPQ6tmXwTz+6tmii3XPCxB+XLoSkAxueSEHLzg7IL/L+QdZVUTxKUWjJW9eHknxqI1o1LuYO0n+QyFSoPVeHvsuqe9souPu2D7dEn4+Ymg6Q0oAemHemUXSSFmQ2ZrDpQep+9XCtzNjiq3t4Y5HrW6WKMYRiLnEwiwbKX3M/ZnF9Wg0N1ImgNaRG2qMKathgjHIC2Os1i5ondEUDc2Lmn4W/q7icB5VsSvnVRFQT4K0OheKPg5ta2qpOPJXv1rRKzfHc9C3YXAfOVt2LAnCX+sZ1VDB73blFrJAEBU4X5Hck83TYP39N8uoeHp9gXmwi24Q2b2cGjRvwghK0TNJhA8MHCJFk/CcJSViVnKpofVRqZ81Lgf9sfHtW1VCXAZx/GJ+Vzo2ywiEprnwMcDoXckAByhBKPyj6At0Ni/1ZbreZDcTaKm2vphAA6sNkLgybEF13vLH3DgvtA1SlyInLv/UFaEpxQXemEFtwQZEiMu1UD4NxxnjFXAnwgkwrX9uKgDl/S8Sa7SG1QMt03SamtFUQxzyRwAMrswJtOjrPDn/Tzdn3fgWuHKDgjvIAs+fhMzEImqERhZ2p/mT6xXQOuhxjWhwjA5+WXA6uWMCx5Wiq0fKOOpKuoF+rx96FGAu/8Ih1xBT+ujrvgYOTtofDX0w14k6U4P2xZmkXwXMzfGirwXkVlPOjsbGEp18Gj6WsMw5RDW8gYt+V/B+GlgpfJJb/gfeVOudNiVYQ7V14mnUpxOt2ohAQSFuMt0oP1Z6Vhk5G/VsNLO23rDYSH0I175fIHWSkn60EJ0mod+bIf7BlJcJnguuSVXem/H7N2d2r9sZ+AdNCH/o/ZCQ6a7/hws2TS7AnHWbAYR7R39eQARq3Y/Cv4bk8wyJ9r5Fvx7wC7UxC7wYpkF90FB6tSwHFwNVlqtqnDo46sO2ypMRXF51u6oqmovB/axV5b1sUZYppm6XUmg+IztZXF+cvTzhs1CGzJlEYSGwp4bLZQdAvAxbxGr6EAOJMPfA4ksX4ksyfM/LphV7N9ScszBVTKLhB4jXLB3f7dZfL8P+mPpnG0URvl6hKvYuMWDOFCS8F302dta4OLUVeczWY0tTTpcP9Qp2A1volsZ5AWGjf5mrq5Mu3TF6PkWkEICZF1LcMvwdScsGObJz33g5eMspJ5IHeRvtupzgVR89EnvP/hqATuSUb8gDKs/U5O/fs1hySJsmxdmrO5/KA81QxDUrewpGj7O8aCRC8uKps4jkN9wKfBJcihln2xvKhdbOpSXPAJM8LFJValvEbj/W1Tu6Byq4zJD4xXu+355PMfyg+ZVACoR7qh4tCQmzRneDbLS78Fu6IJIzeUBagDeFOWZ/xlO5+SnobpI7hzV9P84Bffos1GYDa+9EmCv3V9rbT4q5y4jMan/Lq7vyFXGxLjpTuJWTubJpjGeDHfoVbdVt9FzrwLgjk3XD2SOZhY2xupasPx9fOA3CFUXtSk9BrcxGZiJY2YtwZuM09IOq0/TV9XmBsdo2nBX8BYbFc2IxqcSyHH//15k8Vve+YeowvzlyudFvztBjzvuKIpKF3LQFh/Q4E3qStYc4QGtmcxLaFeeLYMcax+9Bzpe9m4XesnIDvwKBHL/aXdJzdEiZeTm58P+u0rb+igyFr3FeYOyYyxYKa/fJ7V3VDrmmUVTzkR5LFffFCSNtMfSDO4LUhQFVFbaa7EVPfecE845nByUC8qyeFW5+FiMTuy77+HqOg3txxkoyFK1d8FAiYnihp4tf/eBGLwcHAh3Jhz7yMGEj3XzspmAuUcFHPB/ba5Dw3mrXFRmZSbjtotwYhPRkQaKMU9SwUXENoBmgMI64BvN4j2sSzyMOZCe1qRcB7cvTwswJTBW/GI2yABnwNkZ5MuK51ONw407l4zlImeoaMJ+yRB3FRpbE7HxEHOjgxJu/OR3JSWOCgmC29Eq5wekNJB/xxXMGWsmCxq8hmJOt7mZUsHG7HTb+EyhkG0LsLFoW9ZFpGKXYcwFN7WK4EVU8Ycosq/DJSIsQz6earoqEUqO8CRsA0yTCP8PGp4BYFRU0WJLKCyyXvxPsM5S0vLBXRGNNN2TA3tVaQOdEUw89E8c/UAayuQkgwLS2xqvvIM23F69gXgoWSv3C3VXYAaTAtuMt8RrkGBIoQ0jCYBndyeqiklJAxubauhQ6cp3pGb2PnXITwgvbugLBAvzrL6LPeve/CuahXh+g8Nf1udqR8sRvioieGEsUHR9h0o2O43jl/vIuYHhJxOHnPDe9OFKZf3ybp84KNSva5bVwe4ItiWhHglo2XEy6MeIzCG4hPtobl8EmvYGYSMFLRYAq/B1EDYW+FewcJbV+Vbl0jmhmUsVsRwchS7/j4Uinx5Gqc+xwpMIIoeXlizHouwu4EwZmYklX3bEisWwcMbQ3uX7ppEsE6oXYmJHH2Jy8hMq7PqwiKtDPcF0WnscHdRnu3/ysF5+SymmCkRHhS8VU3W5x4VJNO4oSlADb20TBlwsVtRzjMqUqChPaRH0GoWK2D9ZSb6PKdoWqxkrTu7dkDRVt5xOtXfiwQx/iUJNOqC7305xHF1vU8B7gzQ5kSgQYEvgZfSf9mqoY0eisUiS9eBNXMPindeb3MRmcY2OH+SccCuawDmVUJHcJQduvfoCWbChERz61JNdUQJB7LQbgXKoSt7YxZk2sHuZMcooGsMSZXrfyoXOwzbCKBzIs2hp9OlmICrS8XagcXAjCzTqC3GNraKmUnSikPjXLevaOv2xB/ItxTecV84Ulb1edVYW8rO7gQMrg0cu655VXxEcDy25HlDU3PsIUvfFD9AkM7cPMru+K2hr4m1Bn9v2yibBDO/34GFNel9uDq9aWQWxrVSrnrS+bEDWBjRYARrjU6pv4b5h7geMKzeT3RW4IBxf4sJfJ1MXSLeXk0Ex758FQvcsJHCItnoD+YbGhf0dXNRJjWAYhXyVxpe2PFAl+PLE9WePFDCIReIly+l1jHR7YEcIAnjnu4kGCmTxOuqMuQMQF/zRCKI5y9ozmUh/sOgZfSRNMGpN7d3CsGZt3AU8kc1avzeKqkXUI59PFQHtcqZnl7dd/iGzGju4Ik25LQQRMA7Ze+DljWgjAQ4egXKJLFixJ6IVb4TULwCfqTVCPO55XA8Hy0a1bLMwepkJvlghKLzhdnzQn5kRFaZDIwPB3HeLzwC/W5KSm96U6TOsKOYVMbtg8gghJ9aAecY0m5gmbhNdthGLzbL9sYbnRfJ55Ptch8L6Y1r4QHn9M+c5Mr1XE8gp+X/+3Js63gEwVgJAbf40SlOg++TCR9T5xDTYqbR06/zz2QQJLEDe2fm8nifhXo7Vxjv9AJ0f5TbE1ggF814+zYIGzjgEvOpcFwUe3s1UQA2bwGP3VC+NcgL27x3OjC2QV4AWmQK2z3UsZCqWobrf3XoyeHDqJCR55DKzzx+UxsyIOna+iGJSZYMr6PxnSdjUNHi/yT7DsN5dALR/jhxWDBRyDJ6eee102joXNpTrS2ksiu2dIoYxVe+ezKWjOe3dP65zsQtBXSPez8Bkvf2a1e9X6+BIiASVyxKn8N0kD+E+K/mu7w226t7w+Aw1cIDTyq230Q90c7MXel1LIfusoSXxNQFUwrLSxfgsMf+iCwn5DC1/xvUh5c5Dhq+Ki+stCBSnKrPl23MbVrJpaqRT46UaAdFgmLUAJPwhe8Ws64AGmGGubs77uWzAFUcSuqpqQUIfBA56xCixHzcb9YKLs57HgbJWFTAQb6oPA2nYcikzCCYZQFd+r85uziaBi0xaS+Sdh0/nfIoZIQgOEVuaLyW0Bn/ODp7xLwQ3k88OoHBPNSNU7qlTfm/TB34myNOxkuGTIKR7SqJY6gtwUfl0gVLo7/zFwbSnahUUVpp21FqiPOFur7+8a+OR+TKElGZINkM+1nzk1AcIgSct0qAdqKrIzkCBHXzG9Z577qI8YRA3KigSTSVw5FXesyROFUha2qcyod0F5f0JFZiZK66uTrZi0DzYMW6rIOGAI/tWI5pHIxfM2ExN+yz1u5JQ5eqLhc5ev07mQtaOKdQej4eqOOlUqjDVwes0Ow0zbf90xuLz7ztmDYUvr4gR7HGcykFZoP6hMkZy637CgWZGkm4inr9GOnY153O0dBhtueA59u+xUCexW0sP2Zkd1Y7L0agS7jjh5qa6ZaqH08+XdMokgCml6cMgAlWB/HviUN53atdbDegFrCUeDf5yMqhQ0MwlwatsJJyNFC0tTZbMQoN2B4j5pHtvSVgzT0nNVX3AYKyVAVwAo98R7eDkrxCKR2U6+p3C0gAK+mTNA4ME9lGNXDth/3LoOLOUSxxWEXxLSgjPyXjHt//MtwbL9/8JkIfAHckDXUlXAyvpjZkyjFosaVrLnwyDZBUhkH2MYUeDhZ7SifWG44BUaF0Kwts0bqTnklSr5kg00TW2rG6WMXPLbbKAYEjtMzvL871zw5oL86q0/SnzgdJ85lJOVTKIdckdps5vUu4dTo2BCuC78I7fS3gnT03nUSL8C8tdLJO0zo7W/bazKrC8jzhwlMc4q45ZweiqMPEL7CaVh+m5uDya1Z6Inh3LXwgLgKMNEb9mEovx50b+/ZF7jbY9B/20tpcKMwjqAatTDlmjbG1lKpmGuqTnscngz5ceEMf+ad8YyxdoEFEA/VyOMvS9ubxk5ZC1ZcfGOI4OiOfTNOc/lUWAwFZSOeaftT+kgfnAr9GqzvBSWa0vxTccRPiDt7m9xDYWgOyOmYlyJNAiQJz2xQy5aiDizwA56lCVN2JWZCTVZIE1SIz1kQWJAY0txJCM0MaEeWgfKlH65SASTUnmWu+OrIqe8smlWIcWzPqPuJEd9S5ixSQNc+I9gifr8iwmv5whu4Ne3vc+bfreLN1erDsR0LRAQpNeIEbtzj2iMN6TCSEUz6S34cqpxqEIMdjfaoiM+62HiWGRymuIukl31w/ge2EYL9fOYwFYQVsj2KWfGhGOdJilxNM3ZeAx/hsPaNf9iZLuf6K3Q534VPug7vqScu1p7FthxIXQfZ1++dsJCJjnU2D5oyssaHE2zh/Noi0wBu0NTBB9P3pEIWEtyVA1rCmvrV1qc9VYlX6AEACzL3AvQgTNK1CSq5hL5/TSZyDz5IORuupO40IcVM9j7nZPLELcHxvvL52f+r7OJJa2/Hzs5+GoI25XB5pAqY+K5fupyhI7YwgkG0wagR4LZ6wLwq/yjYDs+LepK1R5R197DCrXQPUXfrFRfDA1xGeukNeSYmwD9ECMel7p7UEJoiI4AUp14Q6qvZrMTOWYY7EZunBjPm/8ZLmOYqHHJ5eear1kEE+Wq6MMYSdqz+cOySue1hPbkL9WGAo1FwJoN+adErNjJAu1TGQUeb8YNXlR7Kr297aS+iw/eSyCsoAvDG/SSLJSyAqsN57lBuDEggyGBXy6HudVAxBLwM6Z5cx5aNL+H/STNbCpc+ycnv4sAnZQ5EDZWeCdXc6KWW5Cx5OwOhmLWTxBVqr0egqXoqEenT20oHaufr4NVQfJnt6dFa4d4F8YeJz7SsiY7VCKN7Oys0QRKtOD2r9ZuecEb2Cgo87Nifzh8wh7cAqmcndk6n1QU4QZrZnAbFkIcfGr6t/cWZV/Gw/GKZHGUdsq6O23Kov/LRwllMETyUoXOa7up1mjLTnScudnmoEoV/mAo9iyOCJxiqZsLAoy2KNZy1a476sYZ5ARjECI42cD2l4fAojJfiAg+NOMrODRRz8UkT7270p2e5dV2sSU2MfUj+lG+XSKlayXSXpEytPJb18Pm3IV5QN0i0rhaV7rfmhxrSxZllP7jl0pK2YNJUJzNpd/sj4OViedxji1FOkZknFUtPg1w8AAq5aobnaf+Le24YN3g9dASI1LteNBLZyGENhqs96+EviF5tPrQk3MbbaDuFvCHDVNrQ+NG2kRdzFFfwdooPEQx1EsTVypr/3S5ExZFBTFTDy8ShGgJF2sJaTySHkOo3HkXgYZp15bwWAACs17KgIEjWd/E8dC8ssJyodXKFPOrko04bTsZoBuuqMX/v5MndkASiW+Y4yal3fF+aLxvKlzBkP+XXjKyqmbXyHsK61qJN4P3an/7foEPl2IyZBWmrNvax8McJsaXZUv90ST9inf5SNlaI2MHWcvh5A4lGPeDb+G/3ZJO1IFY9HpywSvP76IWd5VpQmCc0Ew2NTfCvD0pFWFRsAAuAy434i2UQuLEzfF3En52OQrMhGYwvk4deOTI/DBl+M3nLOXZ3u6A8PS+/h7EcAxoyzSNy+U6dnRe/IzNzcDbq9MLweuPuXkvbHJThvrZ2wJ2UhgkgSeTnRjjAHmNuw8vNCEefALrNM3aw3QAoEswwUwezfwgzHgqPC+Fi5fMAmXk1WgGPedI+a9psTIP8Zdl507MCcNLv83Hy42/B7V0x9M2hmeJNZRKxLSkUmj8HsdpjLhT3WmKn1Ac8aygmgkQQ76VbfZEAJdoooOHmc866bPw2BnWbQo5o32r76JefmVgnOVfL1YGdLHXD07heq1fkdFE+el2xlUIhmGo3rjaXWhnatM7X5jxb+YLKgnlG+n1hOoiTncpRH8wp3KhuI6OZah8gzPqmUEE15VJMELDBqeOwGHP70dkjflwEoHw122eWnmKWeM1laixv1j/JTvLchGtr99NzuXSPD5h6ZaDOoMJE7c77PWynretE3hHWNDMJELYyPr09VJuiexbOnxQsAWxfgVtuZP5Gwj9K7qQfMjv/pXAqomvAFeu2tmSM7b64IdaleUpIc/AhlMDNqsmQwCLO3zpSfg8bwH+Kd6UXojxbK4ksPR36FWGSTjLABwMDKksMERmvytiIfdM3n+/Yq6w1/nww6SEF2PvzR4tw68DcuZT3Svqj3A6pVqu6OLViLUKlRJ+iiT+Ui+xPF+JULttIYdwPzaDpsbwxBWYVicsCa1Q65rIbDokzvva/4paXvECZAa+LxkwEmVMYfE/HeIlddBhaE05edG7j/KslmFsS3jUgRg7PeQ9kK4NRfgfClxmhWY8V94Rqocl9scVnqme8whY0aXY7ov+Fw3lQeXgQmZd+ZbZx4FcjYSTh7CrxpvDX6Tcs+7lKZQSC/8hntnfuoPeEXZ/uQxtNNt4laIQQE+IKfrAJPDkCvFepKyg88YiYCZoWQ+yEOTpJVKKuGUS0vYZ5r89oayposcYLFIJFtqNhSznCpKy/ayEW0Ecrxf1eK8RRxIvF1TJMFMShMK1X1C4m9PSWFBCpQi4nIVj8a+Iqx3iUN3HWqknF3AHi2aclZCwovrzAi+Nqor2V1EZrMtqax5voP5kQVHAuJFuRg7QPzTVl+fP4wiVHKjFmNY7Nv/BXlRg84dynXk/VFSAaBRHY07V28KYEQ1dp/sJvAiTeh31FWlEkkH73venjXNuJAOVCViv9Fdbx0Nvg7klLHSUDxS4lF1jp05YCoHnrVQ2D9n4ILsgeVFHp31BlZP/1jvuGYGPADOIHe2HrKG8e69gtnc45tqDeWZjzAdJs1c8kL1/wr66G3lw5it9WBE/R8dF9ifko4FLM/6g/xlmnZhqwStlveTpv49cankanvCLuhSC/hsVUrdO2AIOzpza+W4AF1MfdUVzXHfauff0XdZYUmKkBxWJHTJ1wQN5YVY1CfDkgvFp9Mk464t2JzU5W1QQyo57zQCnZxP7EyoKx5J2X43CbdyKB00LGBrqWJu8yFGzESUx1Uj3NGJOfIuf2d4q7eEZHxLLCuh7ug2jYH+8bXpgi74Km+Rc76AlVCI9waYIO6PpHk+mAIou0rKMROCSGUyAGHCtPNgFSllkgMYuf/1e1RrbwBPkRO+8YDzqv9/fqNVnr4OnOgWDH5LhSxzYHmxGELvUYMXMUDoVoXc2L43wyUsy595JCe1O19PWqToz6tfoTF1xpSE6PPsCuMyvhewcTcfqmyy96mFGGV1LLcSEhvonBgXTCxdmM0bjH78a0xA1yTJuyaxAsdmASrRFtz/Z14fL0lQS+HY6VGGbggvETcgmj4zX1G4k7CQrXMYwTyzi71+Se8c95zzkvj6csAhqsEH5Ll9V8OzHnA7llk/5Z5uNAZJOwQay7zb0icPdYi4JZpLLiDnNCUTBDhkPD5kT1HFNlWZrSmFzJxHADoelGRXUdPVIBAaiPTFIpPdnHdw7xziTgNKfwCNKJcyD9vt8MpHXXz++rtUQtYC4AS3YQPo3XpsgHS7oOWxdQWc59PZolCHjcyPIJKxRyeKLB8nEATsvEZIcMO5ArEOXhNaGbF7LSl2d+3weNCR78FK+Wt8fksbWaUri0fMwmrJDi8aws6TsFyqAE315KwqYD0hR1Z1/YHEAbhUQL3YopHwpPEZ0amK7aINPhz3+MhdUZX3NVsNexEXRwwAToJqw65G1OyuEXwh02uP//wE25Ze2ztrmt4o4KY0+tjB3NC8xZe6+gIzYa3wa347N7TtMjzSUQifEdSEefJklhq3Ug8vNGHQpd8Ybsueu9ztiuNFByvbnATN7Rc1NE32+L08G2p93XpTnZYFmCB6SSzRqqsL7w10k/yzjnUuhedjYYaZNzMITlzayyq9Kn2VYbLNDgaSYWk7gOKgRzruAT3RcdEIOxxBQTyVTvPatrgGRc2gJ88Q8zy17vmEaenSHyWbH0uJMJD2DvBmiUHhZkaMh5dxh6uWaZI3RImRgENjQkKgZgbH+aljFZu+36HzrvnZWKqzC0qQIlf8U6keBn1c+f5QmPRK9cum5HF/UM0Acctq2rM8dAxTdTxtIbYNBv0Pd+Sy7jbnrxvR8pfNjzmrNY8s9xquqamDOWwpieSDUrPTRzTjleUtPV8L2V1Xt0YYzKPUZ1s5P/7nle544iAc2H4H0ftnrN/Y2M9DS4X1C2Ry5y+gMmdag+r/NcL4jriHqHjhOba03kKzVNFWfXbknZsGHm86IGlqtPAxurnvmtANRrrEFL9a5ZpmX7gRVNCqQn8rf501fTrG7V2xA0qgRlZ7okPupr5sboCaA2Pj+1m9CC1px2W1yiu1iMQf2uAoYzl+cS0BKGIbCIgAET1aYreNBPFr1merII5c5rXmd8Gmk/IyxTu89AS/AI/hh0g/2qJuIgDx+etpuntKYn8s2PbSRMi9up6hHyPolyIdedpTFs9xCQyR1LOVbPeco8/mq3LX7HL1mz268FewJ8AMo5xkrQd2jxps0FijKV+zMO78TxVXA18kRwc9xMDS7+iPrEipFk0U0D8cJOvdDKq4hd42lrRiT2sE7o2Zu78isLRQntq9SjA7C/oBr3iqPcwiRHA/FUI4XFdntOGCfhsf9oyBr1FxeFuhUE4Yve6/mapz026IoTGdOCd2o4A9ngwm+WOj0pGruYA1OWyoQTRKPrvtRsEzcjGME+sHgbTY4xIGv4gFLAWG32fpLenOIQ+WKUTDLOjFVA4/fuh/pG74MLkBAEHsMUKhEqlMTrGtsqsyP67ID8LM4F9aFKcFDy4o3UQ+UKOuSMkK77lUWL5fQd903eNC1gbhEXCHotD8devXNIdBTmkh95yebU/VyHDrLGBUtjFmKope52SAl0sF14RA4mhvYfMC71P/gM1vArQf1SGHtqDc2afwB35iGGiSDUyYNDkOjr6RcdKxTZj9CLQn4Fht8U9jXjeiCiZcrWdqn2SBPhSFjJq0n+Qz7yaftFVUWN4J2XG2v9RUcV2/KxOSNMSbGPQN31waZO/3qggzU6J6pdFV68YevXCSLQug2690Y4occjBcUxefdn9NsbA7Lw/FuS5pdjnYXclpPAcQQvhjhc+aZDzdXbjj+IEnM24mych4uI/SkDTA5yUS8g0sUdpEAFVyTLLVMSRnuqXuYSbQVcda1Qr3i32qQs3Li01wyDi6zmX9LZ3QLLLrBEqv85Qc+M+w709wsgwbHj7aX/pju7rBeIKT6iPheD2ckif3IV1uw8Fz7g8ghAGbpSDzBiPcOkLWemhWRqZMqmj3C4MwVVyANQ0vmkV75keX5ElKhSguMG3rFsascv+rZ2ANDjxmF26nFQkU+Y8oAVk/2US5cNikq8xMhZf2W6Vy0ATK9pHdUNV6GUMIzWQLxZt/YHnSvqhE1JJMKSahYs73D5c2+1Mwf+HC8qfkonZ9a5PxrxLjw3SFLE7WjTNkpZV+gDkhbet07l2ScfCzrTwxC+dWl6iEj+l1sZSdDPd6wDHS75Xa/ZTi+DTqfxysnhimAq5Yzh9Yi9Fmxycv9WhX7McAJ/5ylm4F1IHyBL2VJnZkB/MuD0gqXfyHHpCGlyb3j3bYpuPXHg427Gr6DUDfvBaSAynXVw5OmXkw+9if4XVbQA0NZZkriaXPf6t6jLmym0kOXiMySwLKV+hFk8c3x1Xx6aW1ydlXwmt5F8Uj21ht8hxl0z+TPbney7vkRbo80Pld1yHZA5WcIsqeg/ndmPQhF+7SBqvZZM4+RltUiSP6/5Twzw9j1J6pB5T6nJkQfVsx3NLwJATvmO/enrj8xef8KqfzxezhHhQFmmtHMrm+sIHf+vurkcNSiiQ83EymcJ+RkDk3MIjIVe+9yjOAVvWqA4Y9sMV88O3SC85hUb1IYDePj7AnqZGDvMRgVhfm+APWv0DYwYMNH6l7RMLzeZDKAK1DJLh5nfPXXKcqYrlr8R7RUUDI49k7Dni2UE2dCx9aS9lgf4YQtpixiQ2pQhl9VHOFPXB7DpzFtpF+Yg4Fzd09jxm6nGkT41FQwQAHZQzQ48TBCzQFSg0P9HNO+uoxElUiZxdQge+KdIe/rMo4RsvzXQrvoPP6/AFq6Sgxnvfg2vHV2MoV/MHQletCy+pFPVNOZmFudr26dofOB3I87YsY6Ahml+eYjmFuW7z6mFWEL+nQuc8LDktuWeAzqoWef0juJppuvDrYjWVB0MmsCJb4TQ3H6NgkK7P7QpAy5HUsHe+CbpdRxhtq6dG9JUcgQcTkG60EXR5V5v+n6Vztt7erfPcIArVoRAeyam2sO197jWdp9tv2RjtS9Bk2LrKngqPek/T+C7wxCnUPlgv8ZBH6xiLfpSXw00APGQUkwUog5CXsmebzacEgsu9uDYbPOKrY12/BMyHich2uywYLX+NFQ6baNjFHKevLLARSubeEXxikNoQKB7S+LPbIT1fVeuRfZQ6Gx5ugaMZaqtVY7OT33TN8fLP/ZmkKA2dk1eMVIDrp3EjawdSjOOEz0a5KKLGBlMx/qzRqmVVS8zuDuvuy+Cgs82WelF22dO9rBkv3XM5DvGyz1dmU7SXwwqmqFRQSbhirnZPe3yzP0TDHt/EtzSfdbpW8ElEyFSEJ0SlM1O7gicRmiw1bPrp97C50JxRlQlAEuCB+X15fQzyDqXY8i9eIEdiGJWK+wBO9qfqhBb61R4hGXmPCQOCX0++ZsjE2gJ3qik/akPUzzv2gYEJu7sVLlf+sgTaYmExGMIptHS4uIYvaJIJzcW7moXTeLN6Ivv1h8QU0MzJZ1QdYHjcKw3PzbQSk515ASlce0/5eAbOQoOF5ldyt9oEpagf7UwBbIEs+3XCGLszSkSAbWahJ1Y70n4LOyep1949r4mKbSzzK2waTfzcm+c1zkRbHVgObfDl6wGDKPhP/8fH5p/nHkJ8s877cptUBuMfhBEns7fv7GnE/UTMRA9i+wy6bneurUylNY9V2Vw4AjlWLa1UUr49DhpR84pcpgKOdDB0r9GcELMSeFDPoE+M0vN7KH7POnrHAbt6d27JwvGXbqtKXV9R5otMCaOpyX8ktOtLocMgyOwAkCA+J9NqjuSRxiW20W+z0Ax4vGpSI9z1hF7JlwQ2QC4YsYV+DYwHCNJeI5L7AFJhr58K4LpykLJjb5y4TWtRVJhKefQETaa4cogwrTkfFz1Rtk02Kf6YgLtutVqQAl/67hNuepOMggHfJemgYFyq22wxfPYNDwYgWu7rDuRGTzHAw+oty3I7pdHcOxU2ZJH8HndxobAOXiDLQXSGi0PqH62LCkRIDZ6eGWqhlCSRCUii1O9La68uvhJ4o8HW+lKu5zLwk55LMmihGx+BufXPIkZlPpyLjEXB84W5SZWwRQPFUSWEUjGmluhTZi89msOx8vf8ncVopPuGVh5Sc+SxXAoiASpE3TwLC/CoKnjkGme8S+y+WUEx7keO9qeAWfuYGgAPlhlwBrCOeOR9sbACySEXEMz9cb26mJWi5Vlrd/nps0IMrPmxQWlsm0LIxJ9xmjD3sA2N+ArzZSdYT8oZXK8kfmVzuyNC2VoVptvpt+lbc2f2UytVKs00Bab8z8cp1uk4tO8AXiKL7XwopRjw8sK4ES5yG3Vbxw/CEyZclapOG3TexIJT34yQIOpvmnDyhrEjMZz3B4vzYC8c96Ryyxjca5LznFsRtaWmu7IM7wcmdSlgI5hX1IQoYFuMdaTXZgOzvrWGYFja8qOzvOwnm7zdDhclvVYveMEex2prI2tsLUFQ9waI0sFPVkjdwcZBPvS7rtrzVcskUt6QoqaCjLl5oCBh7N6ACU47zffROpPJLKdPyALgfzH8JN59CANYVeUm8ClQ8ruVWiQO1TEu1lnfQUNqQbnlYSJhZJAqU99OeW7x6l6EaldyfLZe2kdA96Dd87jsQkQshpTYpDnVXx+qaYqXlORNOSIJLFsPDP3uvrvo6ug4hftC6EjtBgDWGDzdlLPDwvNBd4CmlaoOKmWgOt1NLW7UX4ftNSBVneGtIG9k/lB3Zl4KRJf34Q0wa4Q+kbBP+HKdB/W4x5ZpHhLAvwjc1VbnDOsJ/P5uhHELlxSKTZ5mOVXj+sUBZcsJGx4gm1I+QTXcWZSDPgsOZfuadjzm0llAhYpwp64OOT7xXO5Jg4DfiKaD7wPqATJ6rS8qsphu/q1C3uKmaLwQt9BuM+GeBvPTJwNyKfhjeMUmP7t87835fSf2mvzEq5iifVy1XXbZ2nRWf2LDaKLc/R1HBnnshtg6bnnfJb0Tomwr/UYaO7jsplEVsWu/NYXu3H8JT7GFRsbPvwxSrunBzKxFWLxs9ftddKx+xl1PsbkBZVvowSipNRfS+XwIMNDVySCLLtnNHjrsEfaUgqXimnAkD5cbHZH8WKoJuO4LZI44EXEBpfqNPFYk1vxmXkFQwJaF+h3nCPmI5mvs+7WOsJoY4Vt/hh3CNVheBTVt0NM7T5Akc8Iioj0I+7ErdWpXf5GhPHLBu+pWXzzSIIYhMegNkPUE5H2Su+lWM6QxZW4c2dlNxtlZhLZfkgIwL/i6ydER0WESZTGlVWTW0s+dSkhvB8a2WYuZ1qR/68gbArPTjJsq9fsgtXlNxgXIpmQ/LUvvr0VWjrw8e7pPJU0tc2CXgo4gH2/DSLTVvd6893wMpzY9GvsBkNxr39RVwFwdBW302kFEUncdGngDg5qkZyCDfINnd2B+yH1lqhPqx2S2CJzocbbSWndGtVQ9ipHpQuw+g77nGZF/UfH/QaK2ycAlA/rKCqFODxcLx7RHe18x/d3zZYFHtevwPsxLh+P2msz5RSYXZ/Vg0FzwsbO9hVMCBHJJBLXlRDgrRk6WyDCYPy7JpPRpkUFtCHeuCgHaZzZd26MfGzFVv5crn9+bTEmwaZSJ60AFORmuEg/x58Rv++HJsaUjwyqTl/hRSqYaVziA15GBH4y2FYx451ZXQJSwyVGkpZY81MM1qFDS/D5bcQrU74TLHFQvCkF3GlE4QZaYagfs/FktCFzpv4k6mVyR53juaD36kE7ZHienO06PzXZl9xFmXwDhoFMjqjZEg5Fc1sLlfdNaP6HRHaO3dG6WUVRPkwesl6P9EbS7T2r3TIoFXj90Cv9USiUDqWum9Ea+nJssNxaZkNYAeKp8axblvC4ocf5lR5HSjATb89qeSynWf9j3Rs5u9JVbMo4lV3ZD377oRXN9wDDPSarFPDfvwaaOe7W52IOwLL/DNOkoMbHccbREJ6Epx07n8F86A2YyOU1FpEKA26wFsopSC1WCbwlLQVYq772toayo7vZ8xf13sDuu1VqR0X65NHjIoWF2M58GskvdXCrS2tzIS4DF0MfAWaBD/B7YSLAmAywGI7hnF2DBWKGJHFTgWCeK0GHkyUWljkw8WkrKBwJ5MWQ8GVhriCkGnPqJV0ZLxzCbcCuAbqsedyELpmVmpGLRTkBmhHRoa2D7teGvD5z2kxOJpidLE4lHsvBgXyyUCl3rc42kcCWKHJJv5yLv8SNubqn/02xip6Q27/zdqqghlXSMc7nw/HqTH1hwkdAC9E7QveFR2KVC/yn+BJ3G9P/6OAtojboY5reOBx+ElLSvJgaJnL/pVFRQCJx01dhj+PYfm+9t5J7mPal5YZkwh2HKYbV4/MxNMyzpvwUVKfF4MHfuIRKmSgus1+S84tZM9Fv/kMY9ul7Tpmvvvrpcwbly1bFP+mQM/yShILvPgC6A/LJeU3pWw8XiKXv55hptph98dulvO7tFQzAiXlZAfSzCbxI3PsaLyIuK2CEo7wq3cKlLIsMB3D9S/2j57rBzLtWyYLmIPuhLUhukfTbaAweogSLcJ1XM1FxtNjKd6G8vxmsc8WdOjzhOp2xfr6YyupTM8eog+SvQ9YAk+4glPHyQB5DXUsAnnEmXjw0YDGj6doZhLOvVduT1UZOtjGU9ngaRZf3i2K6SWecuO89R6LqgB0l4tBTlnL8KDkQhqCPkSk6AYc8kx8rFDnIIj94Lza3E5mm4ESiZKkLTt/qw2VjLx6H6CQofzpro487vpq5VQPikD43FZAo3nc/IX6rhT9G+3RcUTG6ecZ5s5Hx889d+gboTMvT82v/NZ+bKM7pvslMsEUAsGus3CuLB+8Dc6fJfXeO35KD5kSVadJqYOltu94iW1vSL58drYP+wrkwxSF3GupFoPgaDlukvTc1vz+R+yXB4OTPUkWEMVu46Zb2VOgUFi9SsjpN4I/S5drin3bDT5X23Y9aJGNVlfAO1YGTf3O25xHXQtvuyHp3h6Gmtnt4eDW5ixuQr1foBAEB5AE2lT31JpamQrqlr0ZUrN4JPWKAnMK+cBTzjKqCNVL2jN3qdqgymUUC85LAy9wESg9JzdMrzuMxr1BT22v6VxgDnNRK/qwUW4MlscAakbzHb4vDxTN1N577Gmo8isFfHcnMo5zPdt0GPsKsuKpehFLsqsd+dmlpbzUVAnc5D8A4lxuirmGwr5hQwY0kE8T6RbYNf+AwhQgzlJa7sgKJt+nWIyqxMbk79UMSNV1MyI/cJsk+e5GF4SPoAC59qOQe2XrAQxBktL6cjDNTLEUkQyOoDwakxT/5qdS1Eyoa8RvdKZqhQZKHp0QPwyzbLNaUCJOhcm63TEMGA8g9tsaa++T29H1NcOOVFFPGSvAdjribXrXjQgomc9kt1TSh8Y1gbsF4v3/FroQkFmOo7dvZDrpSLFLM4CfKgfnO/E755eQtlZD6El4EOrVVKzV1VZ3buILRjjWQZjzk4nQKI30Tlmt7kxvtRfa3O+Jai7EtmE/3yD1zTR0008BDzJsPLtKj7bbh1UPj6VumLfzFxW+X8DlJjEZQIrrZB/5n9chtwOwz4qk8aYlOE6R0+h9ZROE30yYgTju8L+4u0oZN0AEGzWC1OxYERWxOqIu7ow92C26/FZEHMuF4+WfhNuUxhFEahdqK5iEuuMfQUhh8PKa5Hh8kBkHvhf+HNTDjzRMKBZZD5aXOKiWfHeTTIRj4avSlRq+02C6zdEeQzKhl/ncIWfdeGvP8w5tMUNAQv/Q+YRL5OD8hBJUkGjCy+oRKw9KDUZ5FAhF6v+ASBfYWrhs+74+//+9ayXW6PPN2CvaD/OH1KIoQqkSRE3BzihCY5bsfwtdzXDVAhUm9OmGNLOORv6EZi5zU8KMcLNnSVIZObo4oEsgJk9d1laC0tc3fpPQ/+fbR/8qZjQ1KOsl2eCZCAAt7kUucu+TsCYpA3wCwyNJA48f2PvaODPbxbAWMfPKKlK/xx7k/bJQKBI+45SaB1sq8eAHykxtnQqHwI/5NltFp0cTn1qOA0VN0/pqPx+W7v4ET2A2kQixqtBZOUfUNfZWLfd+Mmt6uNnDcvGZPWwMxYIiw1p4ty6eEjtYnDqcLDniu7LHJrPrhOW9steY2fw20zjk0jxaaXBI1wAIxcRl9+xNY+uFyBnRKG0gWykBUsNP4H4nBolcBwPfWyIozvmqE1X75NV075U215aSVDoJFgz1V+yk9K+GnCePzhX/lYWX46ICwm/dpqvtH9kdREfnBBBpRbcRc+QtwXe+U6ylFtv3DWlEZ0SZ6HbC+ajhy2xG8NeLbpnESExvVfVS5HxDMRbevi3iJk+rCqE7QTWGr7eNZxdmx8dC/e97gNP1Fl2v8h21nx1QlgvG2DQwMaeelI7/Tw0T+Q6VRGARVl1B/NaIVEqJb2cckc/os+usEnaoRqBTzxmJID9Thb1f2zC90Gf9/6HzCKDoteaCqq5uii4yvKOfDos18bpSY8Bu98jkK/s2dTxVrZ8SEVmZpedGt/2kPXPHBXegTnODtHtNnSpGPxNAOISC6iUHjcKgG7v6+L7Hw/M3r8gs2M9TYN+R/60DpRnbVRXPlCzGJegwrG3e677FW+gbq9l0gvgim1ijm11wW3ZoZTTMZFI1Q5WlFJtUojcuSMkXWeR6Nbu5/jCYS45leznqz3d/uILwQ4ER7+JUAM0vUfUyebUYuRWIxPpCtzrKZHeMs48P43HKG2/6ODDSlFUHIF7ZiiLuJOdCWAlOEjLO0puBiwWE9Pq1ZsmeFlx4MRED19mcd83GqpgUz1nUWAuQZC5N/sfrnLTdcAXGBtX/PJGo59imQUfd2mIA5iX5pXXD6G9uKjZ430YMYGIfFIDEqjSuoO6YmQGIIF/cnnVJUU4NAR3wXPOTMwp92KZpM/rsgcndpDkcVipmMfxR3UEGBcrLiVM4QXuKY6h9zf4FAs56jYKFqPxAxKVoKPSdmGcYwneau4eJG/c/6Zf1dUOGfz09qgZyDKcGe/bcBuPgl+Q5ZRExolSlNGwf+MEubh3asT+pAw5fnew/8jiyAz4PL18H2lOkVbtZsAtZ77Ch5gxnziZTOkBcw2v4s9k+QA4gmmKWSL3XLAERUcSMhQgO9192MSUXhIbmUkcpVllDljau/aSLGNboXjrIyiYzppIZbPUKZSe3WSMr7oacNx8o+mLtH7RueSSb6CX6SijprnU9q5vYVBgv0HMxqjD6zdFODSPtzcxvOM1Ae4kjzoPmwdVlbl47SQHuGFuNMLDpY9vtPVYSHRMh39lAy4GKF4DRAXwcJEUnTm9RLEfDKun1839c9B3FHRYwPqrCCOU3cxNgTID1eyXjscxlpO+DwJcJ5idSeD0bluHAb3khpKnDTylQ+d7PuCVzaCdnbh2/V9c2N4M+dDPapav92sEO4hnW437+UrCganzPaH1N5lvESAWv/m/nSZn2EPQXSBZWuHJ+ZWaeU9iEmTJy+fSbKXLzloeHcIBZF3UyjBs8VH7DSiKTW4Curbe1N4ZStn9TFe2sSshI8riKVq3aKpaAGs74UXh1fihvP0g0dFnJzZVyXJldJjzofc95OFItFTK2P7JoQDcskmfurG81etNg3HiILxe6CHMyEmvYfQKCREigG0JGUjCUov+XDEiboqqtghnO9PdOmkylJdGazwD0uE+DaChArdgbOkJfLoziDe76PY8ttQa/OoOKhhXsSZZfOolB+PRPvztFCoT4ykl+YYzlo99A6pr68umXAp404pKfmEUfbzOgWDtqx4+Xkc1TtY2K9L9p9KvpbLSMktNjzG8ir+D+32ro8aZpS9dff3R5GQEtLPUB9o9/V2j18U5GkVmVqdsq78NF9qNFC5xL1A2WgbSV+AA9LB3luFdypJuxgYIJC363drZ9bLcIeZlzo1hR6n49P4kYW9jDW69lHnbgYBpWFJ72Gw4e25QKBjTZ9wZQttrjg1ML+nL8sbQKFgnz0DXPpljyW/+C0We5+h4rmr/E/iJBl6f4K9qAh+lO1+0QHqtaVTPVB8xHgOBeUKJz2/DqphSTCSGQG8AgC5IqDHjODHt6oAjwnU/bB39JrefD/IbqoUvrF/sHvt5iF0HgsLPXc8BT5+rf9HajQ6Vg8nQnu2ZrZ13itoGguQYdcW1SB67qhTy2SvOaN74DsoPRhSTm6f12BY3KS9Y/rggdiaNPYPlJs5lsqWum2fP6Cb4/bZm55waoYV7CDt9rdEZ8O8Oaa1BvYgsdrUaVTp28vzP0QkgctivU41Jp81gnMXvMqK6+NRBQsbtNtnaZpQJayhW1jhaO0l6CaP6X0mjeMUyNqE0jW3wr3NfHsVXGwdLjY6QeaI74ivd0qMzqjLE75NwninwlMPf/STbyWk8OS0wBWkQ3/F5/L7KqCf+zP8BgIbPQb4xBTalLWymDQh/ILv6h3skKB+aPt2pxHYbCgRlTgzOsk7zt/7y6y6cFETxSLaj31PEYFJiUmhJFsXd+F6fblGziver1gwAykRbntSmCaaIEEb+K8+tM5lHBr5/Ajnq8XMTiBxs+/yxKEi/CJHCsYEq3MW0FrtkXRA+7ntG3eC5dHLNEauHAC/n0jzCbCIETOKO93xOCgq/68qnrV4hVZlKOQRKEXLx4tOt4aYGd3FLa4tT9rqZYBPUxdMG30giIjwPdLU22VGUvN6uK7tzKJIUGGj6byDFyIAEpHtBRNv01t2KoCx92izVHlHwhVNTsLbpRf248PG7lsU6Hhq+vEgSUUTXCk/bXi6/PqQT/tTBh7Ls9s0wv2Bkyeh+Yn953igUeOns372uxiq3p06E0D9do880wS8VGDKSWuLqOnq8MoHn9R4w10RHcvU3QAHnj8MKKgNsvRL0+yMpi399yceB9i7pwegO10eCtVnvHG9UG4pEXagX5SeM2KTnCj7FO7/Ts5DDgSqa7iRb6pbVMVaR9GK+7V7G6CMt+i6vYT6xUzswDaqr25wfnwrDqTnDCGsqzndgawedTttNFTDtIpBL1TWW/weGHdQwv4CmvURkWyiFjh++Ywe6oa/9f1Sp3t8nVhCGQq/NzzuWFBOtsHgADoHCe2By1eudnxU3nnMEXP98e6oLYBwCS19FRkT2C03EHixRgPoLN34bt/8HdieitA/v0t3v0/Yf6I7oAaw4SnA6kDDaFhHscG+L61c8SSBzph3j/6uvobWdt2Zu4CheEH0YP2o4De5SAFWK+TXmrZRdpm8GCMVFHL46Cxw8U/ebWomP5TiCDpSlaXWDMYVZTA7OCr4/UH06n3id0ZzDP+Bqf9WgFS7iIr6tlBTzpGNB/Inmnb65UT3MzJra/HYkEbx8G8XAGILfjyOraxHcu3XgmYW8g+onU2Jfg1EHG6g09B5zYESVyuCGHS7QhVvUaUAz1FR6zgUu0wdXL30Ywt7ijVQcNLv3F+WM5eBAGIW6corcf+6q0skYF5tVd2AQkn8psuoRF1/+hFC7884AAQo6AadtpYX2vcx5G/4NHVKtYh/9gMRf6Cqt7opcZmeoBybvHGgXE9jPLGDr6HorTNSZ0oOCKOTFr71FDizjbb1JABJjmv6h7LgGymqKrCJ8skCQSCdOoP5ahaeu7Ic+En5yfbQT/O5jDr4GjVLONELTgVUtD94U2qFtksxcp65hJBuh5Xqgm75kq1w92dWuoVo9y7uXJ3TDsMPkSgh1sFsK2euWWcffzla9vfyZxxyciajinbPYwgK1xB3Zf9MLEllcTHbWvnhPN68YNLZ6ZRXkKGbi3GMyz4RiWAwlX69DBbwovXoOHLm8lv5K5sA7tgZMFYAA7XpBmlqOQU7U8rFLOZs69iXHDok9YhJv0U+B626YmThjcALrEGLG4J9bXaT6bGyz3GBHkIcKWKweRwweJ3cFHFfCD/8XYi5Ix1ShvK4W91i9OmyLgXHXyzDyIACawHOc/OzOEO7IcZ4PRETt+IQ7UJZ84d2Eeoq2HCMUous76k/5fVEqU85lKgqWPPquaOPew2zZIgNBmLyyEDsnpxyvFeuOoxJbcbO0qAU0Uws5Hs6ScF2NpFg/9pvfRLniCyJ1AbiDr9EfcOZjwslMhPzmUQIIUq72o6xvMOFIjdFly9oIhh7lWkwwSPG3TLdRVcNTxdkDEEnW2LFTrWDmHCpkObRW+r7YJxufPGh2ASRLllS6itYb8X5hAOv8GxblgM3WUuRbHOmffYh1ux95xvkC4WoMNh55D2tCDvN+cY4H6e4JuM4cNJ7Kn2JW5gBX4LzG1yPX/eVoUiWHCf9UHNZi+8GHA6fC5ZA7bLU7lFvmjkdxlbtARQCzV/tzoDBdqOtOWqwbvk8p79tX4KNVYTW/uI7EMBIliFsXdQ9lnuNy3BPybcr+VMKNBBcEZiAd7DwKKJhVrX53wsBmqGYjja6NtFcVxeWk/7lo0QWOACJlV4k5ClAAEK+4ngOIkpb8NqAgzBJTCw7apr4G3VL8kngjrt5Pf3cKcVkt6NchpvBSxiFr+hOL/h/wM/T2CgYN/8wB4bmwrts50NA/bQbakGVH8sodaMHWubbCJ4qAP/cKSR+iHDQmPteMf4bEpSrn7nX5ho95cfR+IuFl9ZSk5Dq4Pg/+Gxl4qbKtdPhN4JwKYHzoCLmEcaF7VAcunkngAenelMtW2u3s6FpIUvNx0ItPm9Ze/rJ8KamwkFiufnYxJ628eOh62pz+5j4ZRpTnoI74IvPKXreWKb5HwmnfHd6/uS7JBEGrybRxrKPbVMkhuAb2GVLjBNPC/m4AFnKTPRsU96p4+rENyPDpLXbTgfaY2aI55eRWS/cvNQn/C7VNvQCsnaNilFbnpUxW7NmjTTSEQJHQkLCrlyTfSy56Xj8mVslWZLSxJH2E+j4HeB5HznYgstacm05/PgWl7xtEicaYS7GUGSwGIEgOPs7RrNUBlukQSRpzcYfD9NCuAL2sxWVguLHbZJA/o5WfY0+t44nhHoAdHHHz3sOSBMzOdHWemBYZzuhI9QF+N5zVNSxRwLwkC5i/wDKE9hk5tZ87nS2Ygtuu/eLZMdStzddR9CxFY6g/8K36OeObSrQ2wWRrZ0WUD4X++0ZVFsct975Tc6CBB5tBNm90RcR8Pvhpd3ZnHgiD5gcin2AxM4XX9uvKzzjEXFiKPlVaKUK0ES74bBMdj0mKXWYdq2kjH7EqSa2Hh4TMZ8+HGoJfFU/sUr733FLMni6rtZAgl9BtB0flETE/jjP3UwMp3cWdESTmowjQkGOyQDHi2H1HkBL0w/eXARncZCYSxOTbpBaXA/FI8DBE11uehpgVb9jxYJgP+w43siNioXw/C9UYdbdDRy4+T3q7nEiUb+C67uXP23XBFBL9g7d4W7BjZva2CmtNvF9VMBKJG3AMBUPukINGG1JR0eIxQWKY3aoRnrTcU8nSXM0GXgJ+NuOiv/YOUPJp5ZjKBY/MU/y1XOgVH1j2m4FmSnSFZm9C1a44iH5e8Nld3vZw/WJvt6qw+IITBANJFCrQmXVVr/csgBMMtsW0aYRGrEUMIY4PRMt4XAo463MPvJslMprzn0VYMRp3cVxtavXKN7o8qGpI3DX0kWIZP+hQudkSkMJZy33D329nJq0jMoeeEnChREWiDpjiB/OOlKF5iOskXmhQ/X8OUMNB0SaYnGGtkjS4ziBU5vTMFsaFOv3tOLdGi8lWW4uFNDym507yBKK2AlPaPztsEEC+uMlBUuWFm7Zgi3gWT5W2oMhiabxRkfAZySsShsxCgq5pwhSwMu1xiki9kLmTUx2/3J6bPaJwroxpCUW85ncoHujr1/hN35FSrdwJRZuGJ5TYQe1YGbxegf3i5GAYhM66J1sl9OlecYrivYFnl9zEYO3mKi1cF0DIKTe9KwRBfpE2LJQKXmKt8yNF5Ng4FTVht9/69Iw87ipVvn7qWKrDyilBpXfYI0rWapX2JzswqW7wBqkdo6jthLUizrU1/5sPi7p+2GPMU3eKEhbd2cZR0x3GjqJeElw5N4YRsaqdA7r5WwaDh6LxXNXV7IDxmoIBQzilEFJVagycDz7UOfGW6ZD9Kc2AGMzA8ehr6phiUm4JOKbS2Cuwy4g8QUQpr3saOoaPHRIkrk9J9zwO9+SimleGs4taAKENQvsO+el+pXnIfoWP/DvAeAY+tJIoDi51bPFMFzIdRJFECJKZio8DiiMPrACKnCCbWIUOd7vmYZz/QE+kd083h0VJkUIEvlBffv39mrQS+0FXK9MeLknvIM3Npc8YE/a0Yr7YTxhzYHRYDeh+rG06C/JJTLLHUCGl4kSsxSDlqFnoJJxR7CetmlspEXNGQBTvA16ZTNo2YlvaWhIvex2IdWkre+4TxaWVC86YXAAjuiLsZ14x06ccppmjNEIXeeoQckT/KF5WJqFNkkRO6b9f17nxmlwpecbvLovxtGBwEMSmkHcm2FKFV9GD3PP7epELpC6szXkeTFATJQE0mVOOVMefEM7kHraJ5tmubBOIBlcom5RI5X/cnpSThk0UECIO0m0gF5rkNhzUeQLxIsm9QNU8qaviRXM2Oea+IQX15NgeqngS4F2rP0cyEJKd1htwp/KKiro8H6g3fDfLpMTYDW0R+4MXPVQFcTiqVqwvVml0T+KQDpP8Au6mTBh0wk87BjWH7VqZu19jgzM/duYFwAiVNIW3D5F4RiadCLm/6ZOxeUib9GGcIomY57382SibnBPNfeezpjdPcnNugXOhhbSMbMGh0dZ+YblVMymnDsV9/lmy8Gkb4VM9pXJpjwY2imJJ8RsnZclZG4kaAhCYQgqPOCCzMKSdASenjHE8IpY0FoLX19FiOzoIgPBCLCKu0a3WQlD/J3o+twR6QsBbujefcPofZL69sJm1Bzfs/0lfghKGY83Y5TSQnhxBmdLl3Se+lAAAeyU+fwYZRCh4EK7PW94qLNqRBz4fWgbue/Ke79xsrcv93xgyduU4mIZZeWNoQwIL69YoikxPGsSG2Ej2DzFNqG+hlzHaRdtij7/fBYH8vsS+xDiY/2mt/2qrvoKejbhL/jqawwiZb1uTedsupCE1cj1Kr8n7PWXAZjBzAPT8dbpOfCPQhz18ozVQiPtdSmtcAI30DBSaW9UdGCFyK2PnVkp/+5YmJBvFh8fe3VFfPrg/+sBf1DAxxqKcFtPNtfULzRMG8WsYOAw2pZPHZaTsfWVS6h94G08yveXuU5Gl22OaGi+CZex8cPNIASe665RieuCtlSVqzvfo+1bm18IPlIxClltHJWO14TuthCAunLWSoEeF/6hOErvmobVPBbV1ZJsgIiyUgKNtEdnYqNw0+3gNUaOGdcWarPyQA43O+QiD1UtNi+3Ubk4ok26GTqYDa4vcy4WBr6evyGBLf4+0XdeRM5iJnNe4EtYjxivUDTv1ktmgonvuUn7Qx9NHDWwgPVDrOTHpw6jy6AxrQr2B/jV95pnBvUlCiISdDN50EIUHmjHtmYWI5Fvxn3LHUSsueiE2PUfWSmEO3cnfOxd4trxaxKPotgJagx6pGsbm1Wb4YC15F9JgY/lNmkwJBepcZRAFR8QVkvHGk7pVyNGQa0bXModC2E0fcCBFk7X66ph/HxrQGvK6OB5Y4r6CS5+lu/+v1aFxZmOk4cWq5pFlBlRcwbeFYQmgZ5zK58MgeVthypnZVU1c+wXGtE+dnjSjI7Ln4Ukw9ZNacSX8fNTwrptC/EelySa35m/di/3PGzftw0K2jNgeqr2/WcyHzIRwKjDCvRiZE/HNxt5zMW/zvj+UxrgwdIa7MNCJp/jhk3SIRWyAOCoJWZm8bhbU/UzTdc0ot606TdY19jqRsWnRWtTM7+nyS8iOxJZw1oV9mk8ldxtp2T9LTcxc+NSkVwpBsygCaiF05UXe/8PFWgVYEEhn37PQECGu+aC6DCQlNt++6UZXITMrqqxc9RMokGIp4TIGUzNXRE7M9n4JXdVnt5qM2i7Za42oCEVH5M7O9kPZEm7CrvgPH0/hA003UwU0nr+QRgakpN7p+1k59THaSFcZh7Tb/ibArDFfqyZtc9im/dG0nKoABLwoAqgy0TzQ44xPhJviNKJxeIWPQMUHqQOLBso+0ejFdH6r1nu/STjTyIygFjsTizcRL94Ip0TQEac0qOCAvq2LVOLnPfSHs5uSisP7Blsw6nXed9gCy2eU67n41O7A6FcCatLHi1QjkPisS+q3Np3NjNR3TPg3v3uH2u5udGEqvGtdInIExnzxGFXux8c20antG2eVgW7RNGQrHaSuciBVifyO5llZAarkUOVhnkICN10z6L6d8bob5e9Xv0sxct9FXLRndMzbvTv0E+65/G2QE+ZEUYZpYMBA1q2I5SV6i/59pQK/NHTZxo+un+MxRMZs55bsAIH66cSJ0Em0nljgOWP9K/FzHK1kWbMLhhLeIxRqzDFU37e5upUrnMHHg/boT+7RmRAMsP9ShqM3Futlr74cN3O3MND1+39516FAsOEP7/65ueGO1/9Ddos4VfCE1cZ8iWQm7b9rbf+kjivXSjxmhZYFIghYaAOMOcpYG6E9fqogzBmR84AL9aOOEIdjvSPSyMoJkNJnbTmdatbEmAs/bE+neTEIdBinQObHxck1dNmgjtOh4GuVwx+pmbJ/qusJlBR6tq9RV/Fnn9Hv76D/qdvF4Va58bQpy3W0Pge2UqBTt4vsc1agT3gCXO2uX3YFc7Ylx40937pUMxt/vK4jsKKkL3VNA5oiE6dQqbdUFW/lPJC8afV3qNlAZu648M9sNZXOhgnOnk/EVVy9u/w08fC4cOnTElChsebtewTBoSVSZyNTbdT/7MuP99BsTSDsPkWj1MwXoppjwcU1QNqYm3xNt+HzndPaoXHPVSmfqtNeVWkzSgHtBiPA3YVtwF84qz+nkln1+c+UaymoOC0lbRwZCK9YG/J4TsFgUR+ZA1NVfbXRWpwrBA1NEBDkY+Q3EponA7xXWvZBRN9H0B7//rMO7zGIMJv9rK8NgkQOxsCPQvJjl9ApJ2c1FQ3pDmU+OOeDWTdcm8CCbFuC/56PGWyInhFY+4YxY/MdWyw8+07Atr/IN1Lld/DGfzfqdOvlirowNkaUu5wsWRvj3g4wvH7V8HKARs4X1kERRnASGwQN9xcFj+apa5p8esh3n5r0Kpm5ocUSeGUM98DFMIEa+j5eYaE18FT9CDCljb8sy3HoGx3YEmseEdx2fNe+osv66aB0aXl6OclXqwtuoLm9H4jIeniaSAflKGJt1z2jQUYH8B/iXuzJz1YfVWsiZaMQJxuXjqhcrW8E5HBxOFV2uUnrQiBShmXT30fY+suwzp0ig3etMUQYFIUT2PS3jUxSkEWesb5LMPi662Td+ATk2h70ELbLQ8JnI6nkqu1tI7+JWN0uYIMbkE4+aDxE0Z/S0/dev8bDh4QyulxNqUwBJPRFbuJzgHHcB7MTCBE1rnRKuKODOhKvwwAeBIPcpuy4zdkNJksMVS43nQ7JboyVYcpNjdsgnWQkCbIhnqcd5YJs2BhKz/hi+6OXCtwFUx9amADpRIQJ5Sqk9SXyJ8+9IlUKvf7c7/jHkEW4+xFzMP+ouA/7CyDYEr0lAojQQ8XXnFh3ZVKRtn0ia9ROeZxt0KuioSj4MCutCH/wk429Kdjw7WJfXvCy/fNgiU8eM/wRWgreH3c1TMpKC4uuvBmICmqlUCu4eMQ//HjAughttrPHpvr+cZ5wOSlZM6/hP+QjmayftEppv4NZgZGIHIDEbAQF9WXJ2oNchwUwsrKrsa9cz8qQfSk7gAu05kHGsvlB8++NCDTsWQDpOivbmTWBegPK7rNm/jZVjxPDWjefGtAYSD3g9aqfdtJ2JOildb5UyWGf9pzcaBVkBUWmVS2m0k+yOdM4c61NO6myXinuuE+yCORZuxiTLIuOyBfhIt56eK7qiXIfNFWvqT1H4ReP3+RBU8KCULlT8bna+R8ckGQmshJBRoAfSAy21AxEi8VGndePVzNuWuihuqXV7eSP4u9CDouJr+nRaayKYfPAgW76lqvyF6B5ryY50gpVsKNg4hB6rE3LAWy7CkmTmYPvfQZXsH0hA/89ijcJiaPqCSo2tFTLiMx8RrZ8u71Xc5CSva6KOS/7Ddokq/z5ziIF3LVIfEDQKDmNfCGHH7qH07fwilGFDgsxCdhz3pPmUZrGQDHj/+CqoSRQFIHf7jyoVL71H8jS5Ebx/IPdwvSHwZ9ixlLf53olMEjPHxOOrbUkY5wFtkfQJ2TGSUwmnfI3FZyE6mZVDf2+B0AgkuiqmBTePE3cRx7v0PSBLMYuClDPCWUCQcDs6TrgjfiQq7WsLBlKTZpvy7WpMfxTxoohXExcaQvXplZr2n/qT6nvozN3aulM/E5CALONjQC1dqmv5GZuilkj8BL8E24lbm4Us/S25sySJY9wgagTaUjdL4bp7KJjBLrO13NIiAvWHT5Bbxxt1+JaaJGG+cZ+WTM7Zk+xwC7IGEhf/VR/fjupqQ50eZcBFP8/PL8A6ddnQ/LjAqIpjV6jEsVKsCBwc/k8f/QSMfBItqMD+YSD85QFZBIvFTM68uCCu/6OXdZtMCmjtbbxfGMVC43Zm4EtYmLaLRBUhM9DqTf3GMqq162YCHxPeRjJWxudIyjafuiiOQhgL2QboFmg+6ZAwtmcEIffRta86AHgIsHUlBFgBE4MjBJvccbirexj2FyvvSWueAG7BOVR56G3DG1c21ru3VS41sf++OJFpSEZEUwZKtNRPX6KZfbOdBX1YLhLZTXcCS8NfbRWWKAKyVW45RAExICZessfSaddfHIHmiq8LpH/2f33Hlld1qn5/K9Lp3/Xaf9C/OcTK1z2CMQs4j1ImJVOfPdWVV6jhJweUAeAl4VZ4CXOgyAJPTt+cYOJXCzzfjZRmlKu+B3e49Y0UUkxYxgUiheOt3y61UmJFft50aWAtCeS8Ab1Jb8+xkBPQSNMJ5jXj4PJtofyyJ32NLqYS2fPuoh9B/Z0mr7UQ1nA2W5BKlMdabT9iTEUv2pxXBNcTWFLey8X+349YoliMu7jRbE/pKt8HaCZBp9m27o+duo+TVaWW+IznPJszi2OEbZBIy8Fun8ruzxnlmsrQEEAly+ia9+S3rQgjvJIIG1uJENUXonfHsHJOQukqRJAOjdeu40kSKEfAo6Z11SABoEaRLQVgcBs5uQOuwNiy1/h5UYDJju/QHBDcHdcb+uG3Kx3VYXJ9hd+QR+ltkOtjiBzY4j1DXpGMZXD1FtCe1OQZw2QXlbhF5+tx9LxhNvUA5zQoONF4CyVbOoZls24p6sEHPystgey9NBHFCqsMxFGVhZmFOhPFdVW0b+rmW2tE4hnMvFudtJnIyZ9n58UIPn7eZH0eiqSAbCgQ1NeVjHG84s/Mh0OMmsAH5A03AJVFIPJEE6V9ZLR39xsrKkza8bs/4nZtHVqQIAwgejUj4puxVfFHksmLecmCFtsiA3xJkyC5kAN/vr9Bw36hmSto8Hq41qyX8wjvVaeEuCK7FBkTVLZjluXZa6VNVt5JmMwVkLGsGoZEV27WRlNPJp/v4HwIxVOuXW7QYfQ8n8Q/EvrlkpIvFiyc2X4Q7Wg8mAm4YHIURy4hO8vFFVagvf9qrudjml8Xa8fJTVg768JDuNQX1YPih1RFuup6FSsEBePmac/ZZpvYYOjfGDo/0+1VqHomrEmvUJC1iJbBYnpbSMSaelzsJfpUWgV1YD/PiOtAePqTV1LY69bhMNLw7TNBgL1G6g3TZkiRwoKGopsmcoNiPtRWxQizu5qJLeLakgQbUqLFWIOo2EX7nm7F2U9e3LSc5dm6ex/vWIKrUyu+PNMV6/7OA/mBp8vIfFDMBza/7tJp6OezU/GMC8ojfZYf3/S4J4pfE9ge6rZWi6XfRn+8PGa/R3ODBNQW2SHRZhTbuK2mTKRIa7WIW8onUr7mraWNrVftovmpD5TAh44r+hmK3rUgbEp8Yov1WdhXFbMHNji+CpUikpB5PXqaJQtUEHi3R/r9tgmALZiBOma+S6ZWNi59ZTNkemG5XgotmHy+60cd4WyweREWSRedDSle3aSzLGk3ehZyMmhmChJtwrW0q403Kk5gXxnCaVcrJ19FuxNFXM0LKghwx7cs3d9H5cz1s26/rAQXfejflXEpbRKH+UzLrhy7vD8w/N388YOSmXQvDeVGQykWuB8G2YAhpXWvfHRw1fak9XWUbW4pHPGtCFFYnNohkCzJemzU1udgxwepQlhEHeL72Te+HBeOK96v/KNi1oVt8TR3hLGB4y5FKIm0PBs59SBC0KODjINB9ZJGv+w/GMj8kVBRMgl8CcTNTjDlcv/0aV9ok5XjVi2/xiVMV7mcabX3UO9YZV+xElF7oqcbm5VJnADVg6RodhcVoW/TxeYuF7/8VMszS59F8w1sMKynwZxmR6DVpejN6gi5pzG6weOv9fKKUGAPd+Rx46nBS2/ptMnMlDQhNtnDjVQM2IO30TmgNerH18iLpWJadGsfiRxT+r1ILbFoxTvv0O6xgBMPzEPtw4mU3pkWMkkDciGiaGgatF0ENCYuh8xzuLnhVOZciWYrA3UQO108fHb+PApLAHmMpxopFanpf5OPxzrnueatEtZpmvuE0/xlvtosYODTgPJqrqbrpIr/aEB1LKx8eTosDV77qJy1pF2tniE+r/OL543uVYKIjg0kxJnJ4BHpa7b0/mJ4VbYNFckJqt4oCgQvDrwC7elfsfyMqHDGxuErY7iZXCYj+OVe40AbkKeFWTvrkyQQeqOfVynMFWEnxVE/8O+XS4p8bR3IXz96tLfeAmb8IJcaEjmJKJbMZh+eUaE+qq+s2xH7lJ1B6j6ETQO9qSt9E6LSvztnVnsK3MBDu7AfigvfxW4kOpceILbNs69XdsOn9fH2sBoRBSe/Zhium6PvLGcakUro/VfMM0dyQ06Ryt+Te5qAS+l67ot5XJsMer+GOrwtZZE/Up1hyI8dD8t6TRAYAYPcbWx6qcCjySWRDC8Dlby0dJE4USggJzv6x4DEAdPb4LKc8T1hLsGM2VZf9tVwTjgHoAaGY4Koncoq/cUYLRnpgBdjldeGNb2J7MoZpjrWOXJANQp+iBTwQG46eOvEc4isg4gvfHQL/M1nViPCFWEaeiw//ZVfb8InVejeTHoIaZbTz2Eve31r8YcbMHa02ScxOFzv0+XYZUVCHsSLFclcg2RMuaWWpD3WoZnCIgfD9EMEhdcZAR4gw2hNQcKvfRVqqOays7W86fV8FkeNgUnJ9cOTRXQS9cKRoTyDOTdF6lx6muVQVlOouBK60clHRwD6T43/q447aYnpkBaIBwPiYUnZfKoa6iPtvDf2ZIozYtn8zhx53vA2McGM58Dljjvtl+AWQq7kZAekBede7shWf85MdzTl/2nAWelbXARtyYR0o6dBLDHnuVQ6tnqGjii4QzBoUTSn9YxAfkBjhGrp+ae5tyujC+kFs05S6ZFuGZUJesQ0LkVoLjEZUetc3Y5haI1Qr8dUR1PwXqmfqAW7MA2VEt5PVoHsqcrQljsEfrx9dd0hRDpI7rAIp8cgmYTFFrnswyVO+d2fO51UmKsLhPWoXBcxDkJA/vR7chymkCbDJ1raY9OTZApc7ARF8qtL3CAvnTnM3GR6Wvkw5kWeemn6XBlLFpZKCpB9XxR5GDQC3AapJU/Ca/1ZW+oWhrKVQgwoJ5dm2Rr+ATfkdDun3VR/spuNCyuuUVVVp5E59muZ2xl8TfTHMRAotWDroXQ83UoBBzpt/hN0h/dj7fC7cv2fR0mswrJshjlJFWWS1nWcj09CuMXufHIhX8T4pRLzBWWbyEiRPDC75K5Eb4d4z3i0EGysHR4yXm2/3kHqcZMKdkbG/1ZwGFL4HLPzEzSB1Hi5s/GkZ5cn+2r2NwQs0xBzTKKZd6tcCZ6cUqGvWgpO3A3WN1oDVnCDMgmrl+PainXSt2lf/vEOkOG6xaavetaTIIqIkNxLjn8P1jO5Y+N8DtYCR6h9E96XZ/PSSMxXi/ReQ52RW8oaneFREcBGEtXIp4MAFZBMGaII2bTudDCKLdnvlsDlTPxHqzfKU+iTMpdhVhy6RWS1PorRVVghP040rcOj+M3DbhYytJ9Y6nHkVnDPMawWCP7aEU0Kfc9CXRNsjMkJGwo6p0BqH3A2vVcOZrRnwl8FJc61q33jChuopG8js3IX5fxOaTxWEYTCqcdxPApWg4UGOIT7LggA3QBU5PLxq3pPDg92XUi1RBV1iKu7y71ZVJb33Viedf8m4I3KyoHKBJrDaN2d+KKKvMj9KMetKHIIPkBtNAJdm0IFiAlcodu9C3/7bNSB+1qL3aTS239FOSgb7+kSLXfftmwwIgCqYJ1ZR4eJxteDYqnQXXjnmTWgW8Tkhh0o0NjiP/pr7Cfv3KuhZg1fvyIPxo48ggHdexXGK6YeYiOf+G+ODeVTcdZAiYYG2+okB9siFbHn6eFsRG6wz+PZroBwJciW4ErFfqxuhKzjq+whui/b3qpBXDIQiXzFqYRGbYaRn/siUZk6IjuLrWHJqJI0XiYFG8GdN8j21Re9cUHkvFQiG9o9T7pk9/XMB11Ns7t7TUfnYrTsE3BNNEfX1Ts4BHwxFiDeCfbePbZuJ3KJsx7KEX9YNpyZhSy7tnuujFbTspdlVfD/pxvyg1Yr/OQtzzwEx8z2y+XDnazcC7IRbZgwC617g1J+bTfiZGoEiWU8nMSBdaxMizdlLFbYEIpLXnC4jh0VdRasYsGH99EgL9cohUIzgbsm6DDWBvH2ustjFHSq4tZeTBJcLj/YRB1b8kum2e62AmVoFepMv3cW6KPv2y/KMiAKT0bdNbiD4xvXiPpJu32eQ3XlRnMhGa0Iq+rkk3MoXDpxcRitlCNQMYipNmQfVItn4ZcjwWUtTV2j+H+EMH+L9Er3AcdR9+YQw2LhcMrY8Vb6e/MKLil4CFblEe98ARFbPdA1vcphp5eO7nGuDLZ1EFzkI6yYBzfQwRpCbOMH2iwgPgInMf19ofU727ldbdpT4//5t09N+pVF0iQ1PaYVyh577Mihxs3wrOyxpqqAsv3ewcOKJr48zzhzyGpfHX10upIicTOChYsBOXLzBKf0nZuTpHUldVIjbs9qgq17/vepD6c0e52FMybqEBH41vbajPEDYelj2CwH8J0jqcMx/mSOuBnXGXN5ARzboTTnmqP3nS4cTHMS6380IE71VJJ8SfI4Vft9NVPLNXpRSjMWoA3NnkdyIi5qDEMZMZRnddTPQR2/OBIj5og5cy/aw7uAXT5ogERswgnsvA7hIWyHeRa1prwCmFyGqVxnLiNRhmyyLFVtMWH7peC06AslSLfWEwqbm8acVty70GT6CJnEM2iZ1Jg9s3dXNZJGCOFg6Oi5A2PAS9vMr2+PSdVRw3Fiw66qfgTeV+9q78ozKSYH0ivQz07GsmE8+SMjrzCNaPixUoXJQ8ksccZBxpu5F9gJpWi2dUganaiJFBaDitKXOB3FfO4NVrclFDpp8n/bXlNo50cN6NwEC5wDe1FPEvudUUUfkIZ0RbOQ37tu04pM83bEyAz0k+39AHv19AdgxkzfOK0U/m1UuwdsAF8tccM9sMAuTwseK2a3qkVrbdwLATmXU0IentGn7cUX03lt5IEZ2b9NjCX6nPePHiLNRjUqjOpjC7Ozbaj870D5vKWgSlMBtZz6GwiZ3Ve4WqLt504Sd/au0V3vMxxMd/d+uSOt1iEuaWpmtpHmE8TUggLTc3RlgydQ1KGizIzTGdSRdJKtTq+fffD1nr2mcr+ggNofsj5UaEC3FTMZZ58HgamsSbo4nVnExh0Ns7zv64W/DyDLNxDyIM+/ZZxrEbmd0tLhqUA9U1Px1eeIlRXX/dnXAN46k/JeTe5LduCWYKqfu2SLdgJT86Dtu6VyK6ngDErtwCMUNebdg4b9z5P/+JmJYIvsRDVVONF9B6m5r8XYPgwmPB0qoNtjhQQZDyEE/Qqp8/r++i3UcLONIzsJGphhniYLEBhX9D4Kz1+w+6x3cNu82HceciGM/czb+Jwdda6Od6Mrv1nwroUQfhIX+08kw4Nb5IqjSVf+u/N7n12z0EpwEr64GUKdy80XdCf1yokFIgOs6qwyQmniLhXNUXHo19WkAG+ie2Xvpo0hBT6nTsdDx5f7aEqA95cVEheNeRHALSM3I4ACLR/p/4xjyzNjpVuLx+SxAEyi/trfKF7Vfx+Zd24VQN2KxlO5CQhJffXcfCXBPCovD4nNzFXYCZSQQtEyHZiEriqmKNvPjrk0BuYeoJAQ5SlcB/k3D67tPrRa7OMB7kU7/jxyGVu2N+mRn1hKxU7ITg3v+ypZ65Zm95xOiFHaoyGqvpLFONWg0W1AkqXhl38oHcSl/kTAoWBWnLOmnxa4KoDbth1Br6JFApFTr9n/L5gCtez4KOK3b1QpQK7gx4RF57OiK38vOaMOJMQQfhMnD7GOJcvuS5anNLyOZ5TNJ3+NquvjHzw9Kf8RXonAYZkxURBQyycEFDFHGQa4agAZy/jDO3pqSgr6zHeFLn0bvsczFO/+Aw2XSoRclC8F/cC87f9NxSUX48ALAnvaPATHNBhTz1IxUiEPh5BMbwMQZfcWw043sPnUAo8GHZacqFEjboLQlhpwVxfqDyM7exOObs5vhCB1rG+aiYAsHBi5CXUMKVezPdmmJ8i5dvepZdwGWbk7PQ4Jqge4aqwPyy5Nkdgldkhnxe+9YYIeT48oLWi+BN22h0oPiU8dJvUQPD/60hpt5M0pkCwo2+RCSTkmA7qnMbL45b5PoNF7YWBnW8TXt/6kOzy9bP5gMr7A/JILpMfoKFlc0/wBuz0k5L1TeWlXNARAszspoPrsf/hIdJKJnQtfjMseytYnhNYxpJO9tNhya8Z43O6oYEjSikxrZYd/qVDTobRWbicwuKJkUxo7CitONRt7ER2HU/Uwdb8nQYM+UXa2+5Gx0eqRspz7gIrv0fDFcPX3HL8xCTyvbE2+1qcC0P05VdvPMhby2U0qlYsbgeVNtB/EELDEGI4zNynwM0rd7njejwQ2OOM4s0I2K+gZngJ1/PG3BsR70eLcYsISbl/Aa1L5e9vkrucmG2AhtfxngUtLs3aaVyvDIBzRPWG/MTxE2phEDPq2L8ckYZ/F2ghSooj83lOWLglAzHCOPiq9iNNzAJPx6ROfMG4585inyPTFXeNp0ggwZ59MenLl7shkUcGbb8E8PnnDrP/TV1M2CPtX/QMmnaE2VbsCFUffoXrjfIGAS8BJZ1hS46oS/rJXsk2yLldWfjWiq+rlRIwaM2QF9pwSs7pwgxGIOJi2NQvwbTGff9OznklIzXxrVtBrZRe6cApl3bwu7pLKokqkp1IkNJXWC24n2fUcZYfR7rB+HbL2yRkTvnHbCuUoTJ/ickcQ76n4mdNk8oHn+tMvzEizwswmMmGAxRWpN7MrHt9rrWlJFQP2c+eSh9x8Teu6XaBaTCb2IxKZ5FhO4sBaU7VZ0VSl7giFAMO3tDyE73vKFRalPeewnBa7nquIW7xZq7pp3CVlmH7qJXF41Ewzo1fv6t9leQK4oJVvpaIC6mRe7Dw8DdJx44Kdck0pKGPnA+AE5ipm7KK0GaN7H5mzllzd47G9tGGDjIfzI1+z5tlJlG4e8xzAXqwlLe+0sbgKsR0uTSNqasdJAZZ86BtZJj139Ao8AsKppNCwWHDltp3aeEfZ7GXQqT9Pc5WJx9Pj5VjkDuasICN8Jk1hhLwgJVaqGLE1qjpbioD9u96T6JP09hNJJWAgYWzmzBtWHLNCKhbS/8PrJekzQJs314OjIHWgs1I6ht5kRVTon7bS+ypSg+KpUMOocsRBi6RApDTzyNjRnhEvmJmDdU8l6thBaNkX2awnGVKMzFgj+RdEPQ7s4sjPTg0h0DGUmzsZbQGnz00VJUGoj6PZ6/mBwOEYGKPPXB9OvQuV5QdCKbNgj0KGHWkmNFoL1V5vb8vdVG4O+13WGSeyEL82tU9f9p6DdZXPJVslm/09DmP13Yf32bbuxKaZ+PjDiZ8bzwpL+vY86SkcAD26ZsqKcWgxWtm3BdYbZEP93oB02oJNODQgrOOqsSHsO75k1V+drWxk5vXqz8fwrTLCVWrSUIno0kJXcX9K0TAQv2dZLvN5OOo/4jNpljJ8oey1jsFhAtLeatzRn7VK7Hn/IRsks8XzUm/5B2d2SfBN+kj56abgZkQBMJyUxfeNdHwPKrKZKQsGzwwBIz3sxr/BO+Au9JhteycgTOYbGJ8Jhw9hVbZl5NGmN+huxFP56JOP/JreNFrpAPHUE3pt9WaUjP7zVtXGFcdMJfcNsvFZqNef/55HcEaHKKCAGXLYf2eG+vxaHtBmmckMe5B9peqWTc7C2rk9+Fmc2EIuSLUmlHSkXD8F4kpO/EkqPmK7BpCHZMRLtfRE3NCCH9tZ+Ej+y5CZYyEz3q9QPt2WfdoJc4QTo/rGVfz9weY/0fzMdgqli6vGnRpub9oRUJ5Wo5b6SINhAyDlzEC0rT8GNWL1aOBcvn4eckDamb16Hm1MrKznRzVL2dF1KvpSj5/i5x6TRflDJZuwom/+Lv0ksHKJxJ9B5de5sgc9lQQINthcmWI31bxIFVONRKACXl0oMIhb4Qa20dviDB2ZD5oM2HBQPWNNhxle4lsejbyy72xRtrp4aDi7GKkbMLI4lsEcHCqktl/JkOXSFIiji5IPY6ntoSkT15e4weYdso7tF28JFLRV2QN+lNDtlSCikAG0ZOwoTH4SBBFuCGLMzzD8xUtSObCmNMIb0g52T4voHHqWkXjPy/UwSdzvy+8/BNs2HCnraUwTRB/PPDmVhkGuCJv5AG2ifaPDARxfSGTN+nkjqmh1S0y8uV6ecp7yWl1K8dwNkb+cfcOuFtPg3tBINqwc7DHGHq+92nJIKait8JYQwxOnrHKv3WMZOPZVFOetCmH5TfiuA7Z3GZgEIpNpMG9oHTIddY7MyuFODsZFgHm5aqEWGCA069ThPdcJTD73pV8uBVcmN75mMyeGJfhCqAxz+aNd3ovdoZ22bjbaJ+fThYaBrIvjWPVuTrb9g6ctPE5ex7VwrcLfTNjucgkCWECSJqZZZcbnbz0hLyg7ElvvQasEA6iwpGcw8VsquKB+4zLp0jsPPNB8L4GKLOE/dbtr2JkXLW9Doxg5sgw6Nl197MeK/VoixbU5y5cX0Xwqx91I+hkADZygfpWcvyrwlsRLA8BARxXzMo8wSSX1+xWTDeqlzWceHDZmp0RBBKvR1GUD/C15lkmg88JDgk/I7HmGKozFqmWPnc=" title="Mekko Graphics Chart">
            <a:extLst>
              <a:ext uri="{FF2B5EF4-FFF2-40B4-BE49-F238E27FC236}">
                <a16:creationId xmlns:a16="http://schemas.microsoft.com/office/drawing/2014/main" id="{7C0EBEA1-02C2-4571-ABAF-53D390FB78F2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52107" y="2347256"/>
            <a:ext cx="3574898" cy="3902020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446156-9B4F-48B7-A4D4-A789BD85C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~</a:t>
            </a:r>
            <a:r>
              <a:rPr lang="pl-PL"/>
              <a:t>x</a:t>
            </a:r>
            <a:r>
              <a:rPr lang="en-US"/>
              <a:t>% expect a spend increase </a:t>
            </a:r>
            <a:r>
              <a:rPr lang="pl-PL"/>
              <a:t>on x</a:t>
            </a:r>
            <a:r>
              <a:rPr lang="en-US"/>
              <a:t>; </a:t>
            </a:r>
            <a:r>
              <a:rPr lang="pl-PL"/>
              <a:t>Average</a:t>
            </a:r>
            <a:r>
              <a:rPr lang="en-US"/>
              <a:t> future spend expected to increase </a:t>
            </a:r>
            <a:r>
              <a:rPr lang="pl-PL"/>
              <a:t>by x</a:t>
            </a:r>
            <a:r>
              <a:rPr lang="en-US"/>
              <a:t>% YoY</a:t>
            </a:r>
          </a:p>
        </p:txBody>
      </p:sp>
      <p:sp>
        <p:nvSpPr>
          <p:cNvPr id="23" name="btfpNotesBox406686">
            <a:extLst>
              <a:ext uri="{FF2B5EF4-FFF2-40B4-BE49-F238E27FC236}">
                <a16:creationId xmlns:a16="http://schemas.microsoft.com/office/drawing/2014/main" id="{2580D98C-A2C0-46C5-8C9A-A7D25CB6636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8" name="btfpStatusSticker329178">
            <a:extLst>
              <a:ext uri="{FF2B5EF4-FFF2-40B4-BE49-F238E27FC236}">
                <a16:creationId xmlns:a16="http://schemas.microsoft.com/office/drawing/2014/main" id="{8FD9C68B-1893-435F-BE8E-974376687C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0356" y="955344"/>
            <a:ext cx="1761444" cy="235611"/>
            <a:chOff x="-2288191" y="876300"/>
            <a:chExt cx="1761444" cy="235611"/>
          </a:xfrm>
        </p:grpSpPr>
        <p:sp>
          <p:nvSpPr>
            <p:cNvPr id="39" name="btfpStatusStickerText329178">
              <a:extLst>
                <a:ext uri="{FF2B5EF4-FFF2-40B4-BE49-F238E27FC236}">
                  <a16:creationId xmlns:a16="http://schemas.microsoft.com/office/drawing/2014/main" id="{29CD66B8-493C-4E9B-B21D-AF329979E212}"/>
                </a:ext>
              </a:extLst>
            </p:cNvPr>
            <p:cNvSpPr txBox="1"/>
            <p:nvPr/>
          </p:nvSpPr>
          <p:spPr bwMode="gray">
            <a:xfrm>
              <a:off x="-2288191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0" name="btfpStatusStickerLine329178">
              <a:extLst>
                <a:ext uri="{FF2B5EF4-FFF2-40B4-BE49-F238E27FC236}">
                  <a16:creationId xmlns:a16="http://schemas.microsoft.com/office/drawing/2014/main" id="{D1D71066-F7B4-43C1-A6D2-28FFCA2C6CD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819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btfpRunningAgenda2Level770509">
            <a:extLst>
              <a:ext uri="{FF2B5EF4-FFF2-40B4-BE49-F238E27FC236}">
                <a16:creationId xmlns:a16="http://schemas.microsoft.com/office/drawing/2014/main" id="{A05841AF-29DC-43A2-A699-C6472D21BF0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1600017" cy="257442"/>
            <a:chOff x="0" y="876300"/>
            <a:chExt cx="1600017" cy="257442"/>
          </a:xfrm>
        </p:grpSpPr>
        <p:sp>
          <p:nvSpPr>
            <p:cNvPr id="55" name="btfpRunningAgenda2LevelBarLeft770509">
              <a:extLst>
                <a:ext uri="{FF2B5EF4-FFF2-40B4-BE49-F238E27FC236}">
                  <a16:creationId xmlns:a16="http://schemas.microsoft.com/office/drawing/2014/main" id="{567B9F5A-FDD5-44F7-8289-D60D6D66B3D4}"/>
                </a:ext>
              </a:extLst>
            </p:cNvPr>
            <p:cNvSpPr/>
            <p:nvPr/>
          </p:nvSpPr>
          <p:spPr bwMode="gray">
            <a:xfrm>
              <a:off x="0" y="876300"/>
              <a:ext cx="1600017" cy="257442"/>
            </a:xfrm>
            <a:custGeom>
              <a:avLst/>
              <a:gdLst>
                <a:gd name="connsiteX0" fmla="*/ 950801 w 1271402"/>
                <a:gd name="connsiteY0" fmla="*/ 0 h 257442"/>
                <a:gd name="connsiteX1" fmla="*/ 1271402 w 1271402"/>
                <a:gd name="connsiteY1" fmla="*/ 0 h 257442"/>
                <a:gd name="connsiteX2" fmla="*/ 1216681 w 1271402"/>
                <a:gd name="connsiteY2" fmla="*/ 257442 h 257442"/>
                <a:gd name="connsiteX3" fmla="*/ 0 w 1271402"/>
                <a:gd name="connsiteY3" fmla="*/ 257442 h 257442"/>
                <a:gd name="connsiteX0" fmla="*/ 950801 w 1216681"/>
                <a:gd name="connsiteY0" fmla="*/ 0 h 257442"/>
                <a:gd name="connsiteX1" fmla="*/ 896080 w 1216681"/>
                <a:gd name="connsiteY1" fmla="*/ 257442 h 257442"/>
                <a:gd name="connsiteX2" fmla="*/ 1216681 w 1216681"/>
                <a:gd name="connsiteY2" fmla="*/ 257442 h 257442"/>
                <a:gd name="connsiteX3" fmla="*/ 0 w 121668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439718 w 1439718"/>
                <a:gd name="connsiteY0" fmla="*/ 0 h 257442"/>
                <a:gd name="connsiteX1" fmla="*/ 1216682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1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0 w 1439718"/>
                <a:gd name="connsiteY3" fmla="*/ 0 h 257442"/>
                <a:gd name="connsiteX0" fmla="*/ 1271402 w 1384996"/>
                <a:gd name="connsiteY0" fmla="*/ 0 h 257442"/>
                <a:gd name="connsiteX1" fmla="*/ 1384996 w 1384996"/>
                <a:gd name="connsiteY1" fmla="*/ 257442 h 257442"/>
                <a:gd name="connsiteX2" fmla="*/ 0 w 1384996"/>
                <a:gd name="connsiteY2" fmla="*/ 257442 h 257442"/>
                <a:gd name="connsiteX3" fmla="*/ 0 w 1384996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111101 w 1216681"/>
                <a:gd name="connsiteY0" fmla="*/ 0 h 257442"/>
                <a:gd name="connsiteX1" fmla="*/ 1216681 w 1216681"/>
                <a:gd name="connsiteY1" fmla="*/ 257442 h 257442"/>
                <a:gd name="connsiteX2" fmla="*/ 0 w 1216681"/>
                <a:gd name="connsiteY2" fmla="*/ 257442 h 257442"/>
                <a:gd name="connsiteX3" fmla="*/ 0 w 121668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289033 w 1289033"/>
                <a:gd name="connsiteY0" fmla="*/ 0 h 257442"/>
                <a:gd name="connsiteX1" fmla="*/ 1056380 w 1289033"/>
                <a:gd name="connsiteY1" fmla="*/ 257442 h 257442"/>
                <a:gd name="connsiteX2" fmla="*/ 0 w 1289033"/>
                <a:gd name="connsiteY2" fmla="*/ 257442 h 257442"/>
                <a:gd name="connsiteX3" fmla="*/ 0 w 1289033"/>
                <a:gd name="connsiteY3" fmla="*/ 0 h 257442"/>
                <a:gd name="connsiteX0" fmla="*/ 1289033 w 1289033"/>
                <a:gd name="connsiteY0" fmla="*/ 0 h 257442"/>
                <a:gd name="connsiteX1" fmla="*/ 1234312 w 1289033"/>
                <a:gd name="connsiteY1" fmla="*/ 257442 h 257442"/>
                <a:gd name="connsiteX2" fmla="*/ 0 w 1289033"/>
                <a:gd name="connsiteY2" fmla="*/ 257442 h 257442"/>
                <a:gd name="connsiteX3" fmla="*/ 0 w 1289033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1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457350 w 1457350"/>
                <a:gd name="connsiteY0" fmla="*/ 0 h 257442"/>
                <a:gd name="connsiteX1" fmla="*/ 1234313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09635 w 1609635"/>
                <a:gd name="connsiteY0" fmla="*/ 0 h 257442"/>
                <a:gd name="connsiteX1" fmla="*/ 1402629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777951 w 1777951"/>
                <a:gd name="connsiteY0" fmla="*/ 0 h 257442"/>
                <a:gd name="connsiteX1" fmla="*/ 1554914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918822 w 1918822"/>
                <a:gd name="connsiteY0" fmla="*/ 0 h 257442"/>
                <a:gd name="connsiteX1" fmla="*/ 1723230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2 w 1918822"/>
                <a:gd name="connsiteY0" fmla="*/ 0 h 257442"/>
                <a:gd name="connsiteX1" fmla="*/ 1864100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3 w 1918823"/>
                <a:gd name="connsiteY0" fmla="*/ 0 h 257442"/>
                <a:gd name="connsiteX1" fmla="*/ 1864101 w 1918823"/>
                <a:gd name="connsiteY1" fmla="*/ 257442 h 257442"/>
                <a:gd name="connsiteX2" fmla="*/ 0 w 1918823"/>
                <a:gd name="connsiteY2" fmla="*/ 257442 h 257442"/>
                <a:gd name="connsiteX3" fmla="*/ 1 w 1918823"/>
                <a:gd name="connsiteY3" fmla="*/ 0 h 257442"/>
                <a:gd name="connsiteX0" fmla="*/ 1918823 w 1918823"/>
                <a:gd name="connsiteY0" fmla="*/ 0 h 257442"/>
                <a:gd name="connsiteX1" fmla="*/ 1864101 w 1918823"/>
                <a:gd name="connsiteY1" fmla="*/ 257442 h 257442"/>
                <a:gd name="connsiteX2" fmla="*/ 0 w 1918823"/>
                <a:gd name="connsiteY2" fmla="*/ 257442 h 257442"/>
                <a:gd name="connsiteX3" fmla="*/ 1 w 1918823"/>
                <a:gd name="connsiteY3" fmla="*/ 0 h 257442"/>
                <a:gd name="connsiteX0" fmla="*/ 2093999 w 2093999"/>
                <a:gd name="connsiteY0" fmla="*/ 0 h 257442"/>
                <a:gd name="connsiteX1" fmla="*/ 1864101 w 2093999"/>
                <a:gd name="connsiteY1" fmla="*/ 257442 h 257442"/>
                <a:gd name="connsiteX2" fmla="*/ 0 w 2093999"/>
                <a:gd name="connsiteY2" fmla="*/ 257442 h 257442"/>
                <a:gd name="connsiteX3" fmla="*/ 1 w 2093999"/>
                <a:gd name="connsiteY3" fmla="*/ 0 h 257442"/>
                <a:gd name="connsiteX0" fmla="*/ 2093999 w 2093999"/>
                <a:gd name="connsiteY0" fmla="*/ 0 h 257442"/>
                <a:gd name="connsiteX1" fmla="*/ 2039278 w 2093999"/>
                <a:gd name="connsiteY1" fmla="*/ 257442 h 257442"/>
                <a:gd name="connsiteX2" fmla="*/ 0 w 2093999"/>
                <a:gd name="connsiteY2" fmla="*/ 257442 h 257442"/>
                <a:gd name="connsiteX3" fmla="*/ 1 w 2093999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9 w 2093999"/>
                <a:gd name="connsiteY0" fmla="*/ 0 h 257442"/>
                <a:gd name="connsiteX1" fmla="*/ 2039278 w 2093999"/>
                <a:gd name="connsiteY1" fmla="*/ 257442 h 257442"/>
                <a:gd name="connsiteX2" fmla="*/ 1 w 2093999"/>
                <a:gd name="connsiteY2" fmla="*/ 257442 h 257442"/>
                <a:gd name="connsiteX3" fmla="*/ 0 w 2093999"/>
                <a:gd name="connsiteY3" fmla="*/ 0 h 257442"/>
                <a:gd name="connsiteX0" fmla="*/ 2262315 w 2262315"/>
                <a:gd name="connsiteY0" fmla="*/ 0 h 257442"/>
                <a:gd name="connsiteX1" fmla="*/ 2039278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5 w 2262315"/>
                <a:gd name="connsiteY0" fmla="*/ 0 h 257442"/>
                <a:gd name="connsiteX1" fmla="*/ 2207594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5 w 2262315"/>
                <a:gd name="connsiteY0" fmla="*/ 0 h 257442"/>
                <a:gd name="connsiteX1" fmla="*/ 2207594 w 2262315"/>
                <a:gd name="connsiteY1" fmla="*/ 257442 h 257442"/>
                <a:gd name="connsiteX2" fmla="*/ 1 w 2262315"/>
                <a:gd name="connsiteY2" fmla="*/ 257442 h 257442"/>
                <a:gd name="connsiteX3" fmla="*/ 0 w 2262315"/>
                <a:gd name="connsiteY3" fmla="*/ 0 h 257442"/>
                <a:gd name="connsiteX0" fmla="*/ 2262314 w 2262314"/>
                <a:gd name="connsiteY0" fmla="*/ 0 h 257442"/>
                <a:gd name="connsiteX1" fmla="*/ 2207593 w 2262314"/>
                <a:gd name="connsiteY1" fmla="*/ 257442 h 257442"/>
                <a:gd name="connsiteX2" fmla="*/ 0 w 2262314"/>
                <a:gd name="connsiteY2" fmla="*/ 257442 h 257442"/>
                <a:gd name="connsiteX3" fmla="*/ 0 w 2262314"/>
                <a:gd name="connsiteY3" fmla="*/ 0 h 257442"/>
                <a:gd name="connsiteX0" fmla="*/ 2416906 w 2416906"/>
                <a:gd name="connsiteY0" fmla="*/ 0 h 257442"/>
                <a:gd name="connsiteX1" fmla="*/ 2207593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416906 w 2416906"/>
                <a:gd name="connsiteY0" fmla="*/ 0 h 257442"/>
                <a:gd name="connsiteX1" fmla="*/ 2362185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1 w 2416907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1 w 2416907"/>
                <a:gd name="connsiteY3" fmla="*/ 0 h 257442"/>
                <a:gd name="connsiteX0" fmla="*/ 2515140 w 2515140"/>
                <a:gd name="connsiteY0" fmla="*/ 0 h 257442"/>
                <a:gd name="connsiteX1" fmla="*/ 2362186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1 w 2515140"/>
                <a:gd name="connsiteY3" fmla="*/ 0 h 257442"/>
                <a:gd name="connsiteX0" fmla="*/ 2515140 w 2515140"/>
                <a:gd name="connsiteY0" fmla="*/ 0 h 257442"/>
                <a:gd name="connsiteX1" fmla="*/ 2460418 w 2515140"/>
                <a:gd name="connsiteY1" fmla="*/ 257442 h 257442"/>
                <a:gd name="connsiteX2" fmla="*/ 0 w 2515140"/>
                <a:gd name="connsiteY2" fmla="*/ 257442 h 257442"/>
                <a:gd name="connsiteX3" fmla="*/ 0 w 2515140"/>
                <a:gd name="connsiteY3" fmla="*/ 0 h 257442"/>
                <a:gd name="connsiteX0" fmla="*/ 2683455 w 2683455"/>
                <a:gd name="connsiteY0" fmla="*/ 0 h 257442"/>
                <a:gd name="connsiteX1" fmla="*/ 2460418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843755 w 2843755"/>
                <a:gd name="connsiteY0" fmla="*/ 0 h 257442"/>
                <a:gd name="connsiteX1" fmla="*/ 26287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3004056 w 3004056"/>
                <a:gd name="connsiteY0" fmla="*/ 0 h 257442"/>
                <a:gd name="connsiteX1" fmla="*/ 2789034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6 w 3004056"/>
                <a:gd name="connsiteY0" fmla="*/ 0 h 257442"/>
                <a:gd name="connsiteX1" fmla="*/ 2949334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7 w 3004057"/>
                <a:gd name="connsiteY0" fmla="*/ 0 h 257442"/>
                <a:gd name="connsiteX1" fmla="*/ 2949335 w 3004057"/>
                <a:gd name="connsiteY1" fmla="*/ 257442 h 257442"/>
                <a:gd name="connsiteX2" fmla="*/ 0 w 3004057"/>
                <a:gd name="connsiteY2" fmla="*/ 257442 h 257442"/>
                <a:gd name="connsiteX3" fmla="*/ 1 w 3004057"/>
                <a:gd name="connsiteY3" fmla="*/ 0 h 257442"/>
                <a:gd name="connsiteX0" fmla="*/ 3004057 w 3004057"/>
                <a:gd name="connsiteY0" fmla="*/ 0 h 257442"/>
                <a:gd name="connsiteX1" fmla="*/ 2949335 w 3004057"/>
                <a:gd name="connsiteY1" fmla="*/ 257442 h 257442"/>
                <a:gd name="connsiteX2" fmla="*/ 0 w 3004057"/>
                <a:gd name="connsiteY2" fmla="*/ 257442 h 257442"/>
                <a:gd name="connsiteX3" fmla="*/ 1 w 3004057"/>
                <a:gd name="connsiteY3" fmla="*/ 0 h 257442"/>
                <a:gd name="connsiteX0" fmla="*/ 3181989 w 3181989"/>
                <a:gd name="connsiteY0" fmla="*/ 0 h 257442"/>
                <a:gd name="connsiteX1" fmla="*/ 2949335 w 3181989"/>
                <a:gd name="connsiteY1" fmla="*/ 257442 h 257442"/>
                <a:gd name="connsiteX2" fmla="*/ 0 w 3181989"/>
                <a:gd name="connsiteY2" fmla="*/ 257442 h 257442"/>
                <a:gd name="connsiteX3" fmla="*/ 1 w 3181989"/>
                <a:gd name="connsiteY3" fmla="*/ 0 h 257442"/>
                <a:gd name="connsiteX0" fmla="*/ 3181989 w 3181989"/>
                <a:gd name="connsiteY0" fmla="*/ 0 h 257442"/>
                <a:gd name="connsiteX1" fmla="*/ 3127268 w 3181989"/>
                <a:gd name="connsiteY1" fmla="*/ 257442 h 257442"/>
                <a:gd name="connsiteX2" fmla="*/ 0 w 3181989"/>
                <a:gd name="connsiteY2" fmla="*/ 257442 h 257442"/>
                <a:gd name="connsiteX3" fmla="*/ 1 w 3181989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9 w 3181989"/>
                <a:gd name="connsiteY0" fmla="*/ 0 h 257442"/>
                <a:gd name="connsiteX1" fmla="*/ 3127268 w 3181989"/>
                <a:gd name="connsiteY1" fmla="*/ 257442 h 257442"/>
                <a:gd name="connsiteX2" fmla="*/ 1 w 3181989"/>
                <a:gd name="connsiteY2" fmla="*/ 257442 h 257442"/>
                <a:gd name="connsiteX3" fmla="*/ 0 w 3181989"/>
                <a:gd name="connsiteY3" fmla="*/ 0 h 257442"/>
                <a:gd name="connsiteX0" fmla="*/ 3350305 w 3350305"/>
                <a:gd name="connsiteY0" fmla="*/ 0 h 257442"/>
                <a:gd name="connsiteX1" fmla="*/ 3127268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5 w 3350305"/>
                <a:gd name="connsiteY0" fmla="*/ 0 h 257442"/>
                <a:gd name="connsiteX1" fmla="*/ 3295584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5 w 3350305"/>
                <a:gd name="connsiteY0" fmla="*/ 0 h 257442"/>
                <a:gd name="connsiteX1" fmla="*/ 3295584 w 3350305"/>
                <a:gd name="connsiteY1" fmla="*/ 257442 h 257442"/>
                <a:gd name="connsiteX2" fmla="*/ 1 w 3350305"/>
                <a:gd name="connsiteY2" fmla="*/ 257442 h 257442"/>
                <a:gd name="connsiteX3" fmla="*/ 0 w 3350305"/>
                <a:gd name="connsiteY3" fmla="*/ 0 h 257442"/>
                <a:gd name="connsiteX0" fmla="*/ 3350304 w 3350304"/>
                <a:gd name="connsiteY0" fmla="*/ 0 h 257442"/>
                <a:gd name="connsiteX1" fmla="*/ 3295583 w 3350304"/>
                <a:gd name="connsiteY1" fmla="*/ 257442 h 257442"/>
                <a:gd name="connsiteX2" fmla="*/ 0 w 3350304"/>
                <a:gd name="connsiteY2" fmla="*/ 257442 h 257442"/>
                <a:gd name="connsiteX3" fmla="*/ 0 w 3350304"/>
                <a:gd name="connsiteY3" fmla="*/ 0 h 257442"/>
                <a:gd name="connsiteX0" fmla="*/ 3502588 w 3502588"/>
                <a:gd name="connsiteY0" fmla="*/ 0 h 257442"/>
                <a:gd name="connsiteX1" fmla="*/ 3295583 w 3502588"/>
                <a:gd name="connsiteY1" fmla="*/ 257442 h 257442"/>
                <a:gd name="connsiteX2" fmla="*/ 0 w 3502588"/>
                <a:gd name="connsiteY2" fmla="*/ 257442 h 257442"/>
                <a:gd name="connsiteX3" fmla="*/ 0 w 3502588"/>
                <a:gd name="connsiteY3" fmla="*/ 0 h 257442"/>
                <a:gd name="connsiteX0" fmla="*/ 3502588 w 3502588"/>
                <a:gd name="connsiteY0" fmla="*/ 0 h 257442"/>
                <a:gd name="connsiteX1" fmla="*/ 3447867 w 3502588"/>
                <a:gd name="connsiteY1" fmla="*/ 257442 h 257442"/>
                <a:gd name="connsiteX2" fmla="*/ 0 w 3502588"/>
                <a:gd name="connsiteY2" fmla="*/ 257442 h 257442"/>
                <a:gd name="connsiteX3" fmla="*/ 0 w 3502588"/>
                <a:gd name="connsiteY3" fmla="*/ 0 h 257442"/>
                <a:gd name="connsiteX0" fmla="*/ 3502589 w 3502589"/>
                <a:gd name="connsiteY0" fmla="*/ 0 h 257442"/>
                <a:gd name="connsiteX1" fmla="*/ 3447868 w 3502589"/>
                <a:gd name="connsiteY1" fmla="*/ 257442 h 257442"/>
                <a:gd name="connsiteX2" fmla="*/ 0 w 3502589"/>
                <a:gd name="connsiteY2" fmla="*/ 257442 h 257442"/>
                <a:gd name="connsiteX3" fmla="*/ 1 w 3502589"/>
                <a:gd name="connsiteY3" fmla="*/ 0 h 257442"/>
                <a:gd name="connsiteX0" fmla="*/ 3502589 w 3502589"/>
                <a:gd name="connsiteY0" fmla="*/ 0 h 257442"/>
                <a:gd name="connsiteX1" fmla="*/ 3447868 w 3502589"/>
                <a:gd name="connsiteY1" fmla="*/ 257442 h 257442"/>
                <a:gd name="connsiteX2" fmla="*/ 0 w 3502589"/>
                <a:gd name="connsiteY2" fmla="*/ 257442 h 257442"/>
                <a:gd name="connsiteX3" fmla="*/ 1 w 3502589"/>
                <a:gd name="connsiteY3" fmla="*/ 0 h 257442"/>
                <a:gd name="connsiteX0" fmla="*/ 3603580 w 3603580"/>
                <a:gd name="connsiteY0" fmla="*/ 0 h 257442"/>
                <a:gd name="connsiteX1" fmla="*/ 344786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1 w 3603580"/>
                <a:gd name="connsiteY3" fmla="*/ 0 h 257442"/>
                <a:gd name="connsiteX0" fmla="*/ 3603580 w 3603580"/>
                <a:gd name="connsiteY0" fmla="*/ 0 h 257442"/>
                <a:gd name="connsiteX1" fmla="*/ 3548858 w 3603580"/>
                <a:gd name="connsiteY1" fmla="*/ 257442 h 257442"/>
                <a:gd name="connsiteX2" fmla="*/ 0 w 3603580"/>
                <a:gd name="connsiteY2" fmla="*/ 257442 h 257442"/>
                <a:gd name="connsiteX3" fmla="*/ 0 w 3603580"/>
                <a:gd name="connsiteY3" fmla="*/ 0 h 257442"/>
                <a:gd name="connsiteX0" fmla="*/ 3771893 w 3771893"/>
                <a:gd name="connsiteY0" fmla="*/ 0 h 257442"/>
                <a:gd name="connsiteX1" fmla="*/ 3548858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949827 w 3949827"/>
                <a:gd name="connsiteY0" fmla="*/ 0 h 257442"/>
                <a:gd name="connsiteX1" fmla="*/ 3717172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949827 w 3949827"/>
                <a:gd name="connsiteY0" fmla="*/ 0 h 257442"/>
                <a:gd name="connsiteX1" fmla="*/ 3895106 w 3949827"/>
                <a:gd name="connsiteY1" fmla="*/ 257442 h 257442"/>
                <a:gd name="connsiteX2" fmla="*/ 0 w 3949827"/>
                <a:gd name="connsiteY2" fmla="*/ 257442 h 257442"/>
                <a:gd name="connsiteX3" fmla="*/ 0 w 3949827"/>
                <a:gd name="connsiteY3" fmla="*/ 0 h 257442"/>
                <a:gd name="connsiteX0" fmla="*/ 3771893 w 3895106"/>
                <a:gd name="connsiteY0" fmla="*/ 0 h 257442"/>
                <a:gd name="connsiteX1" fmla="*/ 3895106 w 3895106"/>
                <a:gd name="connsiteY1" fmla="*/ 257442 h 257442"/>
                <a:gd name="connsiteX2" fmla="*/ 0 w 3895106"/>
                <a:gd name="connsiteY2" fmla="*/ 257442 h 257442"/>
                <a:gd name="connsiteX3" fmla="*/ 0 w 3895106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0 w 3771893"/>
                <a:gd name="connsiteY2" fmla="*/ 257442 h 257442"/>
                <a:gd name="connsiteX3" fmla="*/ 0 w 3771893"/>
                <a:gd name="connsiteY3" fmla="*/ 0 h 257442"/>
                <a:gd name="connsiteX0" fmla="*/ 3771893 w 3771893"/>
                <a:gd name="connsiteY0" fmla="*/ 0 h 257442"/>
                <a:gd name="connsiteX1" fmla="*/ 3717172 w 3771893"/>
                <a:gd name="connsiteY1" fmla="*/ 257442 h 257442"/>
                <a:gd name="connsiteX2" fmla="*/ 1 w 3771893"/>
                <a:gd name="connsiteY2" fmla="*/ 257442 h 257442"/>
                <a:gd name="connsiteX3" fmla="*/ 0 w 3771893"/>
                <a:gd name="connsiteY3" fmla="*/ 0 h 257442"/>
                <a:gd name="connsiteX0" fmla="*/ 3771892 w 3771892"/>
                <a:gd name="connsiteY0" fmla="*/ 0 h 257442"/>
                <a:gd name="connsiteX1" fmla="*/ 3717171 w 3771892"/>
                <a:gd name="connsiteY1" fmla="*/ 257442 h 257442"/>
                <a:gd name="connsiteX2" fmla="*/ 0 w 3771892"/>
                <a:gd name="connsiteY2" fmla="*/ 257442 h 257442"/>
                <a:gd name="connsiteX3" fmla="*/ 0 w 3771892"/>
                <a:gd name="connsiteY3" fmla="*/ 0 h 257442"/>
                <a:gd name="connsiteX0" fmla="*/ 3880897 w 3880897"/>
                <a:gd name="connsiteY0" fmla="*/ 0 h 257442"/>
                <a:gd name="connsiteX1" fmla="*/ 3717171 w 3880897"/>
                <a:gd name="connsiteY1" fmla="*/ 257442 h 257442"/>
                <a:gd name="connsiteX2" fmla="*/ 0 w 3880897"/>
                <a:gd name="connsiteY2" fmla="*/ 257442 h 257442"/>
                <a:gd name="connsiteX3" fmla="*/ 0 w 3880897"/>
                <a:gd name="connsiteY3" fmla="*/ 0 h 257442"/>
                <a:gd name="connsiteX0" fmla="*/ 3880897 w 3880897"/>
                <a:gd name="connsiteY0" fmla="*/ 0 h 257442"/>
                <a:gd name="connsiteX1" fmla="*/ 3826176 w 3880897"/>
                <a:gd name="connsiteY1" fmla="*/ 257442 h 257442"/>
                <a:gd name="connsiteX2" fmla="*/ 0 w 3880897"/>
                <a:gd name="connsiteY2" fmla="*/ 257442 h 257442"/>
                <a:gd name="connsiteX3" fmla="*/ 0 w 3880897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1 w 3880898"/>
                <a:gd name="connsiteY3" fmla="*/ 0 h 257442"/>
                <a:gd name="connsiteX0" fmla="*/ 3880898 w 3880898"/>
                <a:gd name="connsiteY0" fmla="*/ 0 h 257442"/>
                <a:gd name="connsiteX1" fmla="*/ 3826177 w 3880898"/>
                <a:gd name="connsiteY1" fmla="*/ 257442 h 257442"/>
                <a:gd name="connsiteX2" fmla="*/ 0 w 3880898"/>
                <a:gd name="connsiteY2" fmla="*/ 257442 h 257442"/>
                <a:gd name="connsiteX3" fmla="*/ 0 w 3880898"/>
                <a:gd name="connsiteY3" fmla="*/ 0 h 257442"/>
                <a:gd name="connsiteX0" fmla="*/ 3603579 w 3826177"/>
                <a:gd name="connsiteY0" fmla="*/ 0 h 257442"/>
                <a:gd name="connsiteX1" fmla="*/ 3826177 w 3826177"/>
                <a:gd name="connsiteY1" fmla="*/ 257442 h 257442"/>
                <a:gd name="connsiteX2" fmla="*/ 0 w 3826177"/>
                <a:gd name="connsiteY2" fmla="*/ 257442 h 257442"/>
                <a:gd name="connsiteX3" fmla="*/ 0 w 3826177"/>
                <a:gd name="connsiteY3" fmla="*/ 0 h 257442"/>
                <a:gd name="connsiteX0" fmla="*/ 3603579 w 3603579"/>
                <a:gd name="connsiteY0" fmla="*/ 0 h 257442"/>
                <a:gd name="connsiteX1" fmla="*/ 3548859 w 3603579"/>
                <a:gd name="connsiteY1" fmla="*/ 257442 h 257442"/>
                <a:gd name="connsiteX2" fmla="*/ 0 w 3603579"/>
                <a:gd name="connsiteY2" fmla="*/ 257442 h 257442"/>
                <a:gd name="connsiteX3" fmla="*/ 0 w 3603579"/>
                <a:gd name="connsiteY3" fmla="*/ 0 h 257442"/>
                <a:gd name="connsiteX0" fmla="*/ 3603579 w 3603579"/>
                <a:gd name="connsiteY0" fmla="*/ 0 h 257442"/>
                <a:gd name="connsiteX1" fmla="*/ 3548859 w 3603579"/>
                <a:gd name="connsiteY1" fmla="*/ 257442 h 257442"/>
                <a:gd name="connsiteX2" fmla="*/ 1 w 3603579"/>
                <a:gd name="connsiteY2" fmla="*/ 257442 h 257442"/>
                <a:gd name="connsiteX3" fmla="*/ 0 w 3603579"/>
                <a:gd name="connsiteY3" fmla="*/ 0 h 257442"/>
                <a:gd name="connsiteX0" fmla="*/ 3603578 w 3603578"/>
                <a:gd name="connsiteY0" fmla="*/ 0 h 257442"/>
                <a:gd name="connsiteX1" fmla="*/ 3548858 w 3603578"/>
                <a:gd name="connsiteY1" fmla="*/ 257442 h 257442"/>
                <a:gd name="connsiteX2" fmla="*/ 0 w 3603578"/>
                <a:gd name="connsiteY2" fmla="*/ 257442 h 257442"/>
                <a:gd name="connsiteX3" fmla="*/ 0 w 3603578"/>
                <a:gd name="connsiteY3" fmla="*/ 0 h 257442"/>
                <a:gd name="connsiteX0" fmla="*/ 3350303 w 3548858"/>
                <a:gd name="connsiteY0" fmla="*/ 0 h 257442"/>
                <a:gd name="connsiteX1" fmla="*/ 3548858 w 3548858"/>
                <a:gd name="connsiteY1" fmla="*/ 257442 h 257442"/>
                <a:gd name="connsiteX2" fmla="*/ 0 w 3548858"/>
                <a:gd name="connsiteY2" fmla="*/ 257442 h 257442"/>
                <a:gd name="connsiteX3" fmla="*/ 0 w 3548858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350303 w 3350303"/>
                <a:gd name="connsiteY0" fmla="*/ 0 h 257442"/>
                <a:gd name="connsiteX1" fmla="*/ 3295582 w 3350303"/>
                <a:gd name="connsiteY1" fmla="*/ 257442 h 257442"/>
                <a:gd name="connsiteX2" fmla="*/ 0 w 3350303"/>
                <a:gd name="connsiteY2" fmla="*/ 257442 h 257442"/>
                <a:gd name="connsiteX3" fmla="*/ 0 w 3350303"/>
                <a:gd name="connsiteY3" fmla="*/ 0 h 257442"/>
                <a:gd name="connsiteX0" fmla="*/ 3181988 w 3295582"/>
                <a:gd name="connsiteY0" fmla="*/ 0 h 257442"/>
                <a:gd name="connsiteX1" fmla="*/ 3295582 w 3295582"/>
                <a:gd name="connsiteY1" fmla="*/ 257442 h 257442"/>
                <a:gd name="connsiteX2" fmla="*/ 0 w 3295582"/>
                <a:gd name="connsiteY2" fmla="*/ 257442 h 257442"/>
                <a:gd name="connsiteX3" fmla="*/ 0 w 3295582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181988 w 3181988"/>
                <a:gd name="connsiteY0" fmla="*/ 0 h 257442"/>
                <a:gd name="connsiteX1" fmla="*/ 3127267 w 3181988"/>
                <a:gd name="connsiteY1" fmla="*/ 257442 h 257442"/>
                <a:gd name="connsiteX2" fmla="*/ 0 w 3181988"/>
                <a:gd name="connsiteY2" fmla="*/ 257442 h 257442"/>
                <a:gd name="connsiteX3" fmla="*/ 0 w 3181988"/>
                <a:gd name="connsiteY3" fmla="*/ 0 h 257442"/>
                <a:gd name="connsiteX0" fmla="*/ 3004056 w 3127267"/>
                <a:gd name="connsiteY0" fmla="*/ 0 h 257442"/>
                <a:gd name="connsiteX1" fmla="*/ 3127267 w 3127267"/>
                <a:gd name="connsiteY1" fmla="*/ 257442 h 257442"/>
                <a:gd name="connsiteX2" fmla="*/ 0 w 3127267"/>
                <a:gd name="connsiteY2" fmla="*/ 257442 h 257442"/>
                <a:gd name="connsiteX3" fmla="*/ 0 w 3127267"/>
                <a:gd name="connsiteY3" fmla="*/ 0 h 257442"/>
                <a:gd name="connsiteX0" fmla="*/ 3004056 w 3004056"/>
                <a:gd name="connsiteY0" fmla="*/ 0 h 257442"/>
                <a:gd name="connsiteX1" fmla="*/ 2949336 w 3004056"/>
                <a:gd name="connsiteY1" fmla="*/ 257442 h 257442"/>
                <a:gd name="connsiteX2" fmla="*/ 0 w 3004056"/>
                <a:gd name="connsiteY2" fmla="*/ 257442 h 257442"/>
                <a:gd name="connsiteX3" fmla="*/ 0 w 3004056"/>
                <a:gd name="connsiteY3" fmla="*/ 0 h 257442"/>
                <a:gd name="connsiteX0" fmla="*/ 3004056 w 3004056"/>
                <a:gd name="connsiteY0" fmla="*/ 0 h 257442"/>
                <a:gd name="connsiteX1" fmla="*/ 2949336 w 3004056"/>
                <a:gd name="connsiteY1" fmla="*/ 257442 h 257442"/>
                <a:gd name="connsiteX2" fmla="*/ 1 w 3004056"/>
                <a:gd name="connsiteY2" fmla="*/ 257442 h 257442"/>
                <a:gd name="connsiteX3" fmla="*/ 0 w 3004056"/>
                <a:gd name="connsiteY3" fmla="*/ 0 h 257442"/>
                <a:gd name="connsiteX0" fmla="*/ 3004055 w 3004055"/>
                <a:gd name="connsiteY0" fmla="*/ 0 h 257442"/>
                <a:gd name="connsiteX1" fmla="*/ 2949335 w 3004055"/>
                <a:gd name="connsiteY1" fmla="*/ 257442 h 257442"/>
                <a:gd name="connsiteX2" fmla="*/ 0 w 3004055"/>
                <a:gd name="connsiteY2" fmla="*/ 257442 h 257442"/>
                <a:gd name="connsiteX3" fmla="*/ 0 w 3004055"/>
                <a:gd name="connsiteY3" fmla="*/ 0 h 257442"/>
                <a:gd name="connsiteX0" fmla="*/ 2843755 w 2949335"/>
                <a:gd name="connsiteY0" fmla="*/ 0 h 257442"/>
                <a:gd name="connsiteX1" fmla="*/ 2949335 w 2949335"/>
                <a:gd name="connsiteY1" fmla="*/ 257442 h 257442"/>
                <a:gd name="connsiteX2" fmla="*/ 0 w 2949335"/>
                <a:gd name="connsiteY2" fmla="*/ 257442 h 257442"/>
                <a:gd name="connsiteX3" fmla="*/ 0 w 294933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843755 w 2843755"/>
                <a:gd name="connsiteY0" fmla="*/ 0 h 257442"/>
                <a:gd name="connsiteX1" fmla="*/ 2789034 w 2843755"/>
                <a:gd name="connsiteY1" fmla="*/ 257442 h 257442"/>
                <a:gd name="connsiteX2" fmla="*/ 0 w 2843755"/>
                <a:gd name="connsiteY2" fmla="*/ 257442 h 257442"/>
                <a:gd name="connsiteX3" fmla="*/ 0 w 2843755"/>
                <a:gd name="connsiteY3" fmla="*/ 0 h 257442"/>
                <a:gd name="connsiteX0" fmla="*/ 2683455 w 2789034"/>
                <a:gd name="connsiteY0" fmla="*/ 0 h 257442"/>
                <a:gd name="connsiteX1" fmla="*/ 2789034 w 2789034"/>
                <a:gd name="connsiteY1" fmla="*/ 257442 h 257442"/>
                <a:gd name="connsiteX2" fmla="*/ 0 w 2789034"/>
                <a:gd name="connsiteY2" fmla="*/ 257442 h 257442"/>
                <a:gd name="connsiteX3" fmla="*/ 0 w 2789034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0 w 2683455"/>
                <a:gd name="connsiteY2" fmla="*/ 257442 h 257442"/>
                <a:gd name="connsiteX3" fmla="*/ 0 w 2683455"/>
                <a:gd name="connsiteY3" fmla="*/ 0 h 257442"/>
                <a:gd name="connsiteX0" fmla="*/ 2683455 w 2683455"/>
                <a:gd name="connsiteY0" fmla="*/ 0 h 257442"/>
                <a:gd name="connsiteX1" fmla="*/ 2628734 w 2683455"/>
                <a:gd name="connsiteY1" fmla="*/ 257442 h 257442"/>
                <a:gd name="connsiteX2" fmla="*/ 1 w 2683455"/>
                <a:gd name="connsiteY2" fmla="*/ 257442 h 257442"/>
                <a:gd name="connsiteX3" fmla="*/ 0 w 2683455"/>
                <a:gd name="connsiteY3" fmla="*/ 0 h 257442"/>
                <a:gd name="connsiteX0" fmla="*/ 2683454 w 2683454"/>
                <a:gd name="connsiteY0" fmla="*/ 0 h 257442"/>
                <a:gd name="connsiteX1" fmla="*/ 2628733 w 2683454"/>
                <a:gd name="connsiteY1" fmla="*/ 257442 h 257442"/>
                <a:gd name="connsiteX2" fmla="*/ 0 w 2683454"/>
                <a:gd name="connsiteY2" fmla="*/ 257442 h 257442"/>
                <a:gd name="connsiteX3" fmla="*/ 0 w 2683454"/>
                <a:gd name="connsiteY3" fmla="*/ 0 h 257442"/>
                <a:gd name="connsiteX0" fmla="*/ 2515138 w 2628733"/>
                <a:gd name="connsiteY0" fmla="*/ 0 h 257442"/>
                <a:gd name="connsiteX1" fmla="*/ 2628733 w 2628733"/>
                <a:gd name="connsiteY1" fmla="*/ 257442 h 257442"/>
                <a:gd name="connsiteX2" fmla="*/ 0 w 2628733"/>
                <a:gd name="connsiteY2" fmla="*/ 257442 h 257442"/>
                <a:gd name="connsiteX3" fmla="*/ 0 w 2628733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515138 w 2515138"/>
                <a:gd name="connsiteY0" fmla="*/ 0 h 257442"/>
                <a:gd name="connsiteX1" fmla="*/ 2460418 w 2515138"/>
                <a:gd name="connsiteY1" fmla="*/ 257442 h 257442"/>
                <a:gd name="connsiteX2" fmla="*/ 0 w 2515138"/>
                <a:gd name="connsiteY2" fmla="*/ 257442 h 257442"/>
                <a:gd name="connsiteX3" fmla="*/ 0 w 2515138"/>
                <a:gd name="connsiteY3" fmla="*/ 0 h 257442"/>
                <a:gd name="connsiteX0" fmla="*/ 2416907 w 2460418"/>
                <a:gd name="connsiteY0" fmla="*/ 0 h 257442"/>
                <a:gd name="connsiteX1" fmla="*/ 2460418 w 2460418"/>
                <a:gd name="connsiteY1" fmla="*/ 257442 h 257442"/>
                <a:gd name="connsiteX2" fmla="*/ 0 w 2460418"/>
                <a:gd name="connsiteY2" fmla="*/ 257442 h 257442"/>
                <a:gd name="connsiteX3" fmla="*/ 0 w 2460418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0 w 2416907"/>
                <a:gd name="connsiteY2" fmla="*/ 257442 h 257442"/>
                <a:gd name="connsiteX3" fmla="*/ 0 w 2416907"/>
                <a:gd name="connsiteY3" fmla="*/ 0 h 257442"/>
                <a:gd name="connsiteX0" fmla="*/ 2416907 w 2416907"/>
                <a:gd name="connsiteY0" fmla="*/ 0 h 257442"/>
                <a:gd name="connsiteX1" fmla="*/ 2362186 w 2416907"/>
                <a:gd name="connsiteY1" fmla="*/ 257442 h 257442"/>
                <a:gd name="connsiteX2" fmla="*/ 1 w 2416907"/>
                <a:gd name="connsiteY2" fmla="*/ 257442 h 257442"/>
                <a:gd name="connsiteX3" fmla="*/ 0 w 2416907"/>
                <a:gd name="connsiteY3" fmla="*/ 0 h 257442"/>
                <a:gd name="connsiteX0" fmla="*/ 2416906 w 2416906"/>
                <a:gd name="connsiteY0" fmla="*/ 0 h 257442"/>
                <a:gd name="connsiteX1" fmla="*/ 2362185 w 2416906"/>
                <a:gd name="connsiteY1" fmla="*/ 257442 h 257442"/>
                <a:gd name="connsiteX2" fmla="*/ 0 w 2416906"/>
                <a:gd name="connsiteY2" fmla="*/ 257442 h 257442"/>
                <a:gd name="connsiteX3" fmla="*/ 0 w 2416906"/>
                <a:gd name="connsiteY3" fmla="*/ 0 h 257442"/>
                <a:gd name="connsiteX0" fmla="*/ 2262313 w 2362185"/>
                <a:gd name="connsiteY0" fmla="*/ 0 h 257442"/>
                <a:gd name="connsiteX1" fmla="*/ 2362185 w 2362185"/>
                <a:gd name="connsiteY1" fmla="*/ 257442 h 257442"/>
                <a:gd name="connsiteX2" fmla="*/ 0 w 2362185"/>
                <a:gd name="connsiteY2" fmla="*/ 257442 h 257442"/>
                <a:gd name="connsiteX3" fmla="*/ 0 w 2362185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262313 w 2262313"/>
                <a:gd name="connsiteY0" fmla="*/ 0 h 257442"/>
                <a:gd name="connsiteX1" fmla="*/ 2207593 w 2262313"/>
                <a:gd name="connsiteY1" fmla="*/ 257442 h 257442"/>
                <a:gd name="connsiteX2" fmla="*/ 0 w 2262313"/>
                <a:gd name="connsiteY2" fmla="*/ 257442 h 257442"/>
                <a:gd name="connsiteX3" fmla="*/ 0 w 2262313"/>
                <a:gd name="connsiteY3" fmla="*/ 0 h 257442"/>
                <a:gd name="connsiteX0" fmla="*/ 2093998 w 2207593"/>
                <a:gd name="connsiteY0" fmla="*/ 0 h 257442"/>
                <a:gd name="connsiteX1" fmla="*/ 2207593 w 2207593"/>
                <a:gd name="connsiteY1" fmla="*/ 257442 h 257442"/>
                <a:gd name="connsiteX2" fmla="*/ 0 w 2207593"/>
                <a:gd name="connsiteY2" fmla="*/ 257442 h 257442"/>
                <a:gd name="connsiteX3" fmla="*/ 0 w 2207593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2093998 w 2093998"/>
                <a:gd name="connsiteY0" fmla="*/ 0 h 257442"/>
                <a:gd name="connsiteX1" fmla="*/ 2039277 w 2093998"/>
                <a:gd name="connsiteY1" fmla="*/ 257442 h 257442"/>
                <a:gd name="connsiteX2" fmla="*/ 0 w 2093998"/>
                <a:gd name="connsiteY2" fmla="*/ 257442 h 257442"/>
                <a:gd name="connsiteX3" fmla="*/ 0 w 2093998"/>
                <a:gd name="connsiteY3" fmla="*/ 0 h 257442"/>
                <a:gd name="connsiteX0" fmla="*/ 1918822 w 2039277"/>
                <a:gd name="connsiteY0" fmla="*/ 0 h 257442"/>
                <a:gd name="connsiteX1" fmla="*/ 2039277 w 2039277"/>
                <a:gd name="connsiteY1" fmla="*/ 257442 h 257442"/>
                <a:gd name="connsiteX2" fmla="*/ 0 w 2039277"/>
                <a:gd name="connsiteY2" fmla="*/ 257442 h 257442"/>
                <a:gd name="connsiteX3" fmla="*/ 0 w 2039277"/>
                <a:gd name="connsiteY3" fmla="*/ 0 h 257442"/>
                <a:gd name="connsiteX0" fmla="*/ 1918822 w 1918822"/>
                <a:gd name="connsiteY0" fmla="*/ 0 h 257442"/>
                <a:gd name="connsiteX1" fmla="*/ 1864102 w 1918822"/>
                <a:gd name="connsiteY1" fmla="*/ 257442 h 257442"/>
                <a:gd name="connsiteX2" fmla="*/ 0 w 1918822"/>
                <a:gd name="connsiteY2" fmla="*/ 257442 h 257442"/>
                <a:gd name="connsiteX3" fmla="*/ 0 w 1918822"/>
                <a:gd name="connsiteY3" fmla="*/ 0 h 257442"/>
                <a:gd name="connsiteX0" fmla="*/ 1918822 w 1918822"/>
                <a:gd name="connsiteY0" fmla="*/ 0 h 257442"/>
                <a:gd name="connsiteX1" fmla="*/ 1864102 w 1918822"/>
                <a:gd name="connsiteY1" fmla="*/ 257442 h 257442"/>
                <a:gd name="connsiteX2" fmla="*/ 1 w 1918822"/>
                <a:gd name="connsiteY2" fmla="*/ 257442 h 257442"/>
                <a:gd name="connsiteX3" fmla="*/ 0 w 1918822"/>
                <a:gd name="connsiteY3" fmla="*/ 0 h 257442"/>
                <a:gd name="connsiteX0" fmla="*/ 1918821 w 1918821"/>
                <a:gd name="connsiteY0" fmla="*/ 0 h 257442"/>
                <a:gd name="connsiteX1" fmla="*/ 1864101 w 1918821"/>
                <a:gd name="connsiteY1" fmla="*/ 257442 h 257442"/>
                <a:gd name="connsiteX2" fmla="*/ 0 w 1918821"/>
                <a:gd name="connsiteY2" fmla="*/ 257442 h 257442"/>
                <a:gd name="connsiteX3" fmla="*/ 0 w 1918821"/>
                <a:gd name="connsiteY3" fmla="*/ 0 h 257442"/>
                <a:gd name="connsiteX0" fmla="*/ 1777951 w 1864101"/>
                <a:gd name="connsiteY0" fmla="*/ 0 h 257442"/>
                <a:gd name="connsiteX1" fmla="*/ 1864101 w 1864101"/>
                <a:gd name="connsiteY1" fmla="*/ 257442 h 257442"/>
                <a:gd name="connsiteX2" fmla="*/ 0 w 1864101"/>
                <a:gd name="connsiteY2" fmla="*/ 257442 h 257442"/>
                <a:gd name="connsiteX3" fmla="*/ 0 w 186410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777951 w 1777951"/>
                <a:gd name="connsiteY0" fmla="*/ 0 h 257442"/>
                <a:gd name="connsiteX1" fmla="*/ 1723230 w 1777951"/>
                <a:gd name="connsiteY1" fmla="*/ 257442 h 257442"/>
                <a:gd name="connsiteX2" fmla="*/ 0 w 1777951"/>
                <a:gd name="connsiteY2" fmla="*/ 257442 h 257442"/>
                <a:gd name="connsiteX3" fmla="*/ 0 w 1777951"/>
                <a:gd name="connsiteY3" fmla="*/ 0 h 257442"/>
                <a:gd name="connsiteX0" fmla="*/ 1609635 w 1723230"/>
                <a:gd name="connsiteY0" fmla="*/ 0 h 257442"/>
                <a:gd name="connsiteX1" fmla="*/ 1723230 w 1723230"/>
                <a:gd name="connsiteY1" fmla="*/ 257442 h 257442"/>
                <a:gd name="connsiteX2" fmla="*/ 0 w 1723230"/>
                <a:gd name="connsiteY2" fmla="*/ 257442 h 257442"/>
                <a:gd name="connsiteX3" fmla="*/ 0 w 1723230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1 w 1609635"/>
                <a:gd name="connsiteY2" fmla="*/ 257442 h 257442"/>
                <a:gd name="connsiteX3" fmla="*/ 0 w 1609635"/>
                <a:gd name="connsiteY3" fmla="*/ 0 h 257442"/>
                <a:gd name="connsiteX0" fmla="*/ 1609634 w 1609634"/>
                <a:gd name="connsiteY0" fmla="*/ 0 h 257442"/>
                <a:gd name="connsiteX1" fmla="*/ 1554913 w 1609634"/>
                <a:gd name="connsiteY1" fmla="*/ 257442 h 257442"/>
                <a:gd name="connsiteX2" fmla="*/ 0 w 1609634"/>
                <a:gd name="connsiteY2" fmla="*/ 257442 h 257442"/>
                <a:gd name="connsiteX3" fmla="*/ 0 w 1609634"/>
                <a:gd name="connsiteY3" fmla="*/ 0 h 257442"/>
                <a:gd name="connsiteX0" fmla="*/ 1457349 w 1554913"/>
                <a:gd name="connsiteY0" fmla="*/ 0 h 257442"/>
                <a:gd name="connsiteX1" fmla="*/ 1554913 w 1554913"/>
                <a:gd name="connsiteY1" fmla="*/ 257442 h 257442"/>
                <a:gd name="connsiteX2" fmla="*/ 0 w 1554913"/>
                <a:gd name="connsiteY2" fmla="*/ 257442 h 257442"/>
                <a:gd name="connsiteX3" fmla="*/ 0 w 1554913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457349 w 1457349"/>
                <a:gd name="connsiteY0" fmla="*/ 0 h 257442"/>
                <a:gd name="connsiteX1" fmla="*/ 1402629 w 1457349"/>
                <a:gd name="connsiteY1" fmla="*/ 257442 h 257442"/>
                <a:gd name="connsiteX2" fmla="*/ 0 w 1457349"/>
                <a:gd name="connsiteY2" fmla="*/ 257442 h 257442"/>
                <a:gd name="connsiteX3" fmla="*/ 0 w 1457349"/>
                <a:gd name="connsiteY3" fmla="*/ 0 h 257442"/>
                <a:gd name="connsiteX0" fmla="*/ 1289034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0 w 1402629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111101 w 1234313"/>
                <a:gd name="connsiteY0" fmla="*/ 0 h 257442"/>
                <a:gd name="connsiteX1" fmla="*/ 1234313 w 1234313"/>
                <a:gd name="connsiteY1" fmla="*/ 257442 h 257442"/>
                <a:gd name="connsiteX2" fmla="*/ 0 w 1234313"/>
                <a:gd name="connsiteY2" fmla="*/ 257442 h 257442"/>
                <a:gd name="connsiteX3" fmla="*/ 0 w 1234313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950800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782551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1 w 89608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1 w 782550"/>
                <a:gd name="connsiteY2" fmla="*/ 257442 h 257442"/>
                <a:gd name="connsiteX3" fmla="*/ 0 w 782550"/>
                <a:gd name="connsiteY3" fmla="*/ 0 h 257442"/>
                <a:gd name="connsiteX0" fmla="*/ 942786 w 942786"/>
                <a:gd name="connsiteY0" fmla="*/ 0 h 257442"/>
                <a:gd name="connsiteX1" fmla="*/ 727829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81020 w 1281020"/>
                <a:gd name="connsiteY0" fmla="*/ 0 h 257442"/>
                <a:gd name="connsiteX1" fmla="*/ 1048365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281020 w 1327287"/>
                <a:gd name="connsiteY0" fmla="*/ 0 h 257442"/>
                <a:gd name="connsiteX1" fmla="*/ 1327287 w 1327287"/>
                <a:gd name="connsiteY1" fmla="*/ 257442 h 257442"/>
                <a:gd name="connsiteX2" fmla="*/ 0 w 1327287"/>
                <a:gd name="connsiteY2" fmla="*/ 257442 h 257442"/>
                <a:gd name="connsiteX3" fmla="*/ 0 w 1327287"/>
                <a:gd name="connsiteY3" fmla="*/ 0 h 257442"/>
                <a:gd name="connsiteX0" fmla="*/ 1281020 w 1281020"/>
                <a:gd name="connsiteY0" fmla="*/ 0 h 257442"/>
                <a:gd name="connsiteX1" fmla="*/ 1226300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300 w 1281020"/>
                <a:gd name="connsiteY1" fmla="*/ 257442 h 257442"/>
                <a:gd name="connsiteX2" fmla="*/ 1 w 1281020"/>
                <a:gd name="connsiteY2" fmla="*/ 257442 h 257442"/>
                <a:gd name="connsiteX3" fmla="*/ 0 w 1281020"/>
                <a:gd name="connsiteY3" fmla="*/ 0 h 257442"/>
                <a:gd name="connsiteX0" fmla="*/ 1281019 w 1281019"/>
                <a:gd name="connsiteY0" fmla="*/ 0 h 257442"/>
                <a:gd name="connsiteX1" fmla="*/ 1226299 w 1281019"/>
                <a:gd name="connsiteY1" fmla="*/ 257442 h 257442"/>
                <a:gd name="connsiteX2" fmla="*/ 0 w 1281019"/>
                <a:gd name="connsiteY2" fmla="*/ 257442 h 257442"/>
                <a:gd name="connsiteX3" fmla="*/ 0 w 1281019"/>
                <a:gd name="connsiteY3" fmla="*/ 0 h 257442"/>
                <a:gd name="connsiteX0" fmla="*/ 1103086 w 1226299"/>
                <a:gd name="connsiteY0" fmla="*/ 0 h 257442"/>
                <a:gd name="connsiteX1" fmla="*/ 1226299 w 1226299"/>
                <a:gd name="connsiteY1" fmla="*/ 257442 h 257442"/>
                <a:gd name="connsiteX2" fmla="*/ 0 w 1226299"/>
                <a:gd name="connsiteY2" fmla="*/ 257442 h 257442"/>
                <a:gd name="connsiteX3" fmla="*/ 0 w 1226299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81020 w 1281020"/>
                <a:gd name="connsiteY0" fmla="*/ 0 h 257442"/>
                <a:gd name="connsiteX1" fmla="*/ 1048365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550324 w 1550324"/>
                <a:gd name="connsiteY0" fmla="*/ 0 h 257442"/>
                <a:gd name="connsiteX1" fmla="*/ 1327287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710625 w 1710625"/>
                <a:gd name="connsiteY0" fmla="*/ 0 h 257442"/>
                <a:gd name="connsiteX1" fmla="*/ 1495603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48858 w 2048858"/>
                <a:gd name="connsiteY0" fmla="*/ 0 h 257442"/>
                <a:gd name="connsiteX1" fmla="*/ 1816204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17174 w 2217174"/>
                <a:gd name="connsiteY0" fmla="*/ 0 h 257442"/>
                <a:gd name="connsiteX1" fmla="*/ 1994137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69458 w 2369458"/>
                <a:gd name="connsiteY0" fmla="*/ 0 h 257442"/>
                <a:gd name="connsiteX1" fmla="*/ 2162452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369458 w 2369458"/>
                <a:gd name="connsiteY0" fmla="*/ 0 h 257442"/>
                <a:gd name="connsiteX1" fmla="*/ 2314737 w 2369458"/>
                <a:gd name="connsiteY1" fmla="*/ 257442 h 257442"/>
                <a:gd name="connsiteX2" fmla="*/ 0 w 2369458"/>
                <a:gd name="connsiteY2" fmla="*/ 257442 h 257442"/>
                <a:gd name="connsiteX3" fmla="*/ 0 w 2369458"/>
                <a:gd name="connsiteY3" fmla="*/ 0 h 257442"/>
                <a:gd name="connsiteX0" fmla="*/ 2470448 w 2470448"/>
                <a:gd name="connsiteY0" fmla="*/ 0 h 257442"/>
                <a:gd name="connsiteX1" fmla="*/ 231473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8763 w 2638763"/>
                <a:gd name="connsiteY0" fmla="*/ 0 h 257442"/>
                <a:gd name="connsiteX1" fmla="*/ 2415727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16697 w 2816697"/>
                <a:gd name="connsiteY0" fmla="*/ 0 h 257442"/>
                <a:gd name="connsiteX1" fmla="*/ 2584042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2816697 w 2816697"/>
                <a:gd name="connsiteY0" fmla="*/ 0 h 257442"/>
                <a:gd name="connsiteX1" fmla="*/ 2761976 w 2816697"/>
                <a:gd name="connsiteY1" fmla="*/ 257442 h 257442"/>
                <a:gd name="connsiteX2" fmla="*/ 0 w 2816697"/>
                <a:gd name="connsiteY2" fmla="*/ 257442 h 257442"/>
                <a:gd name="connsiteX3" fmla="*/ 0 w 2816697"/>
                <a:gd name="connsiteY3" fmla="*/ 0 h 257442"/>
                <a:gd name="connsiteX0" fmla="*/ 1281020 w 2761976"/>
                <a:gd name="connsiteY0" fmla="*/ 0 h 257442"/>
                <a:gd name="connsiteX1" fmla="*/ 2761976 w 2761976"/>
                <a:gd name="connsiteY1" fmla="*/ 257442 h 257442"/>
                <a:gd name="connsiteX2" fmla="*/ 0 w 2761976"/>
                <a:gd name="connsiteY2" fmla="*/ 257442 h 257442"/>
                <a:gd name="connsiteX3" fmla="*/ 0 w 2761976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0 w 1281020"/>
                <a:gd name="connsiteY3" fmla="*/ 0 h 257442"/>
                <a:gd name="connsiteX0" fmla="*/ 1382008 w 1382008"/>
                <a:gd name="connsiteY0" fmla="*/ 0 h 257442"/>
                <a:gd name="connsiteX1" fmla="*/ 1226299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542309 w 1542309"/>
                <a:gd name="connsiteY0" fmla="*/ 0 h 257442"/>
                <a:gd name="connsiteX1" fmla="*/ 1327287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542309 w 1542309"/>
                <a:gd name="connsiteY0" fmla="*/ 0 h 257442"/>
                <a:gd name="connsiteX1" fmla="*/ 1487588 w 1542309"/>
                <a:gd name="connsiteY1" fmla="*/ 257442 h 257442"/>
                <a:gd name="connsiteX2" fmla="*/ 0 w 1542309"/>
                <a:gd name="connsiteY2" fmla="*/ 257442 h 257442"/>
                <a:gd name="connsiteX3" fmla="*/ 0 w 1542309"/>
                <a:gd name="connsiteY3" fmla="*/ 0 h 257442"/>
                <a:gd name="connsiteX0" fmla="*/ 1720243 w 1720243"/>
                <a:gd name="connsiteY0" fmla="*/ 0 h 257442"/>
                <a:gd name="connsiteX1" fmla="*/ 1487588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0 w 1720243"/>
                <a:gd name="connsiteY3" fmla="*/ 0 h 257442"/>
                <a:gd name="connsiteX0" fmla="*/ 1872527 w 1872527"/>
                <a:gd name="connsiteY0" fmla="*/ 0 h 257442"/>
                <a:gd name="connsiteX1" fmla="*/ 1665522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1872527 w 1872527"/>
                <a:gd name="connsiteY0" fmla="*/ 0 h 257442"/>
                <a:gd name="connsiteX1" fmla="*/ 1817806 w 1872527"/>
                <a:gd name="connsiteY1" fmla="*/ 257442 h 257442"/>
                <a:gd name="connsiteX2" fmla="*/ 0 w 1872527"/>
                <a:gd name="connsiteY2" fmla="*/ 257442 h 257442"/>
                <a:gd name="connsiteX3" fmla="*/ 0 w 1872527"/>
                <a:gd name="connsiteY3" fmla="*/ 0 h 257442"/>
                <a:gd name="connsiteX0" fmla="*/ 2024813 w 2024813"/>
                <a:gd name="connsiteY0" fmla="*/ 0 h 257442"/>
                <a:gd name="connsiteX1" fmla="*/ 1817806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024813 w 2024813"/>
                <a:gd name="connsiteY0" fmla="*/ 0 h 257442"/>
                <a:gd name="connsiteX1" fmla="*/ 1970092 w 2024813"/>
                <a:gd name="connsiteY1" fmla="*/ 257442 h 257442"/>
                <a:gd name="connsiteX2" fmla="*/ 0 w 2024813"/>
                <a:gd name="connsiteY2" fmla="*/ 257442 h 257442"/>
                <a:gd name="connsiteX3" fmla="*/ 0 w 2024813"/>
                <a:gd name="connsiteY3" fmla="*/ 0 h 257442"/>
                <a:gd name="connsiteX0" fmla="*/ 2228394 w 2228394"/>
                <a:gd name="connsiteY0" fmla="*/ 0 h 257442"/>
                <a:gd name="connsiteX1" fmla="*/ 1970092 w 2228394"/>
                <a:gd name="connsiteY1" fmla="*/ 257442 h 257442"/>
                <a:gd name="connsiteX2" fmla="*/ 0 w 2228394"/>
                <a:gd name="connsiteY2" fmla="*/ 257442 h 257442"/>
                <a:gd name="connsiteX3" fmla="*/ 0 w 2228394"/>
                <a:gd name="connsiteY3" fmla="*/ 0 h 257442"/>
                <a:gd name="connsiteX0" fmla="*/ 2228394 w 2228394"/>
                <a:gd name="connsiteY0" fmla="*/ 0 h 257442"/>
                <a:gd name="connsiteX1" fmla="*/ 2173672 w 2228394"/>
                <a:gd name="connsiteY1" fmla="*/ 257442 h 257442"/>
                <a:gd name="connsiteX2" fmla="*/ 0 w 2228394"/>
                <a:gd name="connsiteY2" fmla="*/ 257442 h 257442"/>
                <a:gd name="connsiteX3" fmla="*/ 0 w 2228394"/>
                <a:gd name="connsiteY3" fmla="*/ 0 h 257442"/>
                <a:gd name="connsiteX0" fmla="*/ 2228395 w 2228395"/>
                <a:gd name="connsiteY0" fmla="*/ 0 h 257442"/>
                <a:gd name="connsiteX1" fmla="*/ 2173673 w 2228395"/>
                <a:gd name="connsiteY1" fmla="*/ 257442 h 257442"/>
                <a:gd name="connsiteX2" fmla="*/ 0 w 2228395"/>
                <a:gd name="connsiteY2" fmla="*/ 257442 h 257442"/>
                <a:gd name="connsiteX3" fmla="*/ 1 w 2228395"/>
                <a:gd name="connsiteY3" fmla="*/ 0 h 257442"/>
                <a:gd name="connsiteX0" fmla="*/ 2228395 w 2228395"/>
                <a:gd name="connsiteY0" fmla="*/ 0 h 257442"/>
                <a:gd name="connsiteX1" fmla="*/ 2173673 w 2228395"/>
                <a:gd name="connsiteY1" fmla="*/ 257442 h 257442"/>
                <a:gd name="connsiteX2" fmla="*/ 0 w 2228395"/>
                <a:gd name="connsiteY2" fmla="*/ 257442 h 257442"/>
                <a:gd name="connsiteX3" fmla="*/ 1 w 2228395"/>
                <a:gd name="connsiteY3" fmla="*/ 0 h 257442"/>
                <a:gd name="connsiteX0" fmla="*/ 2388247 w 2388247"/>
                <a:gd name="connsiteY0" fmla="*/ 0 h 257442"/>
                <a:gd name="connsiteX1" fmla="*/ 2173673 w 2388247"/>
                <a:gd name="connsiteY1" fmla="*/ 257442 h 257442"/>
                <a:gd name="connsiteX2" fmla="*/ 0 w 2388247"/>
                <a:gd name="connsiteY2" fmla="*/ 257442 h 257442"/>
                <a:gd name="connsiteX3" fmla="*/ 1 w 2388247"/>
                <a:gd name="connsiteY3" fmla="*/ 0 h 257442"/>
                <a:gd name="connsiteX0" fmla="*/ 2388247 w 2388247"/>
                <a:gd name="connsiteY0" fmla="*/ 0 h 257442"/>
                <a:gd name="connsiteX1" fmla="*/ 2333526 w 2388247"/>
                <a:gd name="connsiteY1" fmla="*/ 257442 h 257442"/>
                <a:gd name="connsiteX2" fmla="*/ 0 w 2388247"/>
                <a:gd name="connsiteY2" fmla="*/ 257442 h 257442"/>
                <a:gd name="connsiteX3" fmla="*/ 1 w 2388247"/>
                <a:gd name="connsiteY3" fmla="*/ 0 h 257442"/>
                <a:gd name="connsiteX0" fmla="*/ 2388246 w 2388246"/>
                <a:gd name="connsiteY0" fmla="*/ 0 h 257442"/>
                <a:gd name="connsiteX1" fmla="*/ 2333525 w 2388246"/>
                <a:gd name="connsiteY1" fmla="*/ 257442 h 257442"/>
                <a:gd name="connsiteX2" fmla="*/ 0 w 2388246"/>
                <a:gd name="connsiteY2" fmla="*/ 257442 h 257442"/>
                <a:gd name="connsiteX3" fmla="*/ 0 w 2388246"/>
                <a:gd name="connsiteY3" fmla="*/ 0 h 257442"/>
                <a:gd name="connsiteX0" fmla="*/ 2388247 w 2388247"/>
                <a:gd name="connsiteY0" fmla="*/ 0 h 257442"/>
                <a:gd name="connsiteX1" fmla="*/ 2333526 w 2388247"/>
                <a:gd name="connsiteY1" fmla="*/ 257442 h 257442"/>
                <a:gd name="connsiteX2" fmla="*/ 1 w 2388247"/>
                <a:gd name="connsiteY2" fmla="*/ 257442 h 257442"/>
                <a:gd name="connsiteX3" fmla="*/ 0 w 2388247"/>
                <a:gd name="connsiteY3" fmla="*/ 0 h 257442"/>
                <a:gd name="connsiteX0" fmla="*/ 2556562 w 2556562"/>
                <a:gd name="connsiteY0" fmla="*/ 0 h 257442"/>
                <a:gd name="connsiteX1" fmla="*/ 2333526 w 2556562"/>
                <a:gd name="connsiteY1" fmla="*/ 257442 h 257442"/>
                <a:gd name="connsiteX2" fmla="*/ 1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1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0 w 2556562"/>
                <a:gd name="connsiteY2" fmla="*/ 257442 h 257442"/>
                <a:gd name="connsiteX3" fmla="*/ 0 w 2556562"/>
                <a:gd name="connsiteY3" fmla="*/ 0 h 257442"/>
                <a:gd name="connsiteX0" fmla="*/ 2556562 w 2556562"/>
                <a:gd name="connsiteY0" fmla="*/ 0 h 257442"/>
                <a:gd name="connsiteX1" fmla="*/ 2501840 w 2556562"/>
                <a:gd name="connsiteY1" fmla="*/ 257442 h 257442"/>
                <a:gd name="connsiteX2" fmla="*/ 0 w 2556562"/>
                <a:gd name="connsiteY2" fmla="*/ 257442 h 257442"/>
                <a:gd name="connsiteX3" fmla="*/ 0 w 2556562"/>
                <a:gd name="connsiteY3" fmla="*/ 0 h 257442"/>
                <a:gd name="connsiteX0" fmla="*/ 2716861 w 2716861"/>
                <a:gd name="connsiteY0" fmla="*/ 0 h 257442"/>
                <a:gd name="connsiteX1" fmla="*/ 25018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2716861 w 2716861"/>
                <a:gd name="connsiteY0" fmla="*/ 0 h 257442"/>
                <a:gd name="connsiteX1" fmla="*/ 2662140 w 2716861"/>
                <a:gd name="connsiteY1" fmla="*/ 257442 h 257442"/>
                <a:gd name="connsiteX2" fmla="*/ 0 w 2716861"/>
                <a:gd name="connsiteY2" fmla="*/ 257442 h 257442"/>
                <a:gd name="connsiteX3" fmla="*/ 0 w 2716861"/>
                <a:gd name="connsiteY3" fmla="*/ 0 h 257442"/>
                <a:gd name="connsiteX0" fmla="*/ 942786 w 2662140"/>
                <a:gd name="connsiteY0" fmla="*/ 0 h 257442"/>
                <a:gd name="connsiteX1" fmla="*/ 2662140 w 2662140"/>
                <a:gd name="connsiteY1" fmla="*/ 257442 h 257442"/>
                <a:gd name="connsiteX2" fmla="*/ 0 w 2662140"/>
                <a:gd name="connsiteY2" fmla="*/ 257442 h 257442"/>
                <a:gd name="connsiteX3" fmla="*/ 0 w 266214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63386 w 1263386"/>
                <a:gd name="connsiteY0" fmla="*/ 0 h 257442"/>
                <a:gd name="connsiteX1" fmla="*/ 10483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0 w 16000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0017" h="257442">
                  <a:moveTo>
                    <a:pt x="1600017" y="0"/>
                  </a:moveTo>
                  <a:lnTo>
                    <a:pt x="154529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btfpRunningAgenda2LevelTextLeft770509">
              <a:extLst>
                <a:ext uri="{FF2B5EF4-FFF2-40B4-BE49-F238E27FC236}">
                  <a16:creationId xmlns:a16="http://schemas.microsoft.com/office/drawing/2014/main" id="{E061DEA9-5465-4DFB-9D13-B600BFE7A178}"/>
                </a:ext>
              </a:extLst>
            </p:cNvPr>
            <p:cNvSpPr txBox="1"/>
            <p:nvPr/>
          </p:nvSpPr>
          <p:spPr bwMode="gray">
            <a:xfrm>
              <a:off x="0" y="876300"/>
              <a:ext cx="154529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nd</a:t>
              </a:r>
              <a:endParaRPr kumimoji="0" lang="en-US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9" name="btfpColumnHeaderBox397298">
            <a:extLst>
              <a:ext uri="{FF2B5EF4-FFF2-40B4-BE49-F238E27FC236}">
                <a16:creationId xmlns:a16="http://schemas.microsoft.com/office/drawing/2014/main" id="{7D7898FB-AA46-4DB9-802B-1215A335C3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8378296" y="1510756"/>
            <a:ext cx="3483504" cy="318997"/>
            <a:chOff x="8378296" y="1270000"/>
            <a:chExt cx="3483504" cy="318997"/>
          </a:xfrm>
        </p:grpSpPr>
        <p:sp>
          <p:nvSpPr>
            <p:cNvPr id="80" name="btfpColumnHeaderBoxText397298">
              <a:extLst>
                <a:ext uri="{FF2B5EF4-FFF2-40B4-BE49-F238E27FC236}">
                  <a16:creationId xmlns:a16="http://schemas.microsoft.com/office/drawing/2014/main" id="{715437E4-9BA2-41DC-80BD-B0D6227F5A65}"/>
                </a:ext>
              </a:extLst>
            </p:cNvPr>
            <p:cNvSpPr txBox="1"/>
            <p:nvPr/>
          </p:nvSpPr>
          <p:spPr bwMode="gray">
            <a:xfrm>
              <a:off x="8378296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entary</a:t>
              </a:r>
            </a:p>
          </p:txBody>
        </p:sp>
        <p:cxnSp>
          <p:nvCxnSpPr>
            <p:cNvPr id="81" name="btfpColumnHeaderBoxLine397298">
              <a:extLst>
                <a:ext uri="{FF2B5EF4-FFF2-40B4-BE49-F238E27FC236}">
                  <a16:creationId xmlns:a16="http://schemas.microsoft.com/office/drawing/2014/main" id="{DE1F230C-4977-4B44-8952-6853E235556F}"/>
                </a:ext>
              </a:extLst>
            </p:cNvPr>
            <p:cNvCxnSpPr/>
            <p:nvPr/>
          </p:nvCxnSpPr>
          <p:spPr bwMode="gray">
            <a:xfrm>
              <a:off x="8378296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btfpColumnHeaderBox889335">
            <a:extLst>
              <a:ext uri="{FF2B5EF4-FFF2-40B4-BE49-F238E27FC236}">
                <a16:creationId xmlns:a16="http://schemas.microsoft.com/office/drawing/2014/main" id="{2047ACE4-AD4F-43D8-800F-214782BF5A24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52106" y="1261449"/>
            <a:ext cx="3590719" cy="568302"/>
            <a:chOff x="330200" y="1084241"/>
            <a:chExt cx="5495528" cy="362343"/>
          </a:xfrm>
        </p:grpSpPr>
        <p:sp>
          <p:nvSpPr>
            <p:cNvPr id="95" name="btfpColumnHeaderBoxText889335">
              <a:extLst>
                <a:ext uri="{FF2B5EF4-FFF2-40B4-BE49-F238E27FC236}">
                  <a16:creationId xmlns:a16="http://schemas.microsoft.com/office/drawing/2014/main" id="{28C03A7B-1977-4F9C-8F7C-9D385D6EF007}"/>
                </a:ext>
              </a:extLst>
            </p:cNvPr>
            <p:cNvSpPr txBox="1"/>
            <p:nvPr/>
          </p:nvSpPr>
          <p:spPr bwMode="gray">
            <a:xfrm>
              <a:off x="330200" y="1084241"/>
              <a:ext cx="5495528" cy="3568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nd increase rate expected to increase in near future</a:t>
              </a:r>
            </a:p>
          </p:txBody>
        </p:sp>
        <p:cxnSp>
          <p:nvCxnSpPr>
            <p:cNvPr id="96" name="btfpColumnHeaderBoxLine889335">
              <a:extLst>
                <a:ext uri="{FF2B5EF4-FFF2-40B4-BE49-F238E27FC236}">
                  <a16:creationId xmlns:a16="http://schemas.microsoft.com/office/drawing/2014/main" id="{65BC5AC1-D869-4ECA-848C-3513B0CB4903}"/>
                </a:ext>
              </a:extLst>
            </p:cNvPr>
            <p:cNvCxnSpPr/>
            <p:nvPr/>
          </p:nvCxnSpPr>
          <p:spPr bwMode="gray">
            <a:xfrm>
              <a:off x="330200" y="1446584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B278C5EC-81B0-4124-8C03-E1228949D2AD}"/>
              </a:ext>
            </a:extLst>
          </p:cNvPr>
          <p:cNvSpPr/>
          <p:nvPr/>
        </p:nvSpPr>
        <p:spPr bwMode="gray">
          <a:xfrm>
            <a:off x="8108024" y="1351814"/>
            <a:ext cx="3749013" cy="4812760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k – not upda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422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btfpColumnIndicatorGroup2">
            <a:extLst>
              <a:ext uri="{FF2B5EF4-FFF2-40B4-BE49-F238E27FC236}">
                <a16:creationId xmlns:a16="http://schemas.microsoft.com/office/drawing/2014/main" id="{A241D1FA-921C-46CD-838B-2AD0CB11E6B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4" name="btfpColumnGapBlocker591208">
              <a:extLst>
                <a:ext uri="{FF2B5EF4-FFF2-40B4-BE49-F238E27FC236}">
                  <a16:creationId xmlns:a16="http://schemas.microsoft.com/office/drawing/2014/main" id="{48E6976A-9924-4C5F-B352-E9FCAB373A7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148576">
              <a:extLst>
                <a:ext uri="{FF2B5EF4-FFF2-40B4-BE49-F238E27FC236}">
                  <a16:creationId xmlns:a16="http://schemas.microsoft.com/office/drawing/2014/main" id="{6358364C-6458-4251-814D-B3DDAE5BC017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295604">
              <a:extLst>
                <a:ext uri="{FF2B5EF4-FFF2-40B4-BE49-F238E27FC236}">
                  <a16:creationId xmlns:a16="http://schemas.microsoft.com/office/drawing/2014/main" id="{DCBE6DE9-A9EC-4D62-9C0B-832FD6331C7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527986">
              <a:extLst>
                <a:ext uri="{FF2B5EF4-FFF2-40B4-BE49-F238E27FC236}">
                  <a16:creationId xmlns:a16="http://schemas.microsoft.com/office/drawing/2014/main" id="{E63D49EF-ADF2-45A9-ABF3-318FF19744F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369987">
              <a:extLst>
                <a:ext uri="{FF2B5EF4-FFF2-40B4-BE49-F238E27FC236}">
                  <a16:creationId xmlns:a16="http://schemas.microsoft.com/office/drawing/2014/main" id="{CC22BE33-E57C-4B15-A52F-B5427F8CF07C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176182">
              <a:extLst>
                <a:ext uri="{FF2B5EF4-FFF2-40B4-BE49-F238E27FC236}">
                  <a16:creationId xmlns:a16="http://schemas.microsoft.com/office/drawing/2014/main" id="{360B18F4-7584-4827-99DF-76FC3AF86227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687718">
              <a:extLst>
                <a:ext uri="{FF2B5EF4-FFF2-40B4-BE49-F238E27FC236}">
                  <a16:creationId xmlns:a16="http://schemas.microsoft.com/office/drawing/2014/main" id="{EC4267A8-8A09-4B10-9AAC-B5FD06EA8D9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276110">
              <a:extLst>
                <a:ext uri="{FF2B5EF4-FFF2-40B4-BE49-F238E27FC236}">
                  <a16:creationId xmlns:a16="http://schemas.microsoft.com/office/drawing/2014/main" id="{C56EB3D3-2CBB-4BE5-B043-B0DE5594E3C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352272">
              <a:extLst>
                <a:ext uri="{FF2B5EF4-FFF2-40B4-BE49-F238E27FC236}">
                  <a16:creationId xmlns:a16="http://schemas.microsoft.com/office/drawing/2014/main" id="{A40DD41D-2710-412E-B48B-ED6A6BD9E9F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08296">
              <a:extLst>
                <a:ext uri="{FF2B5EF4-FFF2-40B4-BE49-F238E27FC236}">
                  <a16:creationId xmlns:a16="http://schemas.microsoft.com/office/drawing/2014/main" id="{42CEE032-3C4C-4CC6-B13E-2E1276BAB28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ColumnIndicatorGroup1">
            <a:extLst>
              <a:ext uri="{FF2B5EF4-FFF2-40B4-BE49-F238E27FC236}">
                <a16:creationId xmlns:a16="http://schemas.microsoft.com/office/drawing/2014/main" id="{3FC060CF-EC56-4FCA-AC1D-941334999AD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4" name="btfpColumnGapBlocker139977">
              <a:extLst>
                <a:ext uri="{FF2B5EF4-FFF2-40B4-BE49-F238E27FC236}">
                  <a16:creationId xmlns:a16="http://schemas.microsoft.com/office/drawing/2014/main" id="{479143E9-190D-4E40-93CA-E68865749F0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134204">
              <a:extLst>
                <a:ext uri="{FF2B5EF4-FFF2-40B4-BE49-F238E27FC236}">
                  <a16:creationId xmlns:a16="http://schemas.microsoft.com/office/drawing/2014/main" id="{993D4079-6275-4AE5-8F6C-C1069FE157F4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532293">
              <a:extLst>
                <a:ext uri="{FF2B5EF4-FFF2-40B4-BE49-F238E27FC236}">
                  <a16:creationId xmlns:a16="http://schemas.microsoft.com/office/drawing/2014/main" id="{7CCE7181-83EA-4F1D-A313-92801C9333E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418896">
              <a:extLst>
                <a:ext uri="{FF2B5EF4-FFF2-40B4-BE49-F238E27FC236}">
                  <a16:creationId xmlns:a16="http://schemas.microsoft.com/office/drawing/2014/main" id="{14536CBD-A836-4789-96BF-E9F20DE42CE7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296579">
              <a:extLst>
                <a:ext uri="{FF2B5EF4-FFF2-40B4-BE49-F238E27FC236}">
                  <a16:creationId xmlns:a16="http://schemas.microsoft.com/office/drawing/2014/main" id="{7F3CC811-F6FC-4EDE-A6E8-9F8265166882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735166">
              <a:extLst>
                <a:ext uri="{FF2B5EF4-FFF2-40B4-BE49-F238E27FC236}">
                  <a16:creationId xmlns:a16="http://schemas.microsoft.com/office/drawing/2014/main" id="{8E1D8315-C23C-4CD4-B984-0549413B5EC8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727167">
              <a:extLst>
                <a:ext uri="{FF2B5EF4-FFF2-40B4-BE49-F238E27FC236}">
                  <a16:creationId xmlns:a16="http://schemas.microsoft.com/office/drawing/2014/main" id="{66EF6969-D6BA-4FEE-B975-69CD589C944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428726">
              <a:extLst>
                <a:ext uri="{FF2B5EF4-FFF2-40B4-BE49-F238E27FC236}">
                  <a16:creationId xmlns:a16="http://schemas.microsoft.com/office/drawing/2014/main" id="{5ECCC2FE-84FA-4732-B563-8AAE60ACCB9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998706">
              <a:extLst>
                <a:ext uri="{FF2B5EF4-FFF2-40B4-BE49-F238E27FC236}">
                  <a16:creationId xmlns:a16="http://schemas.microsoft.com/office/drawing/2014/main" id="{06EDBB39-BE32-4B36-A39C-BF779A717AD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361342">
              <a:extLst>
                <a:ext uri="{FF2B5EF4-FFF2-40B4-BE49-F238E27FC236}">
                  <a16:creationId xmlns:a16="http://schemas.microsoft.com/office/drawing/2014/main" id="{CD508538-C15D-4543-85AF-EB19870D407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CB9CF2A-D366-4F7D-9BC2-4E6D914FA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Future Spend: </a:t>
            </a:r>
            <a:r>
              <a:rPr lang="en-GB"/>
              <a:t>~</a:t>
            </a:r>
            <a:r>
              <a:rPr lang="pl-PL"/>
              <a:t>x</a:t>
            </a:r>
            <a:r>
              <a:rPr lang="en-GB"/>
              <a:t>% </a:t>
            </a:r>
            <a:r>
              <a:rPr lang="pl-PL"/>
              <a:t>of X </a:t>
            </a:r>
            <a:r>
              <a:rPr lang="en-GB"/>
              <a:t>customers have increased spend over past 3 years driven </a:t>
            </a:r>
            <a:r>
              <a:rPr lang="pl-PL"/>
              <a:t>by y and z</a:t>
            </a:r>
            <a:endParaRPr lang="en-GB"/>
          </a:p>
        </p:txBody>
      </p:sp>
      <p:grpSp>
        <p:nvGrpSpPr>
          <p:cNvPr id="37" name="btfpColumnHeaderBox540953">
            <a:extLst>
              <a:ext uri="{FF2B5EF4-FFF2-40B4-BE49-F238E27FC236}">
                <a16:creationId xmlns:a16="http://schemas.microsoft.com/office/drawing/2014/main" id="{3F3E471C-A856-4EFD-A440-298C3C22C9D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8378296" y="1270000"/>
            <a:ext cx="3483504" cy="318997"/>
            <a:chOff x="8378296" y="1270000"/>
            <a:chExt cx="3483504" cy="318997"/>
          </a:xfrm>
        </p:grpSpPr>
        <p:sp>
          <p:nvSpPr>
            <p:cNvPr id="35" name="btfpColumnHeaderBoxText540953">
              <a:extLst>
                <a:ext uri="{FF2B5EF4-FFF2-40B4-BE49-F238E27FC236}">
                  <a16:creationId xmlns:a16="http://schemas.microsoft.com/office/drawing/2014/main" id="{897E03C6-429D-428F-A716-93F79B1D24A8}"/>
                </a:ext>
              </a:extLst>
            </p:cNvPr>
            <p:cNvSpPr txBox="1"/>
            <p:nvPr/>
          </p:nvSpPr>
          <p:spPr bwMode="gray">
            <a:xfrm>
              <a:off x="8378296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s for spend increase</a:t>
              </a:r>
            </a:p>
          </p:txBody>
        </p:sp>
        <p:cxnSp>
          <p:nvCxnSpPr>
            <p:cNvPr id="36" name="btfpColumnHeaderBoxLine540953">
              <a:extLst>
                <a:ext uri="{FF2B5EF4-FFF2-40B4-BE49-F238E27FC236}">
                  <a16:creationId xmlns:a16="http://schemas.microsoft.com/office/drawing/2014/main" id="{AFFC453C-BE1D-44E7-9C8E-7EF60F488A84}"/>
                </a:ext>
              </a:extLst>
            </p:cNvPr>
            <p:cNvCxnSpPr/>
            <p:nvPr/>
          </p:nvCxnSpPr>
          <p:spPr bwMode="gray">
            <a:xfrm>
              <a:off x="8378296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HeaderBox661944">
            <a:extLst>
              <a:ext uri="{FF2B5EF4-FFF2-40B4-BE49-F238E27FC236}">
                <a16:creationId xmlns:a16="http://schemas.microsoft.com/office/drawing/2014/main" id="{2D7EE323-843F-497A-B4E9-027657A934A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354248" y="1270000"/>
            <a:ext cx="3483505" cy="318997"/>
            <a:chOff x="4354248" y="1270000"/>
            <a:chExt cx="3483505" cy="318997"/>
          </a:xfrm>
        </p:grpSpPr>
        <p:sp>
          <p:nvSpPr>
            <p:cNvPr id="38" name="btfpColumnHeaderBoxText661944">
              <a:extLst>
                <a:ext uri="{FF2B5EF4-FFF2-40B4-BE49-F238E27FC236}">
                  <a16:creationId xmlns:a16="http://schemas.microsoft.com/office/drawing/2014/main" id="{0615115A-0E1F-4DF8-87C1-A233260125DB}"/>
                </a:ext>
              </a:extLst>
            </p:cNvPr>
            <p:cNvSpPr txBox="1"/>
            <p:nvPr/>
          </p:nvSpPr>
          <p:spPr bwMode="gray">
            <a:xfrm>
              <a:off x="4354248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nge in spend</a:t>
              </a:r>
            </a:p>
          </p:txBody>
        </p:sp>
        <p:cxnSp>
          <p:nvCxnSpPr>
            <p:cNvPr id="39" name="btfpColumnHeaderBoxLine661944">
              <a:extLst>
                <a:ext uri="{FF2B5EF4-FFF2-40B4-BE49-F238E27FC236}">
                  <a16:creationId xmlns:a16="http://schemas.microsoft.com/office/drawing/2014/main" id="{4B2E6DD1-87C5-4CFC-B34A-2439B9509DFF}"/>
                </a:ext>
              </a:extLst>
            </p:cNvPr>
            <p:cNvCxnSpPr/>
            <p:nvPr/>
          </p:nvCxnSpPr>
          <p:spPr bwMode="gray">
            <a:xfrm>
              <a:off x="4354248" y="1588997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HeaderBox469352">
            <a:extLst>
              <a:ext uri="{FF2B5EF4-FFF2-40B4-BE49-F238E27FC236}">
                <a16:creationId xmlns:a16="http://schemas.microsoft.com/office/drawing/2014/main" id="{44C6321C-12C7-4736-9720-39E652C9C75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3483504" cy="318997"/>
            <a:chOff x="330200" y="1270000"/>
            <a:chExt cx="3483504" cy="318997"/>
          </a:xfrm>
        </p:grpSpPr>
        <p:sp>
          <p:nvSpPr>
            <p:cNvPr id="41" name="btfpColumnHeaderBoxText469352">
              <a:extLst>
                <a:ext uri="{FF2B5EF4-FFF2-40B4-BE49-F238E27FC236}">
                  <a16:creationId xmlns:a16="http://schemas.microsoft.com/office/drawing/2014/main" id="{AF7525A0-F91D-4F76-8321-22024CAFD3E6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s for spend decrease</a:t>
              </a:r>
            </a:p>
          </p:txBody>
        </p:sp>
        <p:cxnSp>
          <p:nvCxnSpPr>
            <p:cNvPr id="42" name="btfpColumnHeaderBoxLine469352">
              <a:extLst>
                <a:ext uri="{FF2B5EF4-FFF2-40B4-BE49-F238E27FC236}">
                  <a16:creationId xmlns:a16="http://schemas.microsoft.com/office/drawing/2014/main" id="{5A08B3F5-88D0-4D51-89E0-87E3B7429D07}"/>
                </a:ext>
              </a:extLst>
            </p:cNvPr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FEC675C1-8328-45B9-8727-626B61F4043E}"/>
              </a:ext>
            </a:extLst>
          </p:cNvPr>
          <p:cNvSpPr/>
          <p:nvPr/>
        </p:nvSpPr>
        <p:spPr bwMode="gray">
          <a:xfrm>
            <a:off x="4354248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 mentioned that you use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X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 how has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spend changed with them over the past 3 yea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 Please express your answer as an average percentage change per annum (p.a.)</a:t>
            </a:r>
          </a:p>
        </p:txBody>
      </p:sp>
      <p:sp>
        <p:nvSpPr>
          <p:cNvPr id="57" name="btfpMGChart7605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SUoKIVno2gKBPyQolx3v+NPQU6Q/hm64tsWvrtk2WvemX3R1i30epLY+Gvs/Bk9H7SvI+l86HnzJphtKa+2gVBliR1UB7wpAR8BTu//viV1dRXSbVvIidOuxVZWzXBoQ75zemztbVkmTW2/fRaYKe0Qf43blYygBLSISG4OzZ3mXsB1Wh4d68x2fSkeyPQek9XLqLR0ZkGaVo0i9M5DHPeQXhubgVVJHVs1/boEt1x/VxPgLqq2gAqOme7x6gqOo/uTxCvoBOxYI5KOz73YH2WVOPFZw9H1gJgYAqblhbnJO9PEJbuRiRtMy4973tXU+JnYDhHLA90fDe3+oP3aEj33102D40w1RgHW38BB7Y2xNnE97IhgdUi9DPdD+weH+Kn4yzH0JLIqQgoyTOQiYAXeZ2yamw/1QDtLDnq8TLhzXYkkfT4SIUtWah8kzW6Oo1e1VwmD2Zf/cXyMT0miMAe8TTxPpzLd3b4CTryiS+RD1IoQv8iAk0FpqIie7JXtXXyDY0dRArE94bBibmPA/A9iiJ6xs1iRyKkoEDzbWX3DnpIHa0YwPogC4Ex1QcMBSRHDhdRPEdhL9KE8biBUzk2QQjWhZfXR+Ft9UdbW+kJ2HzMdL6n/VXbaTTJEQ+8l1BRXLB1ARX5f+9px9/LObAQx3xLeCkZ62BZTxYWZRZHL7KkLusYfLkCq52WMDbNOukumawmoMUorx4sLkiuV2/C1k8A3LO/2I7vpS//Ju4yWeYQ4tL3k84SfIxYPBPXQAzQpAscalewbdYbr9DuWjIpuUOI3THSjBtKoP2u+i7h4hVFpZRSElTrLCxQvgExijPxFoDVWiNylapD22+KZ2MH1xGOyZwsrn84MvPzLOw/pByWgwCCvD9u++fJ2oTrKczEuTJJDlDAhXKn3uRNWJS1CfRd+NtU95tKhD7bHYM61wCGS5UOBTZXggDAKNiK0bpXiAiyP0WfEAKxTlfKshNEeAE5CtujtjuuPjelb3OEOZLtLHiSrIiHNq1GYQQPn5sDEZgVvAyhGS3isER+RecAv73WA/USo+2IJlZ5hCMzmx1MqyZOeAylQvtKgBdMY4KKB4sP7pApIsVYmWgeWKLiJmle2PP06ig2efi5k/hgvGtYfOBOhxWfc/EG+uTFMhkHw0dlkgWdY9fTPYdMdQyKQ6d4+eFatYRV75lEMcRk5lWVu6FcPjIa2gmf8VMQUVHs/3j4Q3julAUbt+E7i2oJWOOdfQJRSqHysfzYo2PJTIeRPyVaV12s7omVbJFt6TqRMDkDo/27fh0foQS9/kjfC0q6Y2fOZ6TqXBLoseT1VlNpiBaei9IzhtNM8f88AhNygwe74or9hLMVdiBrVWPYyxggRfkUdhXm/B9qry+dwQcyDcdfFAYciBoo7hvsmu/1KptPAu/tktnYFOldTskhYtqKs9d9S1rf3ZAKiEyRCASCGbjzzY2IefCpfSDjNcg2m/LgAo+kBqQQPMh+hlHeYAoFh61kUTeRQMSTF/XhIhdBYCQYlY4JKAFxe3OxNGKcnZkK6P/bqAF3Muu30FTUQ1yiH/RG+/Y7MDPMonbaJEAvlYcw3tKzkWiMzoVXxT0s/RMOueOWHlmQcYWOcc40IB8eYsuIgnpye1+QWRslZo1yaCopONbKBbeJ7xR1ipUuDgsxC2FTbU0aIS9am+7diOREJrDQ1xyF0pP/zc2SKqJEYH6RQfb/jhgnXELOOf7RY10W9J01mrKoSywbSEpjNzMVXzJodN2CZoIN5wQDr0NczFI2ShTlDEaWDQLnd2OvI9Cy/zNGH0AFrhwkw2OznIUGFLk7n3/sCxfAts5cHp/pyL5uISRQ6Q4Ra5ais8x5ruj6b1Yx6oGrEWBnzJhOVZIYqn2fB484IjQhn/WiYs66tzda5hgnjtoNpryWCCyIzOf0Y3B6jX8s65yhbAaxqn8g8ie2LlA7jwIts6VTOCfoZnxXT2h1xBVRIu6wGP87DJNTJ+6NQxwT/O0lidAXE2V+KzkJ/UfdXY+qG2Oc0wUj3d71F1tiYKmsQa8YMsNrsTthCB/k4r8J4kjL9qjHNgLlr6bf4MhGI5xWUnekSkiOeUxuyzv2te1ZFjBAVklEra+QL75N6y/xfC0kCNAx6RBOqg3nhet4r47ZI8prg5sDJXUrN1b0m49dSVRwm546BySsCmaAwK9e5LlnRMboRjITOiT6E6cE4mJN2bihbTM4gcsoMac/FTdqYGLhsv7/kcwbsiGFeE3Ga6PSjv9yLZtIW0cgPCijbvQ4JTbwR2jviRPA0Jw7C3vZFwnLu9jNcrFTtp63aMwgVK/uzFy6RWJwsLMG3HcglDl74EBldbg01XpuHm+1b7AOVOJGjSksK1dhv3rKBPiLi+JpKxvlyoE6rUKCNEPu7G+flBhg5u1AmFoLZmxclOqpVS04OGTtoCGcW2+VpVKdyIesZxoskZ6RTf5RhvaLTGvtnjx+0lrJxtY6sSWYucbYEvvFkVd0Es8jsmSe78HmgONSLbJS9QQ0SZTW0WQYrhQQM3wBbmdjsKqrGWFDAIDI90VGWqiIi/3ZP1L0EU1EJymcm8+o10K3wXqvbENcFh4M5k4s9sIo74lGe5c7I9rjMpIX6Jtjwd0MpYi643TwjSFKvqUk1yl0GVLqrES2GYrZqZv6/+/txGCo0wVSd8LUaVWPky35q6hOLZ7g+YhV+yvqcKQiFSkJTTTWepK6Mfd9YDfxsmIm5k4z5KyVZ1c8j0Gk61wU4UYOHbKgGvz6s/Sbba9W1e3KA1rNVDiIsfMX1qoZEKnrHVeTwyD/nIBLvBv66pEO2q0K+44BxbknZ2BJkfw0kR/h8i0qYfW/OpbHP+xf0mztIXSolKAhz9PiHVjaVlpQy57f5IQjWFuQ44Ne6hkX0CR283RKB4m1R7l8IBnu60cefMVaMjmWTruEcpBPuoX70o8cQgkBDK4Lt5w1dpLdGNgvKZxZVbTqvW8N2edgBE1udAGPrQJz3jRvTTZ1LR+8X8PzZEwJ3jUwiQU1fFJY6+pTFsjMnNVovji3KmrucnKz+l62njIZBhjBY3tKR4QeAN+Ve3LtNips3xdcxPn0j/LLYwkrnH+Wi7wT35W1VpHFr5WoR06uICl6D862thCK2SSjCAEq/t0KdS2RePCaVjAhJC97SmeKSksUla9wb83tjj8mtztT6BvsLSYztaQZLwrFQFBafZzQ8hy+1OqhuPEbJ7oSY2YHl8Fi5cxuyQCEqpsAvgaCLisySum2QPLmbkpEeJ2sWN2F0YaT4jW8Xh03zQfk6mHRChHJitZIEp6G2la9ZzBKqzg43fSCq4U+um3NlWNuHsANkb2aVtfZmGGx269va4H25jU8xCbXAaq7djt1TxZruEZQCHFn11zGUFalgh2n2TORB8Hg0PvIMz3x44up+uZ20kogjgxUln3XkB0zaQ5Cr5vbXfPAtYkzAAFL5JVInJtHnHw2w4q37rBQlzHY0Bm5P9x/dSSxyirNmic+PVy6RP7H6S8xJE94gADOIShXsqwvSZDt5CSueps8fl+qf5nAhjLi4p4wL3+HVEwGWTaoeFVn+niaytHNOol2VdH2Rmy2c19KswbQSEnvzPDNA1t5YFBqE8BeOZizKmpjNSiXHbH2e8ojyT7FCULAZ6srePivsjGWi6EtAf/5KGBzF9tYctqTPqPjHlYhRvbSf/QOAZkEwsKvQ4m1Wu2UkKIlcrlne6+bE8ekzvUVaYj975lFPViJARLZBfhdz4pGZCml5SzNr04dKuUll36AoPskMxJoQClM2CNxXLfAGVtxA4qa42rc6IWhk1ES6i0GQ1jgG1UfNUkN8H5d9Wg48nmBGGyL6s4uSJ2K154S5mb1zUBbnr8nslazVrRsvkvxaIRoIUt63lcPTUnntunB2tNLkNA7FVr3vMULvZQ0/C8wkP9EbV9UEr5/E7G70ccOI6VN8WKd0DqDYbBkbecGiTooj0KCDzdF+WZSkmBqtnOELwN8AGWvQOf6yQFkw68X/mUXPrJGgfzcuGnUcu9xpvbh84+YMVGIXcZh7L5JP9iGEgFyrBwXxPVTLtYQts5a+GMm6ahYRyjk/LrZs89dqhXFA75nXAJfS+YUnPElFWVJyxCgC/zIyRxRY+T7q2xgO7AK4JQyprW9XjzLHGUyK1Ne0str7onLf6bh6j8T3cf97zLqSFWHenhTyyu/rulcRm/pbpXBRixBF4HExwX8MzxDb3BcjQSX9R7aFQaFSyEIJcofAlmDZVXtbhRpqNAnjQYimG91S07d5gsaqZl0RXbLdbjMbavgNyRx7xxrZzZfNfY92PMukv38aYm3K/Na/DSRbj1wVtbb2nzwnevGZQcQgOdMj2OOct3BJ0ncy7SCPchfKHoj1xcs9Z8QWjxEr8Deiu9V7sFjMAVK9ciUkjbyRc0Nwn5rLqoTDBgOOQmYm13Gy4YxVmsSqlwV0/za9n5bzeKkl24ypWMsEHK34t2GWKOa0SvN1zeO1zfJiOnLp1/YelI+hm2nWnWCVvNJQFRXtdfKpJnw1E27nYNXkqJVVcGHo4uZksdfuSXOoZah9IQIV2FgOuPUzwKXN3mb9oo4lN+0sc+c5Izr14zsN2XMSrzxJqGUy5XVtLDAf2i+TRHkutPBcH0LAu3JoJKPioJE8DsCJXj8DlwOIYNiZjeDfv4LZsMLCddcP3+03VHAz03Hy0RM/WOiaU7MRt6KoRJYk8LsOsu+kcy1w7W5zu8SndbY1iW0B2gJ86m+FlAUyrZRBe4493w9Bzkyzxjx2v1y+2jcBKKyM7Jm5ZmxWBhUJuKsfLEqfE1cY9DCkdfg27Fur/RIUhlI/xedroW+12csZR7DRhLAB1hCt71zS5jwGGvt3s/3RtDEJdItJ1LJ7DDbVcsCvDryB/WpC3l+n1uRiOdLGxDKP4GC4uYbU5piX9PsQo3WciUPEbX9xHj0NKEfAzHCopHphMbGj/4rt7BGeeipvcP07gEeJaMoxjbVNEcb0HpJrwJ9OYWIIOEFmW5Su8KYW/DF2AuAp5DN4DSKpOs8/CyC5nq/cQxqCQqm/nQKbSp0cmZ0ThupS66vWRvOupIpdR4TBjErSyIqLJ2Mp6BB62qA7zkF3YJQteO97JFj7wjcHaQFK4KD6f2vzfyE9c/GP1BgRs8sg/rYXD2g1QPBOGBTdkTRFB2KlIqQSgyVSuAiNaYKPgXcd/QHxFaoe+xo648JrUUwWDHN+BDXYKWAV77N8K29vwVOkoV+98TomkMUQMPU/Wb3qHbiWRPGxTqQ0SqHrv7VNOoXOg9uOsaXBoOzpqSslXJA45N4ZAQeFrcqi201YWP2MLMVk+c8xASSsaxQUcItRA4e0YgwVOJEwSq3rNmAA5wnbqNwXgosod7Bg/OLXdlYl0wjR8KcBChzRv0QEoyIsYmC8BoSO8pexsaWpAzeyNFGW7WCTRyNv1K9ZUO7TetXfXMYawwvjczRvOEpbSf51aEBxBXOhL+xYKDDZ8KVZScl5+MSl9sFe7vw2hYdCw79TYe7tJRBU+yL3fW9pa7Itaug967n2acZ/HeX0nvBdYZYRWvvthkjMTM8/4QePhLrjPoj6CFp2npPecKrYFOXGPM+OHZJb3AqsPfIEVtP/N5iQA0JwAZIL1CSqjHHdcFPuwf2tXrnYwCOgFxO8C76uV1wu3kSRtb0FejAjunoOozYvkHkQsjJGW4RZPsmGVhBKpw9OdcFtDswL1BnWZ2VhMlw36fVfa/Fsg7Ss7prk1ROAfFE2iI2pQR406DsoloSVz5W93UwjzPUUx2EVBq/mDncOOHMDydxMRClmywH3uxYI0aszjOjzskNH8vHGOL3BlFX6po1MVA3yO0X7v3Sb3zFEew+uaYuTXc+H5Nn9wAIITAqC/ZKwkwd5ypegZKQfyaikGWAMhlRvpDSddAiizQ8g+q/dCJMKIeIGR6U/yE9tmogHimwwVCwI3kowDt0wRqqq/yhKJ4XPxmUeU6uhHTapmYXzeISG9XJ7TvE1CWeV1jyruiFahB9JrIYENYomyKLEsFBW6Uh3sK/JUtg0m5pq3JDW1NicNNS98rbsZo9dy2wvcNS7g3y4mEQ+PC9Q27l4elbjILssaELjxsreOJs49iUEeEGLo0dWzBafTYOp3K6aSmt+edYus//39bZWrsesCu6d8AzGd/klik+sLDR9Rkzelm/0xgjT2p2skohOOqDdWu7Hk4oamDyyL6L3GQmJPOBNYKRv1Wl90cLJs/595iHmwgpJfAHRQ3BPqRtopJuwjkGZEH4fnlNuSvatuXrNW23E9mAJv6IUf+amfuoE/O3GqWtanNPy9iSzR88FGJpDJ+rUx8XIh48s+XfDeWq8tST/IiSldmIZ0RSH8fJAkBt9yWAP/fGFUb+AQl2cCNDe6uFV11nYV7nZZgPUKtl3ZROj2rmpWg/tlgKmO1FrzviKia4uQ5P78eAs8aW63KUaYBNttxWQNbmZv8wweAlnD7E+gzUCEdm/D/tvh4UXOQ0ExgZUyIV9j3RSTG3eDlCKy4AZrjvM5dvrPIifsjmOMtwgVI93qYT00TUIID7OWeJpw5HqyFp3UxkVsNEysqQxBDxcROqoAw7v7pKIRlVHXK4LkVOV7pd8uMP/uAL+HVNDrJ5qczyfxNeCgcWwX1SP7yuKZcl5f9ba+mhzOr6izmGKHH1chQu2diHUzo5xDNw7K+fNKE9k0FC0oBCpDrtRajunLRbqDZMVa8dknkc5ATLHvTHjKxv8dPuRrkeELMQZTImOmZod1GHKK3v4zjf3F4PqTJtrb+oAn5NxZ3nV6WadbmVmD9tA8XHQFfXIoShIMj1VH+OoI8LzIKFMc3jvQCIWT0au3syNvRu1rzFohxZ6jm/Cz4f0tOcawh2dHvFXyRfpumAqHg0fGBeGAbTLr/rmmr+yRl1TjfE8dSU8sADuqI3zj5Pr1mKJ/LXckV/F0lwYkaPts5C4okDqbzSM2NL3SmQ+f4u4D/uI5W9gQaQFLLxF+lRRf8CLKmFuIeSDzWp09hwjxy1tTPj8biAFp/j/X279KmmSNgZlx11x6QBm30UxsQY2PkUchkFdPs4oVn19vEJHtHd4/dJHhEI6Zim9ZbnUzPdDU8QRSg0zWgkZyiOiFO4r+OwW9yYXzctwGcpgaFczDptVcazCsP+eR4OtmUqjpSroeh9nFKI9A3dkWw4YO3Ufm/Mwkvk+VtVkuVOVH2gw9JiS/2vxtR7Mfjfb35529JQ/hfCyDFfNdZScc0bO52P4hLG9MXxPneeNx4uNarFlQC03yFQebddcJgB9wiCLYy3wRFWcE15o9L6aFv84AY0zGAPewW+15qLhGMMH7Qb9BRu/KaVjT9LwciOdtuZ4zlZJoUnbbgAHwLax79Nm9bdeNBp4aU27EJQ5K+rfEHvUWMbwLERYrQNXyiv6hZORINw8lHXiW3e8kzUqSEaAwkCJ1Wu0cp3zsmGeV8ptsP2cioqbkeM/QEPBrX49RcwG+WwHUfhJscB3UKHsOqrMHTnRQKJQlpof3H2yMc9VFbDjBItu1hlcphx9b52lcCMuuFO+qXXx45kakvoYpezf2cocHgQv0ET1pllsOl6aJtUB/n8J6QipFeNvx+08bBTakwLMT0mhLq/aXCnxsAktx6jDNtpT70epVI3EqaEJM5xIYYSL+JlYG6BrAQJovYk6w70xs1uuO7mYDDq3ix0B+Ls+XgVGTkEr9kjzJojRVEk8m+Ycr8V1aH/WNA5og6gyZm/1SGDDIO+7ZmnN1wCck4CYi78f2BHjMwZJ7D5e7sorpWbJzaRI+24Xy6S8/+4GytxTRzV3RJ+hOCbNruiGar+Pmx2twlhNUetcfRCq8yUMMbTWbJb+KkzLnnHuDH9yk/uZ+beKVakuZ4kbeB8HYUf72xUFeztiZb8jDiSQtxCIFyILXcf/7THTzRvliavAy9MZg0HG7FdB2bV9XWS34GGAMLWaZbZPsHxORAkm49KCsfQeQTq6xQLp2KCkpnLY5XP+5QN9Y0V9B/wppSHliMpKng/x4Q71QkOkwDWeU4riZoi183zfRbjNF9fuWpfYwIFLC/cNirANsNjyprk6zHQwKqDefkqPEI6ixSiNfj9QoUXN4xpu6YN74u/GCiztMvbx2LKdi30Bz8uEFrcG/QQYTNW/DncD8LUh4SmaBMbCih+gc5r6jEKJ9stipuLZSGgdkjuKl4+yloX0auIxdcuDAl11o8ql2t8515v1yrdh5eppqgCOmNDlgPoXe4rcgAwYJpABf3sVMcLjjClGkB4Nm/NTzGIp50L+kzsE0iM53wkvUe9Kwsz9dDX9FLbsRGu3qY99CGLTYX7JqlZGErxKjvqU/BQClEAep+4gAbpJLEdWpvwtKeNc8QxKrWwIY90ts3cQ90uhDDz+clAGI7oU/N6TwZ330jDVFMichqLPUIkt0/6LVCLP+OG7GOr71/DVNznNeaoLNA+LezmezfmVwFW5V9BzvqXeiODLfXzyI1jm/RZcPOdN2EiA3Ychk57V77uzRlcztXiuSkBQfJPBMpfmFaXt/j2p+ctPAxRtsb2/d0Q2P8cRIxCsI7c6dAOpIiEqN2l4mnIkSoT1goI8yKJ9qTwusKX/PJz/xcIBU5LiZyCrFvxqjSxdWd8W7zGQHcfAZ4jP6bGXYUKJ0gzfaDZtr7hzZRX5pKNsTXgQA3zTXgRPzSgIhkN7+zX2Hz+lU+JlCjg2EvYzRwFsbxKQke5BIsjxT0Y3LxfBCdehMQ3UktRgM+D2NW8JmyzWu62Qc4nLUfISDFcNePDhB8/sNVplwS9rkHH5MimUzTNGVan8XCqkXRx/K+beH+xT9W/UnBeq426Y3QjHnL2nj+LfkWq5DWRRZud8joWwPAzw5G6Y0AV7Zvls4LPkAsEGbYVCoOA1vzZMf12tApwrpUfW80oZIaUR8X4o/fydggoUoXToRY2CeAuScYJTokaxMF/UEaxfpzvJfZqfIAw6bpeDlEWvovyHOTgoVXvuUn+usw00hQfObKUzO6mz4e1r9R2JbKAgD+Mf8Pi7L4VczYMnANby0VykzRtd+8VPPwpnDISDBy38VS45YxT6+fB+W2j9QnvAPNF7UK2iLRDRAfyub9zF2zXls+ATMBaguH1OSMnK2T9xRrpCl1xj33kencIjqmalY/s6z+80KHdEctj8E9JTmzigEyL10AOKQ3gFcAnGCGu20Kuy9Xxvn7s1OYO5+hG7YizCWeLfrVJz57alitwCjRi2uejzaUjwhQFKuLDH7WKDnTM/KhEI1QggSjjQv1/V7wuzzkUvju31/qfUKnxCVHIhRdnIn+INIAEjqRLsTuyJMzPvS2vSSvhHPdU+3UCbPMBr3WaLCQWnK71XaFg6Cv7rJlBk4mUjpw3Cf70ulzvRq4RwXh5N1J4R1CPSlsF+a2X3MEiZnfFEITlUV9hHUrlROiwYJAaK+6jkso95395PgBqnYirDt7UeRZnKJNbF2QmKYEE4iB95oah4wy16BlG0vwgSjB6puB3gJE0GvB4Wikl8b1SDkyE4EoMlIvwjt2HSrv6HxpLN8urjqN6pv4uvyDcW8icAKGSuILNXZ9idAl+x11CUe830Y7UqouyzBl5OZj9ftW/hGv7cieMkLU3IzKVnVFC9Q33ro0HJpnYsjphr6biJ/Iv+Jw+Wvt6gOl/LLJsXWK/CogUMTs3BvnDrHrJuEzGqmC6iJOyRCuDw44N7t+7lyTUxrymshQhsQgF3LfgGeVDGEAu/KQOSXYr8wz51kOi0gN3DOeduZVoaeSy4vfTcY5AWcqAdW43Ll/7tvD/wCPocBQCZpcQb+KFTNqvCHiBzHi/F/NxXiReCks7LCvooXR6LHMxb1IqcVLvF7liGdweByo5ynN/a/kSnmEy1teTKgpTIphk3xpG2lmkiL5Zqy3QCBPCc8T1W7+/wsXyvjUSHgWKuYmYwVjMZkPD6W+fZ2eLu9ueNUS2PovweKhufSYDPJeHfIPdjafddWlCbgDTzH5FIKmB5QL+kG4oiDTTn9pzAQIMRK498erEy4vU+5+tyL52Y0JqUgs9Y2jMda4JlVMTd3s8Tz7ZQ85qfK5aOtgkNCFg3oNJs9Uhy7RJM8X9+2kJM8Mi22wWfm+fwkGtUpRMI1CYB6Ww7yyDyw/no4oI7loctVLR6D4tyPgmz2n24LlX5YXpMhFv9PLHyULE0HijCpcJyNFIgQy39rSYjMvhjPIYgxmXMhoMIfwnU6e/yo+pP5CiMmEY23rd4xqHtpfu7RMW/OGaI1sXqOQ9lq9Ojq2puIgadzM4h+ucsQMCfLlVaknSQqhXMDCZe9Y7smcQIsFNXNL3G3s/KmX+YxHgv3zls0e0FZ2j1DvXHJ+k2I1o6K4jRCAfACTCOHBGsWx0b/j9VbynHditcZpp+YckdOWpQ5OAGbyfBC4xwgcHKCKaOB7QQLPKw2r0hNeJZNW6HP3R6cNPJkrb01eYTo6F3ktdISUjTqJq0PAAJ0jFrLquMzizN+01p7qKWOAQ6g9Gq1poLRg8CEb6+aiFTJvAR4C2S4Vc1Jwr4rDbGqIMr1i8UVLt8fyJAmTgF3gzq0sW9VNZP7WilBstQxdjMSybu12SLgmU7QnMxvOQBpK3ZAAXuXTkZY+uMdi5cYtHdj5VKAeWTFE0wGQn79k7EbkAVagB60pwehnTMUt4yTzY3LXuAaU+dbHpKi2/WpuXWXsxLaqDxECbKCNDUnuC00Nebr7n2JWvwhG+dWHvbijYYTbaRGApsKPpdB0paG1Ks34jy701jvOAck8oodWNci3vbGHO4Drzd0oHPSfjMNRB5Z+4XLlMHy0Ic4fl++ux3hj/zlA4w+FjrQN1PyEeoXaoZqfo1RzkOFKDIbBThKJejE8dNVtTpRcro5C2FJb93LEFfPh/NeO4otzePKq1v8b4MWGh3aEgv9EZLeTVYVM7K1wNtnrRU7zkm1kzChdc3ZfX1EXEvVjzdlwe1hzRaR/F0fgKe3/A5YBdsqTHogkA3EBEAOZG/j5Ca57Ck2CW4PM03yIM8YrRSZiCAKNwYCYJkymkFsPiwOkdhrcJn+fkyYfEpaaVoBgyCqIKmsFvr/twaDa0LL2JfkgYjxFcW9aT/bUcfnhoRsVHXZWTS0cc5iVN2T67HCEfIU61RpCoD/fF5f/9Qch0GPpUSMokBjpFmHyZvcBk5tRi0hA4oKM7Y/OIq/5Q9JJofrT2a+eaCwqQDSo7mRcEpACub7VK1gnaajjjh/+G7EiUqvD96aw48Ic7SG5ewLAR97n5pIMJ93igsQs2TTbIxmeNzEDNys/yBzLwOHifCX6r//zFkKtDFOCXtTowFZU8DiO065AvOsTqIrmYMI/KY06WqSZug8OjpuUvtBo43+fH3B7CZJ+svP1JL70TPUcd1L5GkVhQmmWSpxBhZj9GPdC4KPtoxz2FrAwpR5AkhrIQ4JF95Z/mDu+moIBet+E23FLEP9isGjxvga2b3sj5/RJivvzt+/K6IL3DMCHwyH599u59z84uA0yyVjfmsO7na85plT8T1MC1keJjrvPB/kGYF3/rlbgiEu7mTRi6HDj3e3SWkJVOicQDKrLcLkM8FQRW+iLx+/cGj2AmiX721bofqdQDogPwKD4xliBmDKwuhljUJv/bOCLJJv0CGhW6OH1PnUsAQ2PjgTmkJVCr0LswozhxBnWAivXfZ7SvleqtoqOBNHihx+E9Fi/4fZyKZ5/KcifHvrl2Wzab7Q7jPH6cZTQgDVS6ideGtZmSvpDM4XqCmcbapZQWTJViWPOT5lZjPQ9SUQctUpbKxKJ7KXu3N0LO04HEWkddycvzZpaW2N5Uk70l8fSR8qg++tOwcjnGs9irmF/awF5O90eeBaTf6pZ9c5Z0ygXCf5iMvO2S5t7vdyQzPPAyExQrjP11eN9SLZc5TsM4zTZUTedyAJ21pDHhtm3SkpU1hIm+meNs/7FrrHF05JzHWmczM8B/48bM/Jvnp0uMFW90c2m6z6aeNSWRtqb1hfCa/N/BMOQMQWR13/3NzpAbTlkOoIPPUzzb95AFoeXlN9R3LEwKDJXelTemOcCBLdheIWf+EF7DHp26RvGjeWrsviXll/5LJ+JV+HYhdG3B+u/uQQ8JoM3CaHThxlgM9/z/JGJjGX28NncZmYZIhWS9dY3HGt/UOP5oSS4wjqyZvpgw8jECqbvw/NO7SXXoIG45QYhK+KWBHX/ytRoNaLjMtP+lr6IRU2fc4WF5xhRd40bGmFoRLdtYx8eXv8P9jp6o+HwItOZFD2NQvsdQq8ak1etaoTOxghkC/ESHkEwdn3VZ2SFVW1bR0SQqdVvHPzCFVvTWchFddfi1Zzb/KSO9YCiJqrWNSsOE+5CffcwQFk70YFa1Vu0rodpAYdIepLYe/8WIa7TvS2dsmNMMXweMxnPayV/CYLiynIOQ+BKtBbLtKqQFx31MMeTiAzQU8yGwFYuELCba7wNWQl1eIoed+0gKuGCskwVUuGUxhRVJJJmS3VYSlT2VEZfcYInFFaatSj6J+yF3aFLXhTlLAlS95Gc06Y1gIsUf7PWnPcj35YWfeKqDCaFFJPikmcaCtT7wxE4xeCU7lcOP7ZS71N1frJdshOOJwxZz+Z8Wt34IuOwEXvf2GZRXM5o5vqQo5Cl4oYy11zH6DtGBLXlPDfisVHAuB5gCZf4Dca63q7IF2yM6ngnLPKG5gDRsbEGirc+GNJ7GftJt2pYPV5GJhMPNlf83zgZe25iToIxUEDj0LjkV+X7E2f+3sHn7rg5Alw8sz8RbBIWsjxC6XZZZjIlZKgk7a5rtbrXfvADw3rU5z0u6g2D8ouHYSkWGK6g9IzGYnFCZiu/PmywUakMDITpKe92gs+gQo2B7WHhJVR6YmkiuK2NhW7T0FgpkvvL2VJ15CRGgW5ym7j4K/n3enWfflA5GOxCzdOsTb06Z+5SUhRoqTyHAHZaiO/znQNSseGAE6c1GDUK6ZBhdo5rSxmevdrYF3JIv6fFzGwEmWzur9faAzC/5ZIkiMp/IbA+aNqm0g+WOucNfzf9KDzAnEVD304VDGhzGt14bjkMDf9BHMBtKEoTL/YHCjvYowqIoXKiKjbyDN5dqSaSNMG7C7Phz9WRJFH5gJ74WrzxvDQj1EUNXUYK39MhZWx3+/E9xD6AJuwTfhHXexfmzPMzB+LCWgESHWtzMk1++42JdWY+7iuU3jYV3BEmA6NiC3PbTMOCWpkEBDjUHrLZgZMZZGNwwNWX3F77SOqbedGbLqc9/sPrxYcOJFE8loYE+SFFXOyyU6UMvJ7hNfoAG/DFZaYc0CXAE9z2sj3FoHpDeYnMZudhXbN/iyxowjnn1WOOAY1IUFwurz8oECIUNEL4/zIcYpHM3T4wIT98hG33uQ6L6X8Y59h3xtZhFkmRoA8uw1clHTQjtk4wUvcGTTf6AwFwA3gcrrv8hn1ZLh99x8+XZrZL1ORXpr5u/KoHSl7xka6NY8HpnyfkEoo961F9nfW9/m+bOxc59e4RijgZTs9pvKUbJLFDVF17A6y+gZJCTgABWcVEJbmWcrUO97iofvVirPwhd9AB3Zj4wpb6FDIq8HkjEeyAh27v0xFb9swbU9K1rj3R8jN+4oXFmMMWVlwkv+D49cLH2QmK3NdEEqxFtRn28D6DG6uHtvBVf4pwm5jtcdtgJbL8oXyKkWPbsMjpvsSM/T9L7D0q0ESET53N0Q5h84pOhsZmxxohOXx3FBvPMSsrLFsSUiADyZSDtdtGEM2o/ki3nPUYqPowMTnVG8d98od+nlIvtHYdg7Nos6UZyWWCZNjpG/IV9Evp9LuPdSbxk/U6Ir4V44nN/wvocNXvMQ8rv3dTKK8DmYr1IzrT9JLUDhepF4kax1yLefgqkxkO1rVHyg/hTnbJ/CB659eyNJcrOc2eCtfdTI4fKv+4o6Fn/5TyO5FKc/dG5ogcouim4YPrzt1lDOxCyJyWrPEMj6WgwFidEQ07G2Qbd/WR505SYNytxiVYPvyh9mBHMLuUmWt3WwexwReC1jAMU1qbUAgQEFEZNd/vLF/GxeH+ns/IfwxhykFHqngw1vkyKLFEB7JOqUiEh/13yCauBIssc54ByMYDbvOXVAkRLp6ENdbdFTRO9pJ4iiLJ7FSQ7pZckwwKKBfyP25MrXIiRbzw8rhh4y6WIg0ljDzRnkS8dOomrQ5wf+N8W++A6ledoIqgqxm1fWPCXiu+81hDRclN3pIRHqhLSZGcfo4auY8G0egpGRM4P0GMHom4AOa6O0NmIzu7daxBF3H2KtNBzZaklQiEOwC0g7zU08CFW550nDGzgai4xUiuBdrs9JmtQZHwDIukNQBMaPspj3q0KN3B7V5UPlDg5S5UMveLAY9vCchfX9D/Y92ciNWwpaxiHwtXngUFFo6cWnI14XaMOC9s/NjCqnks+reHTOdnuOSy2rO8k6sP8L/NK3Gulpb5aptg1M0Qs7QM+j7btVEsp8SaKq1n4B8zIjUDPEod7NNdxjtMt600VzaOOfGAyJZAQhnyfG7SzJ99+PxyhEOPrIWQNBDVwMvCcZIfngKFok/mXdhKQbidUUQpDBtX06WdTIv9zq3w27LgbPZIixCD3WwKeIa0vtwdiHuhUl0tSnx7vGXWX4G9A2ldYIzC4j982zPja/Bf04XxR9NvNPqMHD60/sePIupv32Xjc+/AyJQcrta1CmcCOcPFhUWIb1FwqU0Jy9ZoMzZL/MEr4ST/C60maoUxhxYAb8tEu3PPNWTG6Lo813t5IgxeTnES5BgPRh+Oj3tFgW+SzBKxPnTwDHj7FGX89kqp5zbYHrFRqifEXp+wKi/bpKKcgyhL2VTFsEv7flO2WsN5XSZFKwrei2iUAEevRWiMbzMJZNlKcicXe98V9qtZwuUhaysDS6wqxtnn8ykx7lduUXRDut5ke/5f1WYtJLXhYOC9S/DhAOtNdcUFg51xnQ2cGc4Ws9iW33Sibv/FlOkL/X9DK7uSCxHygo6z4vPqXlN5ejXoPpaG30TSoWx/hEpPHJgii4EtMVB2I2GsXGJ9eLmtIexgowy17BgoAw3Q75gNhyaiNvZPylfeUir9/fhLVEl5ot6QTmAOdiEXgzzX7apdkOkAU+v/e0rghrKYfvh73pDKeImfz8xUxePWIZ5QRGWXqexAL6HhPagjhCjuQoGd/91YqbjgIaMfVwVvuDI1kSUCwCo9iDCGPiipuE7qwNoA+g+ik/KHzFR35KSjlv5OW/ap0dPiNhJXQb02GOyertXOekADpwo7z3hT4MdyxwaXYetLIgW6Tcegrxmk/qqJtOvakfbB2YZ2ZKqo8A76qn4p54yw6qHStZD9A1rqGHo6iKNNuQTwhoz2gGz+dHqGgcXmp3XO2hQT0voe87rbWGxvrO4hzlaXUxef+6UHxd/dOOgrEKC7ZGYUDWljV+Kms059fRNwCdJ6V5eM4fsYrXvVLkTlBkV3pKgL9h217ERmTUgBew1HEKNWATaoh7ljbCWuFrLZgINC6BgCCh4hYyDOm0jjMZE5XlomY4GCZFfpckloY47ufGCDcx3/MtXqXiJ1Dg4TFR6JpO5hspKCI3IzJ1RS27r/N5v/5chVjS7mwPQ+QbTxPpXuFzLNvbiSDkvZcKbYnHHTltYf9UnbA4lv2dYIPe0ZMYAdp827rt1oWzGrQBfiiJVtbCNw7SDUU4a+PANpepsX1AeY8QpCBR9rUNCFvIoKqXJb5f6CXok87/sdKOrMEsQCgM1+2GZnNz/nKIoiqv6X0CnFuVf+EokLWtYDSjz+tTkHGLhdJJVt3JOxfs2QtgeXf/mID8fRilIB/6gmTU0t7mev53zJcLOSyqHN7awlCOhM6jCO9kkQxhaALzwgMtkRJT79UN5/SqFYDs6a/Oh5A6gj2uAS3LO3V663TI16ERSsZByfQNOaMkGo11q5zD9/s2BXJUIyQXdbftAVAGzqZ1MDdJitI6Id9/dytEaV59r3+OZiciY4P9YVepNUvykp0SLxECsctEDW/8Yu5Bxbii9sr6Lvt92HHC+Lns8dSsrzmuTKo8mQ74Bilx6mgjMWfbtgO3p/rwifMRmBQftGsY0QFvDQcCZ3mXgm5faPKB8wnCXwHknp8h7ucVWahwD2Mj/tiOKN0/QLJQVwSVjlKian3TVY6SNRh/odnsaTpNXszZubRCP7kLH+lGm7H8qfZ4TjmBiRX1JX/9ed/T+ZbtIdTQOftO6YIVy/iBDO2Tgc8eemRNnhocXSV0aNDfemulkyt9rNnBnNMHwhha4js8tkLkFxS50CdoS3pTsXkWAtKhTV/0jGfAXV+FlXSXdD2QyP3kU9cMpL3VJ5bg1KGA47/2V6Pgg8U6hJ66qQxrRrEtlqwY3asvYOPdCi/1IKfxo1xMbf53AGiFB/c0lS8h6P7Ki+okxpzYyaBDYGHmRpQqul7Ia7U5DKpQRGAdzcKWCiig2NVn3IzD8pFyfMrl1TtiorcddX9ezDzdS2mory9niU/URqIStTROy9s6UbdkbaNQZDQm3XvnkfnaxEEIabhaJ7bGS61bh8QbS8ro5nsPEiHFyb450YlS5IfZq0fXMfOdMV5OIf2ybM0D4Ghdicm7DmZGaKV6hK8VKQusyCYdLPKvi4X+bz/2BG5N/nFlyuYFo9EGPIxYzCL9bC/6lQRULORvNvPru6yXT45Wn67hyxj3S7SO33A7wqJ6hx8DPIlpSRtTCTECy2ui91eNCSh2hSKorW07nT+CwmCKgZrgkPuXdLLknJDHmQ2XLVIn15DHI6nhMQ8jBfP4Lj511/M4VoooARKjqKSsMHdFFIfZFR7x7inlpLLMYp2z/5j5LxbAVijJh8Y7vvf+4EqFW2Gp+UzHmiqXYydj6TqEfc2aiRFnQ9kAa2+SUdSwaSr1z88KXslUFLH41griqBOuzwGKwwFQqDXp+IoxZk6UbtmAcBTTQpGrSM7P4yGmtmSH+bsqxp+liP9Dr12kiOjzALmWCaMbbTLpZ3HYAzH3QbbSAY1fHdfr/UOCXH7T38SzHEedRze0Ys+XG1oD+JklP1Axk9+JnDhki/EVG4hIYqnv1Q6ICdv773cF3GAkystBMWZ0xmI46M6BeIMRq4RpcIg48TUIm0Hug8pVTJnRxR3gHYDG/+bxj30m0glLVEg2mzvzrOdroPq2I9kst7q7WWd7MpPUcxot2ZmhbdpqQ2Eor12PDyvH+ARqs7jHAHn9Rl+9v/7SuYOHMf8Orupnx7YMKo58ZKLXpUyvXLnjFuTiw52jVdJXeyT7uiPsW4szlOeC3eW9C7L9WrVlek2H8XSkertWvulc3BHgE7vp+deGhQ8qXlSGXOIvm4sVe/LmgU+TghdJBK93r6sXQRGYzq+peyb3LH0m2P7468wSdUYFLCw6aOsX62jcQA9tCQCuBD7yNaKtypaLFVI8X3ubG5EDG/N9Kd+v/u9ihormFYGQawRAtVo/EYcXYrdeCdO5dCzFYTeFzyJ31h1J2smBv/f508YFQBf56o13w9l/coJeDIC6EZjH0UOOcFMQnOwfbfezO40dZRc1IufsBpzFpiqdZ0AG4+XWNm9u5w6WmtF/6sE52DAJMISZNrEBFjO8qJAx7LZjPb58JTmDRnAZdL7yEk7+dNn5T8U+m0qM7UC48+SDyDOD6JRHRvJUEidxDdu9xJmID4CMEHR/xsmLmPM07Z/UC/wRj2N9hBEz+pMOxczt8OT+/wj/nHSJtSeQL8huZdVMSIODLEpX2la6FfJhgJsG6nqM37cdvRzVM5xzFkOLbRVxpiOLI3/eorsg2F4VircvUGjaSUs8IKE+W/mTRkQYmBUzzjTdb7CLMn3GG90skTlUZ/8Gqt+iFo5ifyTgk8EVF9lMHSNJVzedad5ciPSews5S/ctKXsuJNBkHjsT7Xwns6my4luEYw08EhNmgtsOSCPmhSXdF3rl1E6/l9pY280GKhSLQwq96CyewamLW6F8UajQRXscbj5UN7nonn56MDlVmAY+J2/1w1l4oaprZ/OhMyJowNObC+/cdZJq9zRidfPg2JPZo3bn2WytIe0u6otvr6Cl8k4Yhp7hi9ao4JREZKevFtpH6T3Vu4w9JsClW8T8xxujVAAx0VYLii5+D6Ur62W/Uc+K4T110NufgUmyCUVR4/w7/ycBvZRMIn0tez0yLkzty7wZpZ38sIuqzeH4px4UPBgk6AZtUpZREcUGVye6/PU80rfTtmSz4fLmuSqrV/kprJ8Hq0hTL+ZtfsIr1bjiYMkXCLYkHp4SCcfUUedJVGJ38HFfEe1mFHoPZuQcZ9m+syXL2MqDYdz6CefaD6yHd6q5q2HbO4K78V7MJbOAz4M0WPNiYW+TUNnawui53DnJ5i7YdFFn3biUw9exaKEeU80IszE+dFIETZAvmN2KvY4uGIGKKTzFkFXdk0GOhwVEPSlPJVl25lWrQ9rpVd5h0ECBUDJTpzLMGms2XTm12jnfH50s5GqKDc+xjNijeYlH82CU6DEojxbdIpoKUS8uZ8JLd8JGX1mPLBwyUcS2ycfLh0ADOycnXMVem4DQ8R+nc05x7XjehKae/UrFvW7uCZnx6syrQoB2VTttLRtAtmdgU0UyXoY12ZDNx6c7sg3PGSu3yrzYIJDtvUSd24iqR6ZJS2MYyRhmLcy4Sd4ESarqOaUnbN3x/Gcp6zkBPTuani2+pfVrYoHCwuTQJBRb3oA6EYBRtBeBo4Qt7BtyT2imcP7fMYR2KCgUmsRpwsqIni+XLB2u+QoLfL8dNTi3qp1npaFBeA+c4DuI2sNez1ynlzqAd2b1FbY9kf6eFktIC+xan7VRW6uDREtsckvUMUQm004Bf+rzAXkEWoKc7BrGctoC+uwtSHaE+dkWxNMruGN0/qp6oG1gNRaaIlnXwnWBte86IaaLVr63TDEAn5EyyZKKCSMnAGFHJqO6xyQHitMzXjZ/RMpAMEun+50LWZ9GLRxo6MmzePRC8uvIC4D0A4JMhJlvvM7DzDuYisR6OsHbS0npySleAmsNDfFLf9QVaAa4Oi9su050KwlTA3bka40MNp1flwoHLfdnVl9yVxK3D7ZPWspTo9q5BMZ+H8rn4vdeISMgSrDrxSj//wW44AAFLmwNzWH8bpNLU4s6uvjHZ7UeMa7VXTCulLmTxrbN+834lK7AGytjvlmxGWHS/8jv9wh3AKyOGEHivqKrO54ZgRN8STwjINBiizB0MiyhMpakx7D+HLdEcqaWOtvpAlL57UwCIPrGLcMBcZ+IwFwbsoT293lfJzgSqQBYGeSwph6aP3oWuV1kVNjpDUvF5CI8pwM6SWetw0bMBm3I7rQOC/HeUwr2gBiUZrq/PjRNxefrhRessoHYNT+PGGLZFSBySiwFJlHBJjpN3XfbJpOOHvy1+HfmgJrTftbuu50EJb8BCBJQvp3gquz2TcWf/8IFEQDcd2lOEE3hjzWeqey1lbCo91MOlyrxnJZ76a+PHBH4O73Oz92caaF8nKGOZ4gtxPKX71RjlVtKwR75JOtYzjZFYV25Wau6IbqXuKV7bj+z2xIsEb6JdHyKKz18VCZ3cAg26FnYkhqJCHzwKqtwqSuXg3ZbcPMdbc0eTucQzaw5GGcUwdZ9r4t6baPgP8pLoxburCFdxJMnKBGRRMgX1BeQH7sPMFq7IlikqSLsl8/IrTFZOwvndxZ2QR2SpXx9yf9vIrBE2OiGABDm7IekvLiYOUeeOfYT2JwSNnhPJoR2meVlIDDyaSjuDpoHOimMqKnmc4pYWZGM7O6GaKXDz+12DqIumk++wV7zh1rSgAKAvDCJUl4lh1W8jDZbtkLYJ12FEtnQiEkz36CMjA2V4k3wkqodt+qSDj71Ff2HmflskatM8WC/i2QnZlarPkuWPq3IfpCAAil9fq/2ZpixKKKwz4NIgZ/Wy3xpMatPWbglqJbhmblMYC6B/i+vNUpipGg5gk4xnDEGzyWmkUnDjFRDyGMcNH8qprNRk+wK4tJpOIVqxQoVW1kgxZju8+D5jAzanarRzSp+WTr3r3bIrf9oIc0fLTUj3OuqTbw3py/D9tNaQ+334sZ/sG2X9BykMgD631gc7qgnlgq7OBRM5ufz7l1IzH+UueyN4z/CKtofU1bxrb6f4Bhv2PRitATdN3VAfMXalMcNOH3ty5Bx1Natie+1oaEalIGtP70KtKid6i4nVqH9pYtdjksYs1iSnG8TUTehnbw9qdSSI7uUpHqLMCww6h3q29cnqsst5EAD4R592DLnPWRpX4QuVEtLyl78OCPjqns2bLC+pBazXSLGGywkxDcKm3D8uEMTLITVElz9Pb8u9vCXM1ZvhlNwzYCctqlcMimhiMWVndtXs7/4iYUggGgTKLD/5lAP/YCkUlSDWWzc4o0JyPFTv04CcmKcz2Y/6dsdPdMM9O2DW+OCMKp5s42oW05RGFMqH0dtoY0/Q2Ydw5l2Yw0rIxbJD6xETmqw8BDG5/4S8DyS0L4X7gw6mMpW7kN3tZEBnU4GUodMAhbSnNMeQDlqUXx3xsMqv0LaGZdt6KeVcDSBgo5l59MczJBF9SEwCx7pb4aPZCHjDpTE6grtKDcNfZvMa8G9DF7NcAYf2U1c1+T8f13ckCTqEfuid2OmymHo3j5/sA5f5TWWlBu5L1dYSqUFw940+WzpKOp9fsan37MEYwdLvKqSv5ExhXnUABRsTIWnhWsT8/Xgh81RSYIQHHf1+N4EtcpWy5+mc10FuUSmmRlFEky9lho/c9uzWeBwF4YcRf0N5j+pHXFyGAs3SqcSM9e+gendXZN8pjCp8tskvtaMR+m93yFZWCuAQwzm9cdj4XhHTMVEOB7tr9uamFX07W5XZdl5wgZI4L12X+mhUbvbPXHJR11qnl3TuJi5IjtPTRSyMiufYuq+dVOI/VdcWem40SJxk7OY5JqY865ffohX9c1D6aYxv0TlYB/7/mlEEsKo5k8ThRkVZ4zjiZvQoKJcIm3+3HM11NwyoNhefexbeXPZpJVhpMPpgv7nqFgsuccedhwSe6fVGLvu7DgtcvIAi/TuyXa38Zcsrk2ua6uMTJbWQa8TrIu1fGuYlUOeh/bAfxqFru0iLIwyIMCFbrFfLaFDw11B7+TriUsjZjspBxPbkAtQW1y2ue4ZA2qUPCbvkFS7ynwyt8Hf3WA7PnaHeeS9iKRujn1m1m4N7LHN8kO7MtW0emG33BNYM2G/u/brbHKQwP47dh6utyn2ydJ+Bqzm87eqgH3sKCE0xcD+CN5qHfaaCkdoLRpNTnoU9jRs5Wz8YjrwZzri3zwVGfQrHPpk/8T5zbZECL8dAamLTogwhPlg4pyc4dJVcOp3+kVDA5Tp4eVANuLiuPo6+DvBFLmFYumTYTFQdhJaLHdpLyfC/nPwL25uvEu72BBxzNSyeFgskZdhfiWR/RIVXBGN8wtQtnsBC72IB5obKa1HYnOs2q57jCJKBVATuDCAsUiTQ3HoLX6safnAKm/xnAE+H7AcMjW0zOU33Sqo/RcYVhIU+uB+WHzCUt2nTtaDSNYBpAnGXMH9EnEI3+kKyY2B07deHksXXCorMdB4DarkREzj86dtLT8TFWxD1UViKdC8rdKBtad2P5WBIHnTgoz5Wx900pTLkKgsxbfI584I1BLRLBHSZXo/s/6NYd2QmyxxQUZyqExTF4N1fT8Fow8I70w8yBNE/6zdsC+U+G0jJWJZlQE1TgatE6U+v9Tj+thpmp8k6iCLDmbH+GOplRk8f2VcAcPCSuAe6u75IQh4JL/n71H6dK+y5Y9NfcZStqH8C+uXjDtjagiaXgMVwlGtQuuJxz4ZlEBHT0d5B1x7KBa9wYg5yj4kQTbezzOiBhQ43Ehe+efEH5OrQF6g5hKxAMRC2W/cQ2x53tMOlP4rdcQaWtuJhfTRHWJGuby8rn3wxn+MYDR63exYZ2YFtFVvbjDar//PfVC1KLQkUyio+IHBpcGMUuqbCsUY/nVp5FZwRzxgr+DJvHT4V7OW/z5+L+8ZXx+vAnduWT7LgcmBd7LrIGzptPH/uAQQa42GdYtdE74mJUZtrWTZrv8IkdGVxTSrH9oMz3VlDxjZXHSTYIxCi2zk7MfDAflC7NdLkjJD9gtWjpprDHrR3BAPtDG7o/TdPEXS85clmcWyMq+J8JSB/NghgflJXwXY0otb7uNZd7oxIu2i9FAihz8OzGRLlK0W7csQYm4l+U39kn5RjwUeNFdGwxwCWwFGDm5rEU9omQnC28B6dNIVz//hh6WSeuv1sK8n6vYOnWQjvS8ZPjSt1eRug9sM2Fb5O1gYX721qHUaK59wjIi8H72zYHHPBVAVrZ5WFuB6kPZDLtyZipljH1TpYAOD1Kez0TijaeXv0EZgPyU5YzV3rmJMkjyyAuatHiAmDAJVak2mEgOGyD2EBDcjf1GiEZHRmQUUBoLiGX2JxUeOQl5UG8/D1EleZlGgxkb0sjFKoby8b3hV062gGkmZtQ8eRinZP7ta1T2dTcJz+5dtmXH21GdmPNIEa5GU+DAuo5XGUCqYLno1V/kot0gfbXT9NA7E0I9IrubL+tajEbSDiVwQWOqnq2XXO8ChSCPu3qrKU5hltPEgaYPuMw0U8Vl4y0UaaDR7+dE1XVeGRPAwtCjwsXUerZlh/QGj9APXVIigMMY92ayIaU4Vk4ffx3LqrPUZHGnO0T8PW4OH8N96/v6tD/dYbhSp01KNDSjpr1grjZCr8OMEJ6Ki888xqkLpYfjtcktp0+SYBmbRE0TDARJZrakBzEBpf+JRTX5U+6HnoWhzOcyBDyIPyaN8q8g9Cgeqs6VQJDns/QCOrrzUBnicTjspPszqPawyUbq15Keoa9Tdk3jU2yNuQ/CxNDYaLz0/4qCqqjryTBSshX9Rd1VZUeCdcbKR7C6DS5tCkZSqVJNj6BfR8OpcDASmpHmxp1mEPCvmcEAln8QVHDf/tZO4tZi/8PjVnZNfi9jHYGVL7iqqTokDjxww/pPwlOg5M+75OMa5L6xkDdsRFijFVzCmeOxfIJm2D8vyBvJDxYxWVAcWIXsDwqp7+5Clf0jlQicOSDzjZvKQ2YVfAVlL1a89GCTaLrRFpxGpookNJuhl1UY9UJqbXeiFIEZ4Tw3a1A/49kne74odnIevds2zznmDmnOqNLkgFxAjUevD0gAHyZQRChojIEFzVWLGEyEYDefc5UMFjJYjwAtTKeuJppjZm8psPAIEHKoW+Y4BEmkUAAWWiQWQdrohQ2kv6FUUTqKb2VX3VwhmYn0/eLum5S0fAvYAgH+Eg1vs5wdpmM4YYZznOmb+KgGjr/OYCtXtH1h54+xHqD+1fU9HXmXT0nBoJWRNTLrUaLj+GMOonLDLf27G6HQmMGFfj4SACTdISPJdJ2Jg5IV8gtiAiyt05jNR1gHL5MjPAou95r5kxFQYPoqho/aPaF864cIEOYOrh6U32BvJScHbBIwf5uquP6J/ju8b9YVms82xcRdpGi+Jx/bhCXIeC78PBtyCq/jxIX+e8e4CT0zPGMRNXcOY0Vi6PDNYVDhi/0Gg0L3r3FImms5WW0KZwyNQuO8Wn3+PNwmuHkvrNHQANxaeQkS7KOZzMVk0DUWTEEAGIleERFdWkZ0Jx5Mj4/2RRWaUcE1Wfqrbz4lMFiSTaNl4SvpDKgpjMyg3dRa2HEJYwG767PhYb/uQodtN2VDsChCnCgpgmXYZ2WtFIQ/PFDpeXhKf0pRxoyrdK7nEV4B2pD/MdQeD8iZRPiRMukCntrCEXwoLFP436xWO3cQg+ORkKraIquvroNmJTSfI4epnUbtxre/GfXdmJgdPnGt+PpGKApPmHAhHzv0wBzoR9dskrdosZjA3Hz0jUEfEgcJLsdjvRBcAh6nZYL0Dut9RDGfrtofdrm9gQjEbSKmhxpnZnjTMZiIQ47fO5hUwK7+yqX3zqJ2YN8h23Gl1BZTYD9jpGpAx0TX8prNwzshx6TEKflpfoP++qj+qdrB7w9b8buViYZzBulJv4JJel2HKufs5+w3OCV9nUI646uCck1jXtkcwOIqsNmdBEnwkOGictb6QW6jF6hGpNyDOfIZtgz/dLcqWneQR+cCRix71DwUdRDW24U79AgRmgO+u2qtv2I5P2zCh++lXmGmjKnQCo0zWpy/7Rsog17SR/IdrBAVeOzaZ7r+wo+LqzIXxJrBSDxBWqGJeXrAila+d0jok66h0JYprasdeepTLl6BCOZQ2IZga9NGFwWwNrkdvg+gGd7c+H7EBMT0lv95XvUvhhAi9JSQQ3N4gg2e9mpn6CYpTjgCSbevIN0595D2NrU0y+R7Y5sA9MoQ7V6BpqhnLS8aqZmwVwQ65jaI3nBJj4hMVgI8FA/koGYZKzJh+VCPkLMjD4xlkSzJ1wg6COKz2EKMo3dBbVACQtOxNFnM7TYG2fAL/X9e3ahG4AVFOXIyZ6gfH/Y6oTT46ENXcDD59fnbTtZuookKgqzokv64ryEQhdEQJpgNnxI+KwPvbSD1k9qMIpsGS1pBAfvfavbK/S3h0M69STX01QgRXFIrZJZFkCFyhem+Eah9V4XRcUePAnsXMe6yB3DYVB11+tbYAYh05jyqjcH8dTGPyGRxyye83r6izvwetI5LLvhq/g6Zi2aZPP7DzePD17CbvR+WNTE+AbW2COpuduNTO/aA0PqeoYr/OV752sbvzaWswHIIL2gHoBI69xk8GbMFJkEXvomIPOdhq3oOIMwcitbDriDUwJdGu+Zhj9mE2lr7/OqIl7gxxF0DwWgNJJ+VwCWw3S2EqOC+o864QeW24DBVDrHTf3WLN0rg9rYsSvcBjuBT1/jSc3v/Xs2cU/KKchVG7Q4NBm9G3uVla5jgHgKFHrsw5ryGPfH9zpkCwepqC3O7EqRK4aTximHPhcGZlqpOi1tnySdfHnKwrLlpxDWySvDOsJyJA/f/F8KBjn/1HsQSbGgx2FrRLGK+m32NHw56zLjSIUF97vujBHFc2YDfJPsBNn4XaVKk0NmC0jyF5apGThVfuMVz5hhZq8SVV5+TdnCo3hcbBtKQDjqv/KqduA9/CiBf9eoLtYVGuwbMBAQR8UY4C/BhRmR9K//72eivYtU+KfjoTDwYky1KMAyfJPsE6qMlF5WYtUirmlZ5PBoqliYijTDNnnVVuma/qaVt0K80gTSFnXQkYPSBwoYFIsWNr1MkLBY/X2egw5agYRsu8Qe9P4Gc1+A+Nybz8nQhUcR+qLgqQ4Wv1r5bSciFxhx83v0hrn2xjCjule/TxMVFddoxwRg3fmQ6lBYfMIr7izoxjXv+CaO8co72anpfp++30oSaeP6xk+dy3rrQGJXAthxAzjXzaoXpk90tqBzCubPlryOZtagyIkxa/Nb9ITsatSA4Le31uGlDpUmyCeptj2t/LGxeC6NhhSjMqAhYtCyKOE0KAsH8qmBmLGvZQEJeF3fPUCvwFGA1wPpzSVkFNq9T/HQy8djcMKOJCyEdA6Gg8FySqoOwtvuDGorxSsMoEEzKyK566L+EHOUfn8TW1ebBsKM0/dR1OugsWSlwZu7NCoAol/1PKHNuElrWdLxL67cAB2sV0uvKRdKCY+23Nr5nhBRXu9KkdtNSqEP9pYXssuOXwxLcbOUVTnlKzFO4zSAT/ePyJKNuYuyyg93xieI94o750QRvAVwPfNMfCM9dTzH/mw4NEwY4XphY5bHPeXbDCF8EE+ofzyLNGo/x1DhiMm2fHJmNMOwIN6hbuw1O9DMSWTakoifAA93vAtwAXj8HJ8GewSpeFt/hzHW6JyIfVYHNMRcCCLHthzwosKAUIThbCcmm5YTcRGqKPyDBkAAkmCwIuFcEDINqs8M+uleKNAQtvcLYxKXXC/lX+HfiignYruPcxo/JhY7/8/9SGOaL+EgZ27z3B6re6hwSwuB4ZwXjXE1KSqROwUzdc9kCgQSlA2bbfBJnF0BqO79p4wTFO4DdCvQjZgHsxzT5Fz0gnyarl2EZwisSpi8JD6ViZxBN9bvMhhL0KXHDwpn7DNUrO/opx1EznzQHGvAeqXSN7XZcEhflg2IVUv6c/A+1zBGc1jhVN0FlxXQcTnKXwdMMT+rZD9TatRMg4mwXYrYrpf8bASIuCscwkkAQ7HVkXjd9smuvo59apDaRwsT0hlWuqD+i4eNN9yS00/6CRIakVE0kSI7DZeTbC32AxOK2OXBCB2OadJ1Lpn1dtHu6eFth/O3ETeO2vHD9fkKTbB+A6GBtf+X3DOy3NooWWD2Ron3ZwP1Swj+dmYnDKmWK/W7b25Aj58fN/q6SeXcdtGWZaXCaUqbkdwYTzghflRHEc76oxcnQVNLPPeqz/9YFWN1q0qoDfs/j1wAa/ksIKU1ti+w+WNivC2QMNmaZEc8NWBpDA1H3mLrQk+4hUcch+8rjJ+L6Jpy+9gu4JNTRUiudq5JNqeU47ZjuzGdItjPVB7vfXvhFLTuyp7s8zmf7RlV7GL2EApgVvCPYRwjFl0VUZ00dX2MoatBd0TZtksvOAREMg3z+t7u6XBY/nJcqEEle/seU453gxLGZeyU7Gczq79sF+SeO0EFa+AG4g7+n4ifcQOcQekJQNpEUncMSbSfXykouRGHi/IAgFTGomw+xhCTQx43lcxRx1JtvGmdyaPcrQkXecJ9Tj9Hiyhuqi+hjgWDIVrCL6X4pKeMzkl3J5KU4W4VYG9S+srLLkPcDF552D/v/DiRe5d9EQV9wKZ9udZmRyLkbTjsDTpq/jWuOmc8+mq+FdsX2+BDfZFzam22ihRXZekIC5BXgPCShLtrr27Hykqmcg1MoR4LOoeQfRXNMsNGELTlTUriGYukaUdU1oYmNMh2gg2QxedVcFwpgE1EE/0G473W4D/JBlcSvLojYSMLns4qqyY9uUYuQTRt//sF1Lf6OepVKa6XMpgjQ2M9zhwXgMWfm5s37RkGYCR33/HHaHbsc6vd07NYwl410MxirqxLzGvSAiqbiKP6AsDYTHr2zivyi4LOPt5ie889IF58Q9nZJ8dVCEq0H5TB8Pi8m9A2F/wBS+7lw1xosUXF6opY+TMyl2aF9op3VIQIlE3TNPDmynh8d+ZrFIRZnDCcS6srh8Emmwc2EAdqxGsA357N3JHkGuQEa/HT5aT3SO1vKf5zXKlDGwTgZDdFQpWyEDjVbSZv2avSYwHfvMIevJuFOwJ5gUC1H8+Y2NSdPIF1/IMmv/aOsLd0Cn5OGEF9+D3oRdefEtKE9oy9xBF6yPn/c8Z8Z0EjvblPOcZcYy8xTwF3YkJ7jFS4MytIl0GwYzS6W7wBNAXQpNTHFi4xq2RzHR6BdvGiq9CwuvdMN7xIn1z+LvVeogYJd9W1182yq5kVN09HISolpi0tvDV53NMzRXX2pvCR3F3XsU85He7IlHjtN9FV4di3rSq4rf6kAeQUQcvOJbbQs3moBx3O5NeS2b0lmzr5VBAi0HnxdS+PWG5D92YKFzFUn6HwQiEVVesf1NxggD17vTpC/R2cu33klazvcSvQj8kDCTT0HBuAzFViv0gXmO8t6rYBHFgZxEa0fegPFuWvnht075WaXaWCM/kRPeSbB8CrxEBwp5zLFPKSkhiBDCL0C+QHE6TRLajZgYpCF0HgIWzmqBl2lysKbIWnxcqsWkFta6RO/9ZS2e3FA6aNcr2ko02525/W5OkltSEsMhf/V5QYWr8hL+KtnSqe2amOJbw6wwhDEip1tXJf72BPTa5iuxdz0Gcd86PdV2N/wZsXa0yIerlwh28IISR6Dn5XSDxlT5RTRb0MXJSIy09Su3JSU/PRIZC3DGj8yXC/jBkFZF3fG64GjfdyT4H6Qjh7Cnpbz0amOMAPiWv6JHpVl7iLsNJ6YMO/YdvLgcubkdBubZjouMIUqPXVvQRqxE1/cVI+aABF8xXUNo5oxdUMto5flO5YHaUpNKlV2vIbs2ZvZcyLSi+fTaycS+mjLumUmndhVRQUVzfg/1w7iRzscgw+JI8wboZT271J+CSWbf/imJ5zTHpr2JI1XOhuffLQORtMouX22d/ZSmnmizb43agigMj/b4Lo9llrsFh1UfBcFRPT5qWWCFuTWd5XHSsnDSEZLCna8WIu6s6Ci4MElbWLqeal9EkI8R9cOjxBP1DEGZMpDkE0tYQ+U3BSKFUttgDQ5Vj9P3mY9E8HwYmYin3pI+6Lw4Er57g77+g5y/n+gDjZtx4vTT6CI3uNuU6frFKzQk/fJ2QhsAAccHpVzCvHZIQVaCI/Rk2WhSdIy1BST5QP+iup8B1joVvoiNOGM+F1mY4FJINf5tMArbzg52turCHQlLBE34B4Wq0FcDd4SoLrp0LArZKIx6n86zmM74upS0yaExNpdtpqGgSCjiDPSi0PbqdBNVgIncl8DRcHp35lw1jPY9LpMpZq/c9DyJlgU0GCq94IhJlkukovVyvPneP3eddcCpY+rpuI+4vu5aC71vVbngLF4nyUYfIib1FMIQUYEXp6P0Sje2PAGXp6USLe3Mv2FWQB/yQKbXxaEgRDS5MGF+P/9aR7IAatWF94vmzJmWyR7uOGGmbrIrcGaKFg8RI14zW3JHUsjZprHXC8NE+oFwUOfpRhSCETgABb0rH+FPZXLgSIyLudU+7dd+i6wtkRYsf4JpOXrs0b/EVU7yXGmr7XDvBbEJYUmj+/lpHeAaCGNL3B7oS+xkvem+XF7GmnMWBkoecIj8HM622311V/Gl5G4UA1QLjwC1zihL3Qe9CaJS6Ho8Gfc7t4iYn1kCaMscDWe7NtfXYt5SKeqeGCVfx6XxNfeKP9ooy3zPpWpdoi5j5iN1LfpJ2akLQZaFerIRfPVCtF1OrkegISCtL72lrwkIHdEu6c6NwS/Ja9oF3iFvUx2fGyIC3f7ebf7nsODfjNBpftwhSc0Os135r6uG2IHTJsuaNIvcm7eqGAofYA/LxZhQQvscsET87zEnwVsHHOVGvLF5kQG00sXACXVJ502AIlNsvDHu6XgAkEG0y36YmshZ4bp/xUzvPv2Acxst8IzDv0Lj5g1bsMGNXygvZKDlkC8nZL7azNvQubpOViiLFzIXKg1tfrV8bY3boUl3CahKpttqRWWqbub4f5q0BLE7sv0hQyL08jK05FFZ6+1g72r/1PvTc7fVTwNaXYE+MV85Zb3gQMr8hqeOLVUWmOsz8Z2qQl9Sa/rXLN7CES2w6VhyjWQC/oeICF7LmYLQ6ZY7/Aqv8thfp/2PeWH2DxytTng+V4FwxM14u5ekBmOm4VoaT8KtiOMFbvapeZHAU7B7Ke/K/zX9QG/K7XpYkmZfM8z45zN25j8eVwaU/OnXMY7ikKLUFd/Yi88K5iP1JOJ6CmuCM31qZqzVK3uuZH2c3XQnspdTQG7WOVKt7k+LEyiLm5irN55eY2ZfBJsXdxjtv+wmBBeB3C5kWJNM9kmPuip0uCZEjU06D9Gs06cgcWySHOXr2AMqBnXwiVzIZVnh/8gCmBQcHoxfWqoTIMFh0kEAsvgslorALIkpadHFRXhfodRjdTo3EZwzSYyh7uqVMDF97GQk6J/4chIejZesSvT4wmp+wHJFjaHUb+Gy3k+ObcMKNsCo2d9qJKeSG5QpOWm6pPpjy+ROtqwZ5W3iTA4BeGftnRqHWr7clf8eSaaSeWzvVcnrimTNYTX6qwPsHVHfkLvJcSpEOyhP/pDsoeAhrf+nDDWKdd8RyTb3yREoc7muWmcIFIGgR0bT8iKOSW7D1XfWlk09kFx7BKHOIDYwsfNciIjL5czg1n0n+R42ghnvoiGSjK+KYrdLK0KJ4p6DXj1Dtn1XkuM9D/Hk/7x2OluSAhdNosP21yVUz0xdrem0lHOFLo49fd/BHxPjiyrMe9suils9FygG8SZzd2THBLie0eWM2O+VXlnBpFX+yMaiLMl1t1CIomLJ2nMNEc3VWNF8P/NIeTxhxBHE/iX6Xm3ATdkh3yP5BcIlMlKHu2Xt6gZ3wrc5eYVg1xLjSnSSB1eD/LPCkU5whB28KgrOoeY8HSmvlEn9w+fC7u+ElNdWuQmFISSuLo9Fod36hj4whVlV+SpVMyDt/5WAQBW3QU4QMrPJmfLKP9/dKBBUMpPLlaVdVy/hAJy9waAf2O6egvuzblC9OUsREACyFJ4rydlHiXt3OEKDN3olefe3GYbaLc7SM2NhrxQUl5l6GD8rqBYSEJ0fHUrwLHIJmR6PmtuJxgANAYVS0e5Kxx6g+whhTwMDb3QClaUSRY/d6Jj+SansebLpN0GhgxTQVQeWtzPDzNeqL4puGvQyQbkloaiyEPNU+dCKej+IrtEl1jxy6SJlcGWEzbAP1gU+pGlqEJ8At12MkBMiqIG3K2OLBj+c5TN2kIqpAfvDwpEZ/GvaMy9eGxs0CfUjZtMfUBJciNTVHQy4dzC7QwVIatLTq2sffO4a3q4SadJr7b0F6eptAYQpt106nhMAyiEArx5IX2PLivLXQkFZ4pmoe0sC0EarHmwyF3aN6OlpttqX/ptPqQDzQi+FdBGuEbJPKr6cSGlFgHs+wuxgb0vujeWpIUXrCyZ9KhQuL+XrjNgqAzyFq+1dldpT8N1BrBTvbpuNtGLMFglSj3fiBAh8wH80mbOiItvym9F9EZ+QCHqmVuXuk9B5iqTD57zYM6YbDCuYJ3cKid8EOqlLAAy30VDfXcrkI/o3SEc8PXcpTtUYlhKmoKAfOEP5OoWAybzcr9LxK9WqHASBlPLP0ot6lw3PjFHFdaDQt9+2KepjEPHigSKahSB5BpQmnJ8rQi/w8sfD5QNxM2RgMf5gQCJlqhz9TsE+iprCnkAieikBDFvaBqvja/uVSrGNkD3UTFRu+kbYz0sfiVA/4Qm17PRBgTrKUWPJPVOde5rX62HieJ5WPTqUB7B4MrTkZTWN9cdNGpIsnOqurZbEQ681/ujRmdijBPt8Zcn4c1jfT5oE/fN16bf6KWxLvLrI4Jl+K8IZMHU2ujG9M3Xsyq6rexwQ7JmtUENHu5zCmbhCTDksPkm33/PjYxXZN9huxtav6VQ2Yap/Mnr3dFWvvzja8aZUx55qeYvGTxw1FXouMnnRDYG3qyAxdHg42uxszzdTnoDI4LjBh5n/5lD+qyuSC7hroz4/ZOuBc5V/vOLlCZ1Ae4KmEb6qlYoP7FbRIm7ol4jtmdGSaxNsL+szcsbQ1o6916YhTSZ/uGkhratoFLIVqoEAIEfMUB7Wux5F+RT6vEIraXTFsMzDEJpG1SvhK/62baIguQh42C7cHkMZMxMN+WPduf+u2k58LDm6ehX6Y8BhS0egZL1hv2ccP+JCqbTjNVV5Ut6IBsT67fTR0+IDGLKtNBaOqnZ/nibIogvonb6h0ZxFCkTSrbxF9SZRud0Km2uiUsfy3uTjTTytYm0vZM293FS72mkesjaLE1NVKc05JjHAb838pcygGc9297HV9lNLtnsKCI1eUwRQl+Cx2KxMEisbBcdGZ5EGInHtp8nxstrAPLflYZ13U2Wl7mJDrcKQv8sm/uFtmuvuJLkEo1lw9M/RvTGlUUxo2FFpXHMOLMdS46lzOy4IcG97PjfDGECEQYSubM8EkgS9O2ba2aiynLm4IrSPc8i+TlZitF3LdZqrRnZAa0pCH5hfjCIUKlGSP9LJpem7X8lSHQ69dOQ3x2f4Ron60vCnarAoumnwRubY64L8fa+dDO9e9xYAms/yrK2xxxVDpvrGrEKtYCcKGxZVMDs+kHPZA4qQLObAWGgwj5zoYVnHAM602BGaD3165yW9E/1TLD8gnxUneL804eP4zA5dmG5JU3iMpmarAfqJXYatfaSs66gh13duZhJH0LR7U0A3vkKEK5bdK2hJnBFngmQ3ebYnwZyDgbOko0zby3sLtieyzh30F59R03fT+jH/viMwClQH4mNTnhV3HhJgFWPJewVZ16hzbJhiaw8gENqwtYT9Ah4QUCwIVkOp50J0oLog2PSRYYBfFG0u3/sw5caVKehuzwEQUX7Bu/zpGkwHhUDvNGFACxDUZVYKn/ez72zU8ooEdx/U20f0J+c2uSDVmCIOo87V9aZ24oRRvAmw2SpAxeLxPaUG7Py1ZrPgUC4FcBJxhK404QH/ZBfGhXEhGQFjA4152/SIaAiRYlLqdYKZQVzRTurnjJQtJl2AeC0Z0DVLmOFh8kRJyJVHWaVtv69YKGemsvpsiqhGOtJsqHuO1DPjFYX0+wRqgETPY9PfAbFeDjRMtfZ9lAxRaKlSl2YHehxS9Py4ieokiTyJ+lb12PBS29HeUBopAmOK1NhYoKUzGogNOCyCyQuMs0URoXLVSt1lA+q3TyFsujV3JIySWgY1dJdL5Teie+xN+WLF6dypPHqkd5RT5n+QHRTsMwMWn1iB0oGWz1kdauJHY5BJa7iGMiaKju5qTqrfoOsxWG0l2TX5ZT4S/ifCTdutTZ9r27gq4+L35Y7qo25oQie/sZ7POL+0x1vixPxLca73eozbSr4W93xs0WjgOCQFucLwx+HGi0/kIDq1/b/bMWr0uQ8ru7akkdKBkDhTkGq9ez3Z7FedRFErTG5JCLoBFgQ1uRa1mnzFHMgHsIfAH5X+wPZz1UzOWpUqUmf4uhTrKV6HQJw+yVajDyfnC+YwpfsyYkZds66wEUJOaN+r+ETokb5vy+ZsZHkX3LWZvRJalvANIHqQvgz+KXLMp8oyx2R83f0PFLzMGzjAtNDvC3wMAzQ69VVgOq2Pu2NhSb57rfYX0xP9wFmfD+db4qfdLWjjgsPCo4QO4hO7lit/rd/OqU02Z0aSqLeRlRJ3iep0dNF1KUmALWvvTrDvH2tcfLcg6iqjoj8kyl0QAq5LPYLIU7P4/tLgNREr+CTtYC+7ut2W745DWptzSP7oN/behJKSkKLKl1LAs8bPTiTh9EV44oTCkLrjT3YRPJuu6TzKpN22w0bL4efc+YKrYcfo6NoR0h0GtXvLIIVYYwlJkPd3A28rNre8FHvSW9b5XeSGD9MM6wgduy2j4YzR1pCkyPDxsRymUkVmh5q+nkHUjVfRQinNGttOJbbRIelwi1qYurLWj97s+LyHXgIq0lHzOFE11O2u/f8ddTiJd2Q4GigvYIy02qOjuDZYmriwdJ/qKgjogKpJnNMi9a8gQC+7KBlEVrRMhpuEefWwzcR3LR3hmLz/g8G7AXTY9ZvPJdIs4Db3jTHy5IPsFeLmgqqEuim71gISGDzLWnzm0GHBx0r0QHyJMrZjDyP298CKbAmNrJ1lppbY96p6h29t5gb+aodSc2P3ZXqmphvtE+F1zoLLVvhIc7hSwSPN86LJA6o12y2vi3s6ksA1C20e9nAoKpcdnlCkkAeBPBKab+QrUYFasvpLbNzWWsOAXs1mxkBZddlFVzBKvAFNMBE+7oR6Bui4ief7kFQRAnOoLqYScMz7dRFKJyX2kjXFc8SGUoBQGx6uplx2moq42/umsJrTxFkSKskd3rHc3LDz+kjAG20t5bFX0Eengmyd+6sIXRsDiTuAhdqt7oFyh97bf4vmHmKOSzhjVKrYBKh8OgDnaNl2ntQABFU3xP/dawX+HyjYKHhGKMQC3sNKTEuYPsDUr4bex2C7b0E57GiBoKsR53YF+SLm+JqOqdt0I3ZObWtvFgCstHR6P4V9ugKpOwisxwbDgjveM4Dk/JqFCQ6jgtJ5S2C6gbUzv+y1AqOf9nnHGIWvL4LPCM9+aXXTTLkGl4x69jaQX8NJt22OihJclTiSFnD29mbTzgs1nr2LT38bGttAWfyppCD5WeSwi9XxCJJ5jiUkRbUuZH3zJaPe1rZNFa/iVZu5ULgYrWvyl171nV0JvyhLM0QvxBo3QmgqBi5O5eHj8OtePv2YsZ8CSqgC34q11oHxl62VKkes9NOz8W/qN1sQ2TDeObzHuZ089stsbyzszh0iIIstIs+VBr7LWE87I56fDek9O6ArDvRdhG+4DcNPqPI1yL9lNmrs7D1+QFUeP7DaG2jE51KGUjq0AiNtbjcBtfP7zsUGJGZ7FrAFLPWAM8Q0MmpxTpwGrJE43ED7ecwyZ9Tpr5hsx5cUj6+CN5GabEvseLuJjmD5AzwXwNq24ukIZOv7J3Df7zAUIwZmoAZE2qFunpaGXXBXRx0Q6YprOoxcvsF05Cg7eaCSTKmpq344iNP2++opzfytRmZ9X8VO8BsOAKAf6BVA4UinrxL+1Vqt1SeiTA7fMFHpa3tMHwJ2fFzA7l2fVoKRqRiK14VgbMqKVym8sX96C9r61vExfmnas+0b3ZRNPabG5yIFJmA5F+Zo3B/jUlL2E7ZaiYqNEBKjsLI6j6l5RGNwaFh67vAesZqKGKl2Jc1JLIan6yN8223xlC+N72Xl1JN1uaCq9LEX0Fzy/hVQGoc8s0OvhZ+JflPDGkYqRRkBFXl+cVwWuFgV1T1nwXfILfRXfW7aS2oh50jtX2hOLBwppUaPq+tXk9myETRaRDi2fQWiSpsX2ecWAnKbT+8alhgzIU50jIRe4ux0YEIawv8swrJsmbp3wDbJMr86fYMaqPJdx80H2AYCE7doyAYQIJ694CFKuvB8DmlUU9ILvflbbPY9sbktnaF88vINK6NF+OTs4+UEcp7POeUok5yj03300Vtb5Hb1A9c8bW/+j5tiLR7ke9hdp9i97FxuZYswUMiKFw1omkqnidYzzBXbsIWg3ZZmJEu71kMAWfcLrF6lmwebtCigMG9H15yw/PyUnzXr3FSyE8fHreuzWMA8F1mkYhMjPSbJ7tSil7hog1LanYRs7uDb4fIX0WGsOR+zDsTvPZiGF8Z46CpcnlTWbYigrXc73goh1iF1t0HBLfAtO7YMiSIzDnTO62VnMBS27k7BiSk8zEUlIcwp6ZsFBXWEEvQcWJSAsPa3JCKxb0iZVGXycOp9yo1khI7vN2qgccGYFgT7WF0h8fOExc5hoGU+ecKUl7CDirGpqdq6fE0+dTp0zAo/C13JG/q7P2dpUeK+2N64FfXxuUZnSQRa9w6KKnylFVQyUPZqFCqBtqgCl7DBJLjzIuDzLH9phksUJV/GUf+jcqjhtDAUXCq6ZQQV5SO+wtEPlx+jLtpQsvpju/MYLTVhboxjYvK7snjaSvq/31/2qryAzBjEmyNImJ63YkmhOPGgYaYAoblm2/84UxxhpDjekE9MUwO5bg1JlAPlFBVhiUzFFtiBVFjQ38XloGPlfx7HfLcXgyXQ3fJHKF7AIEpRtsxgH5+obsdUn6e9Yucy/ACMbe31C52Cy0n5xlDO4KVXsyHV7jWSuYMOFTMKJV+o+ldwRAnZUMTwV33SkT0CV7iBrVJXkFo7wFpfRke/4KZtZrbUtdQuJ4Xo6Mws87/NWKLsjU7zswwUutD7uzx3AR0hXA+FMewymCe0Cqg9ek2h6yEjDK+N6MizEfIzCkTUXNcoN+PBP47skz8lbJ6RqTi5+M3FFBQTB1HNgb6JhAHb1/uGghB+rbmJnRrrjA46yhgSiyVuoZioIhfbj2FrmNpxaBkE1TR2d6z/oqJnt45QMgEyhdCzfasifUHPqkCGQyIuhCNfHYP+HElckYRx9VUcTxBB3kUCIzy371NCm4atVosRrnyGu5AcNhOrDFyIvU1XRqkyyOEYWnvs4cNFFrgMxEmP3/1cgyrspn6Q/WgI1PbrUJ2YYUrx185gxhUpXgyL2D64qaojoW8JFf3tsI0DrdPABnsocwJjEZ4Q0qjqqSJOwTk/Gio68G7ZHChsFLEmeyYJfpnoPa//39BlVt3JPxiawEWbob6RX6RpKrCoPvmOHk3ZLLt3eiActpz6J2YNWQJ0zigmd7SmFnVbZ96x9pf1Bz/QP+IKcbFCfpbe8FUCbKSppxO6jjMogcC1a+QsY0TtPlitOm086nZ//t1J7LhoecaPwVHUgDjx3ZnwtszGqlIb+XSQUbmjg6ViNkVZJETezCQ6d4CwEDvO2iAOkBF6H0qh7LJapJgE21Bq68SOxkj+Ldw3Q17azr12T1YcxyMoB80SLB1ZHS2VcZ1EXHBHnTm2JePfqCbTufMWxVoLAPeTkpew5tupkOv9KTiblo0phKs7+Y6BEowAZl2aoyCAC9W0OUnuHWziJc8M5pbfh952QFG0GpD3auecqxliqat0wOG1sVgPqsaa83gdxYBR5upocbeXyLJ+jAWomsz3iywwV5MjiLyra6TFqVelJLCY76hCRN/I9Kpd1QZ6mZVk+iRUwPIoUCb4n8uIAatsP2wMUGAO5EY0uKVwZvs48RpzAY8VaHZU9kvLtQ4NdQ49tVkT3sOhZfGNC/5XL0JKLQKJJcg7fjvpZ3f0e2SoBzZ2/S2UvCp4VGJr+270WGLa9mFhSYE/5CbMUwdyjkCTOqzB30fHOuD89/45U10KgN71w9/sRd5xD7j3dzHcI0rAnIhfm2Ohv8CWoOAvr9Ar8aHTR+AL2pB2JknVp5j811NpOi7+6IbVD75CanqhQVdCW+F364B4mbuK0G+tscGKBflhGeOB8ErhZftct1cajlF7MczSgc0w5HaDNlmgwCZ4/uYV1xzF2rXpUo3a5Y10u6Bf57eaPYiMRizwPrSW0wp3Fzu9DUrDXto+F8fSSz8Va/Pc29d3/ZKYqzIQ8jNG9IYJNPwGO/l9nb5Hf2h3oJckS53VGu1pr5irlY7hnvFVwGaXzjuV7s6Uew9xe0+5xq545klD7MZ2ba0TsWsbAUwZtZ2UBqRJ9OQImWThvsxEhaxI8cxA9OZteNbCu4EhJd6ia+VMYErmf9syzQyb5sQyEFRvWJ2ruvagx7hg0KGKVSUsFFJrIIct73Yu+6akCNw9iG30qH+U7GozkVr1WtLCL522sHw2mTifVnyvS6DjYflNnpy0UJEITjOlyM3h5MXUEcI7ls5KkmPZiMVaz3Zer0tBPer5Irf62cpgYbN1fQRArHLG1zRS3+JUVqQ26K1+QPFfNDBtSloFfKDG4N8pNuvHsX/AMTl+2MZWeR4U8EuAOUFqC7nlF21Mvs/OtmHa19eK12tpqCQLE5DCutQQCTbX7LIIeR573KYSXCcpAnDVOwC9OAYP7GmY68Pv4o+IrFPVdogx+wdXxVWL5EEN0AXhIR6V3f2T9HfBjkMA4ladFDIpJxQl/j8JIdPE5M/dP/1vlL1XQAi5WKZl8A+57ewre83CPCEtd1kYKDsd/NdVjEcO3ll4i05M6hpZWwJNRRCmEIR8DMv6eri99xJSbfv3tl0Zp+jrA42ngsKlxBvU6I3xCwCyN0hPBjL0hz9PEglqAaQbsP3Rys6eKI5dmjkw/bHiBlAJk8MlK0FPx51pmdNdE1VKO8orngP1xFhzZNrHJZtZx09qQ+v/h6ZQba+R5RpWiDGQ1b0PivezheLC4WPpvrT8VU6fiXPI0eRkg9yHhgSlpGsCZinsL8gfSs9WxO5krku99EJIILH1M4CHAq+yS9jqdk+j77YX8uI780guI6fcuYoCg1jPRCSU4AgUOZzhmQB6DEE1opaj5Nlp8pcW2FnAcbrE/SDqrKnAON8fxnS1RYpMJ4ywelYgc=">
            <a:extLst>
              <a:ext uri="{FF2B5EF4-FFF2-40B4-BE49-F238E27FC236}">
                <a16:creationId xmlns:a16="http://schemas.microsoft.com/office/drawing/2014/main" id="{175B284C-CC6D-45CB-9E07-A8828865EFE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3383" y="2381311"/>
            <a:ext cx="3476712" cy="3895823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btfpMGChart7605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zuDDlv/D1mPHXBOaXKeEBRg6kSj5XReR9wmn1qN5XdMYrQwHkanzhgMhD9J0TJwJawxK8H3Af6Kti9EQ/WYh+vpzqJvvZuFIuIIsyZHGV8Rp2i9FY71YjwVYHShWi420EmP8GjxnuiviVfUlLa4cB7B3Ds1NGAjd124D++3FVD/4ylNiq7Lh7NDKz24+b1423slCo2Db8WNOAafCCkb9uqXm3dOyKNGzsESRDvezsem372pAN6QCTchxPiToxSkjEehBsckDemCCi1Jvf9sIFkbK207vqotdWrxlOuzkJgvyc84atllN84krFe5ENjwENnMqwjsd4YbUwNqpB+XBkkKxcPuXMb//EfQkkm7+2BETcByTWTrJvXBBB7xnZnUikfOgLGveeFTQjJ6ITeud6C4wBD2TWztgSU8FY+WoufZy4cC3fVJdzH7NXQfC8Khra0H/fGpLmr1u6/LXiVyBwP0AH9PWGER/NFGk3efUBFQm1n0vH7GMrWJnKmciwchMZVEiWDlGZHRCyJRjWoEBab24ub8g5rfC0Hw9VTREL1AQvA6bVxrxza/luim5I7zW54TFZOhYINnwzQ2wOIJHQo1ZlVCbfWJiPepnjKepVO5lYGFnMXmSitDITIhg6Xoy2IAkLlQ/Gr656wsG+B932x64Ll8vM2neord/3Xc/WiMTRQGN8PXdSJACA6FWfxZpmziAPQtjT8JLFYLbgVxfpF7XNWW1UpZVk8AXvnP7KMSPz1j/x45wNFfvzHShPiInOmydUc+NYBlUXWdrGyetq5q65O25BpZUeKf3m8ZMkzMgEEDcridQSWEhTIZJtQnKjAA7EsyDZb7I/FUMhUWTL2YEFEKXsVJ2L5fRZA07WWsQStOePMexd1AhVNqnA6zqSTq7xWkUYqEB1LUSefzyZInJEbILuvrm6GOj1rSrA1+iFiZfhhvgK+FnTgyXknvlD4w7BIF5+pAOOxnWDXdwWFcklVSAbvxiApE1dN12ZaiNX79cFnD13DF08XE+NhVhrFxN5jB0F7vNo3/n0KEBq+zIV8taI536tVgQjnBPJpZbWFce8pF+P4JHPgYiVJJtfiBMQKozyXy8wk71lVSY4x7qddGXshtK9r4LyPb1iEiWrSNLnvuD4jzE4WA+apxJs51hxl5mZmRjczkUtDritYAxoWqBmDIoOaG+rY1Qkhmo1r0Y7adlHfxUzCQRG2J/NaMDd2yjMTtKBjvPtnE7UwrierKRMs2kI8FWOF0O3AHb4gWoDzyRvbolDHAF7dLktSD7Lv/fcVuoVxjiRVYs1NxyMryMBPhkRidavENLYG07JsAqtSXBk7ChFKhYNFfwzeMZMpQmllzC5BnNxXsj4YclczAvdZtOD2BdNJsQqeI/FmSCz8X8XwRP/cjxZMBVWqsMgMr/72kg7Svqo7s+xkANZCbWiprcnqyX0n9Qf4o5rnPu3yrTwwjB+OWndu/oJVidxJyN0Ctl6tnqPTDe3YG1ttfs0n2ikQ+Mcuw9rKbYBYRnykmtCravlElo+zK3/MaVV+Tw6iF8AEsBczUAUQkHSGn4F60YI8amK7PhIjj6LRE7Tv412jjFQEv4F6HVr/75cxIJ1uZQLE9c6zqi7NvQBYhKL0A96VOFPhEWSd9FDgkpDfTsYmVQVd5sv11oy0F8UuYZNiMupOrix1QUbg8j7ySnOkqsKPaFb1m5Fd6yR7xInK6dNWBkYteP0gXy8cO+XzetQ4I4Te0hWK8dDGaj3RC6ngd8kDBGaGraqXGHcSE6hA7umV3wJfERkB4hDqso4rzPpazF13MCsIXounS7Q6PCQlVidlhlFfvP9a1ZeQVacqDFY2T8zpfIJ+aARw3LbsDuBOGTgaLpslMaB/yN8xNU2UWr5GUCCa5WvF8TXI2Sudwzb0kaBUGrUcFDEL8n3o0jNqQkfvqxdq5YULpxPDkxTlg978bssZ/H/zwfDmMwDmiIUZbSc+NPoGe0c5p9ASXcGYHbhLMdDgLK02FNFNPsxnnzYIHn/wjEPvhiQHEN2W/tRKBiHJxNgsnuVPnQbDRGoQ8QsU/UO+xD5Xib+kZ/2fuHxj4d/NRC9rbnfsLPbzRst7eM9BpOMtHUUUPOsNa3Bheci5TgPWZcw10mRf5Pqztg3OwqGFvItMThTE/mIk5rEK4m4EFr02slNmCaIw1RfhQ8Gkq0gVFpw3VWhkXecCWuudXzWWL/CSrmXcmxQjsYA8U624sETu2LAuYCevnBaFS6VRMH9zy3hGQKIoOBdFIu1wH76FeaKnGBMskrPadfFYFgShs6ua6TH24oknHhjQjhVU0Tostu/g8rGOTUdZPN2SmwY4jS6YQolYSvLdkFuDRK629ypwBwytg6c9NIK46CViMYFO8lWnAU0TnIoVDk97UQvBWbH3eSI5wWSfiH4xMZ95jeYr+vBdZW9/ECTn3JFWW08Hf4yH2AVdfWzas02h3k+dZGcIk2s/XVFjHUE+KBiQmhI1jgA8++uB7XjxKL3C5263OiIGymxHh9950m5KiysHGyzALajvSZlz5hdV2ByvDTTT0SF3zhGSZIuCS0eYXVwFiMvxA6lOTYenx9ZJpMF41wBou6a5FXrW/OIhvM7GH+jkFmszGv3KB2giXI5UcZcXvzqfOUDFO4odRY99HErHMlyZCuZQ+kyScMD3Ngu7uPobApX18vhy01f+udQGsKKRWoHGq+CjGjn80WEE67+Lb+0D4Kzkl2x+5EbAXAbk0P/ud7b7l/Pmw82U+CeIFfBFFD/jVrKLv5Ocsg6nxGOfXGHz/mdCCw9uBqhwbx3Uz/hVr9FZBTAsUDL3srkyg5EHa9NKvMcZdnNkAFcwpLqHpA0qI8toqc4wE4yMC68tI8sXRuiDCb/6Jc7aTf3aaYRC4ejVjEUHDDIquapM/n1tbb0CqRaLNzOFM4cdbVYMHDfbpSONKtcrvgXDHs3px8O5vcdZWWUtiIAQyRoG+71CeuviAdOOYm5ksgz3MVYCI83wE8cl2e958IpIIY9TIelGLONF6AhtYnviOJ9zn/P64zMC0SQoMF1sX0uTi9IECpYmtKHyfygZWPdhl9WEe/nyEdHPCE9osJdtmyspY7iWTKIL8UozrRM9goIiDLWzJeIoNor8nbSOvC+kqaZWhfCNgNJEVzyTWC4DvtSyZqmPVEpmJWMJWBeSN3jZiKedgEG6skuhAmQrEd2jIiOYZwHJdVeYA1VmAcZ/qTyzaXmRh9qqGWK/T6G3Mvj93arzl4/VXcaRDIhoYTLI5Q9wvngAgiH0ZBfqneuhnJVTjiSbVW3qS3u45vKQ5KjxGDsVli6lieVxESpe5rcPDPfeQVv0OJOihPLnWKk9XOayzshlz3x6u7mByJglNOk3sLMWreX/+ycpWWibCIwJTneWMJCbTZhP+fsFo5p6kX1J931/8LxE4NSuBmo7eS00sG2aZh2MsImKmZnrebRfFI4JJOYrOKstYRZaWmADGU8ozduengSBjH4CD63K1bajr9l9V+Qyl8D1jVactjMDuaDqMlC8HdcPCcv2jFUBWhuMYxaCBl2gv5mwrQ0Jy4i4hY9ZnDxBhWREymjLVvZh9AR2nYTXldBMLJUtaASGLEEz/3Ms0o606yAW83xhJOR1xDHl6NYBBXQrXpC/kam5qQuZn5FrknBehp+MNGWnbk4ST6ACZVQCuvniw0vX/Tatzxkc8g6tGMC82MRkaHfpBmmqpal/0TNHy0R7WoC1IfGPTiLtsHtZ4SnLooXVmf21KBiJpDj+xqeLKWMXIqzoExPS2q5yygHiK/8nrxzyXrXQlL8XNypJg0HLk6R4gMIqhnX32TxxAhzPwYNBs4BkDLSVv2g2hKC3RsujX/5cZ4zUnjiQ/xEM08zsLgf9X7PStQvL5BEk8KUU7ncEHAvu5rc8eiRm56mFzu9MqERd4K1VUwfBw5XtLo9rX6pGH3R384EoWRZxVZ1pBd8Bz1wHX61+Jyd1pW5xmMNQir3y+H73+6CbN7NxUp3PUzXIYODR7GCQjqVJVWDVjAgaNMkSpjDt6WR2eKQnOxxMgj6LaQxaY6J4/3fn0SlvX3FBuPMjzOun8UuYt5zvFm49rBNz9WRxYyNvVNWvOkm/Go1eg6iDuqO1dh5EhmOyD8jQaNJjTgcR2iEK3b/Xhe3goxyatqg6mUc3OBriutOdOojvrZcq7+VlxlAqe7ejx51/KXkvXLRLop5Ugz7JZ+JyComzmHiXDPBwUr1OOOF0f382qRwqD/h7sXntrxqW6G0DqzQ9XTkdKp8V+HeBWvlLfghu5/b7hwz0kKLurEsvO1qtwWicKaHv1Bzfv4bGau1lt1RYJnueJJVCsebmT1kfUb4PFj7DhCbriHp/mzatLzKKDyJp9Y8LidCaeeddmPANGlYOeiK5VXXZHGQGyHFh/WbQPst27WjN1GpFtVSGWj4n8zyaLZVUABlkk0USj45LlHGqRLP3HF2MCIcU8xLRC84oeJv2gpKrYeHTavMY1GuXdGU3PMRr5dKHH9HAxuBNpArMeQ66gIZHueQrC2cD2iR4lIV+/pLxBDv8cKO7CBYXOit/1U5Ahjky1z/jahABo3upGETE6dGMPoA8YdgVTZ+F1rvV/GlhQ8P/oL1g3KdoBqXvSUVy+40SeXZNjcAGRV0eE78OczuQ3DTIgICyoBZVKJElhRhTCvCBpyiBIz9dbJ5+Gy4CVdZlItQtl5YbEmg6fUbLGcrOrZbJKxX9iKGv68Ym97o7m3H3yq4+rMopuj4q55yzfbGztBoREIPHi2jYPQLNJpRFs+EMeqpHr6N2m0LLJIRR+EhpiYQPrvLtkWVIPGlkEdqjfvXATdRuym6JfZ0/nbucWDS6WjZW9HLFHXBeOoEY/xT88vWFUi3lxJUe8yVDrH75IR9O4cCgppvt29DsiATy5iz71Lo2YtEPB99Gdi2jYNluGIXzfTBgUYJfWvUKq0AnYW1weivu96j8b3k55Rcn5XbGQk6Mw0nF/cfQphZgeHNcfk9kD7LWfBqbwbfuqU9cqegT/WOrXYhOYXgVORF5ZlzyNhnfVihPqxyHHw/qnaNd5oIG4x6TroRQx1d6wXAWjOKs9fTDTJZdE07Vmf7AYAh6Nhkcuo/wbgz8V/XDW8PXeh6+aw7VKiCe3Hf1d9lhaUI9GvrstD4yxu3m+Sjg8rAMN/BqWONgDPSC//9LvuGj2xIpYkCburuVZ1P6wVmDpbEXIB+3CZQsSOP3sEvOOxfrRf4oB/kd5hVcKabnSYFHYn+ZwxuNGcwxSw2teiTCITNdddgn0SFUo9QLhL7bXzcNshtMRgXYsXUIdBp6pJM0b47Fu+jhdmabarQx9xmNzr5HuYfc3Vt7SELKaZ7CHiN+AX5wlTh3Iu9obQedQ4zUhjSezib9W5nSjKJZaXTkZVPeQaA1/eqBcOtmyG+h07HJbfteGPjShBRAqX0yWo5ueo6iw0e6kUY3y6RqNTm1FeMm37s9aEvamfdXOESWgvq7im/Jxfrmw05kmiEya+oD8inon2pHonXCelg2I/fawcxUYPZKcQvR5+I3BHzZcY+jPvk2huxnJ+NLFeVBaqjRzMCWtNWNLq1lTcAvKsaLnpzWmaGe6IzVM8x6lkDKuwkeqf+cYDwLl3Y/fjt2symZaWZhowCcfjsCadhK3ffoDmLwO+UqJTGljnKRT3mtqegXlFKAANYwI2D8SP2rTj2/k83ZZuZDulrLRBeVUPtZovXTqoTjPIDYg7IXa+z30JzTsfue3pE6TxHjvpXuxPWVv4e4I3QTwhHRReMXG8gV11zVZhdr50qiqy02uXgotq/ystfTo1rkb2SV48n/wIH8LI1RXwKvq2jw29Wl8nUbm0vJwdfTwHchbXytmX/9VgC8NR2UADGNXFU065w0/4QUrbL8ge5/hpK93zFYfd3NXYxnBAjTZnutDZ2f303BWeU6P/GKK0yD9UPuIzWdghplHk1X94fJ8M5ugz7rUkkKlZYQU1XracvrftaUkhy59FeiwRIuoseYewadQQZIlcbVG9zrs5YRtzhjYl4mI+kN+dTllbyu5Cza141NMov8vuqZQ3CBuidma9tFqxs7oI1lQIL7nRkUf61IhPNfuZy+eCDGDgZh4bI6ACERsC4vxh5R36kQl2/c2SpqIymPjY4tSjydT3FmoO4myIRcndSddEETU8ZGs31QqiJCYmjTH20QAMK6bPHVRQ4knWAnIQ/uFtW2KhWGLVPFgJ4qz8cS8I8Z4+R58J5d8x34Ggg9QY5PYR8yEc2YQHXb3aYqwz9GOla+7asKWpRI3d/op3QO2YY5wsS/SFvhFiYGMcm+itn3Ilhp3i3V4r0lMo5SqDBZJYSZSj00QMpiVkHvYTq0lZvjEKTj6dW3YkIb91anbSDdsU6+uOmNOCPLdsbk3TmQvfPvYs7CGOhtEyzGAAsbRxHCoqmeLHzkucSuZIQwsxG9o4/8pzdsJiSlD8m9suel1ONZHuO3YPyR+ySMalLOlydsale4z3lzZeztvlHAbWHKC8GK3GcFRpQ5kMtZZ/sV7CR4OdEe8CZ3rbcgqG7TKqvBSA88ibW/lBjLHzLpZzDOOBZiYneMh0DBt3sUjZNq+Ihra0XoXnz11ua3WKYLHR9mm/YmgfLKWk2iaLmHtPDsopla6STQDUmgQYQKuWlILv2cck2bjhiOIc6/ifppzmCnPue0D7gXy2a9mvxwEPyCuhXDOZpAV5Md1p/ep3r8GVFSmZCIcH0LVcCxz5cd+DDuqcamRYWtW7kppW3lVOrygsI4tC7GBla0j4CSk1gQLMV46IP28zmII2YC0DcUFsbwQy46VmW4cgOcxPe5Maq2FIqOLRUnUD9vgG2hfEtIuD81J60S54uXS9iWv1sfDE50u3N68VnFb4Z2I9T6yZxoTm+gmcmBFifjBG/ZqXKtsLZ0botexrp5n5rnYIhnMMtUQEQ54aslrNlKcWvtjAYlrKnCK2pVyo89URh1w2I2eJO9kiUaDVHbMxVc5Ku504wj97+THt55BrHjLCsZQX4UVJaiSxiYU090jjcL+wxNK36YQ3jHRLmq66WYWNcmSL4NrjDfucrSXafrKnmpCKbGK4R/N5f+fDtuuEbG32YMcr1ehI8anLp2YIkBQJqWct0JnLpW6eqHfg/Pytkiw0FOonvBNnPiVfDV9WB+oFRKJkY+iq6v8H1jYEmyJ4dqHvjSXb02AheqInw8XEraxTYFSnrY0aD6SDKEmDE960ZFcRB/3rx4SAedDr+79UBDoECoed9wTrPZea9IK9dBIQ+8YBgXs7Pr3jQc5NwtHsH/cZTtIyBrTfFkragoZ2JoyS+LSKVtqg1Lx6TGImpqFstkx21SMPhUEm53LjPwIjkCUVu2JfUVQfoHu8bO0FXwq8Jxt715AsvT94WM5AVjd9SjkosYxdolFQgNLQSmPQYdJpXopu9uj1vgbt8cT8VF6V44xxsFyXO9xnw4v4+2vzhVYHkv4LUa437e6qMlGBrA+jkiC9ii6QkzrSLQtpMtWzbF19e/z94WQ2msrl+ILN7ShPniCCagX6qzR4YeWL08S/u90QlwRT1nwd+iWm2Z+c1NYvZWnCO2s/53x/iObWr6kIn4ydRFZ8itMpXoTAuaC1szKOlL7AXnOz301yREkIH9dyqv7m6+MH2sCRWU2qiEVF2Y1R9HmBcjgeOzpetLnC5+ElInaLVtX5qb5CxVkflbCH0E+6MiT1bXnGURY/EbzIw8zxyWo7Dx0QQ6+VKQcHxFRiVd1IcJAMYaUBKjyKJ28ysMw70PpRLaxLPaP2hNA6OaslbR1AGYINVGDWgCMOGDi/eOwqCgb6v1zBm+FjYlBRkVvtrLxud4fn3e9yI+cuBF2w4GZJ7xG1AHAUCruIIwaMHe5hFhDLXjlTfy2undWv7hyiY18ZO+Wy9wbsJhyfqvNN2nHX0GckwZ9OMgmxP9f/V5fTI/GfBby14wflO86mNstTDJexC3j2KYJQG4yw/Apymy/WX+/rMEiqRhsZGEvlmn05z2s/Z2szpD6NyTBIcftGWKdcNjZ5G7gGR45DHK6/yN2MBhcNPBc/ol/95Q5N5Io6jVmEYC8j0iQhgp8wHj/8EcDnpXWxUOmRN+djPvqC6gvbRjj5b8cetimRQe8D+cp9fC5anrxqzCPYHUKZtExiCgZoIk3CbICxQ0fTMDsje+3teN1XjUfZ+h9D6WHSP4LESHy71WHit/Ikx0aIUR/j+CHMB7lAD7ocQitM91R/DcQCRlSivS3qTUXaqpu4iRtTgSYJwiP3Qzit3yt0IrqBHQxgkLqsuYQshXDsCmehd17TwqJA2qdwQnTZw4wXveE3lj4RgYg4tlzLlYQjmYAnDKbbcOH3Ta6Xe1Zo3U9+7mjTAJrG91fvm7xz4dPShIt4UobZk9UHdHzptuKFH5PXmGjMOp86b9kQkfCIALk+awKi/Rc+2MRv496kUqbDJHFsBl23NL1r3Bw4Ee+aLhCO2y8gtRcAoby5Ox9y6slVbSvLOOdelgaS806NuLMHi55Hap7jwRyBSPcwpy2iHJdzrngRE7nTXzcMzho9QOgIrqRnZtIn25Y+kaJ4RLW0CFS1yKlx6QpN8C1UOV3SIWXZsXa4qgKhkani7ceUk7fCmUbrOqVwcd1OG0o85lnrOJh07mnaMOKecgmMFLlZgCVMlneUO9Cn/oMkN7m/nxNSrjgUNuROGJbnnhTtEXu5zLTAsQUNWKKJmHdV5h6JIi6RDSkVhyDZ9mxYEflvqnbDhijtsNxRVeSyDcEmh84QKbxZRot4Ilo2nfUroGHR9ncnhtM8tl5hYdGzf9nuv7njbj12zU6mFZy8Eaib1XXS/MBKzfVPFHwj8PQDG9eCDSURHaCs122CvP/XFWidEyiJekmaGqEghvg2eDmLT6HPD6npAbf4yLIUpnhBOhlJr/DunyjrIhMqRlssXAX6tc9V7V1XzS9QIndzFMwRTez0ymMyTnliGs8RABZog9nA9H3cqFb7s3ZOTNk/9gfGSs4PHE7+ZWoANGhbtv0l8265XtQcu4lHfkOP3MJRSkT1hkVCO61AWU5GCpr4Vj0usJwdN0D5NsxY5In6xhZhpfcVCD8+5X5tA1c1jlM9auqH88HsYwrhvua9RszaQd7Tn8y9qKY2no5Nmolf5MIB+AkciiJeNYjmCYF/TIlrBQVTtB6Bx+sAWFLcIVRLeW844lhPX3f+Dyu2iM12gSE6nlpmF5dSzUBgxSqCDsV52gUP0wrpU2UcuDG1Fc5iDEOBfqOcki8NYlEt+fILROq8KJEiUYJWdqzd5ZhHYU5E8LiZlYKqeHbLY6GItJ3PX/Q3P/vDxkaIv+KvQPwc80sy1gfhs0KJWT0bgVI3eoF9nTa9PzPSQ6JJfXm3A2yvsZw7Yql7WcQe84tPa/uAQdWl91TJGzjMuOQZmQbAhj0vbtn3Vdz6voiCerf7FxuoZoG8cQ0NZKkH+BiUFOf1P7cSsinuzXo+4HEEnaC4hKO2c9ua3nbON8NinGJiv6iky2E6SAmRn/H7F1EjElrRgD1o5QBZUidlPxuT4WZlyGDZGUYBNtBMVf86B9uA0JFXoDcTTu7eVG92moCdmtw5qJ4zki3sBZU3fQ1NiN20/gx4646lYPsn8f+JUgaQ54hS3FWKdO1db2fipoGQsgch+D75bOS1VRux/fpSj+Tf04TJtapW4vGnhLvwQFxBqYdZo7HpptCoFZQRBYhjQ2ih8wAwQK1nQUrGNLOECULT4AtpaHwDOB9q4jZLmN6XfM3N8+8o+sl50Wv6tznEoYZ6wjCpe6aMgNOOFejgsjcfvndWCsrG74dslOAmYN90M/ryfXVvDG20kpIJqz8L8gbKSLvp1JBgqS1KXteoCg3YpTI1ZU4AXS2luZHi9GtKENjsitsDT6irEQr4BvDW6m4LqLAlSOVMwAHwqcyHpfIAarca7pVWGCyXKHHgq3wyhXYyk1fQzJSXzj93swla97iUBsxFAMxBvhrYuM6kl+oeslaali+OXXOTsKAgZ4zfbMitUcfOnM5POQgngsRDlBzZRaRV5Fs72guyWhfY7LpbyBH3h0ygg5Sp4SOtGsanXPp8/zU61lyUabAhLYHvwCu3giZozPSEZQ32A43CFiq4VAqmfmSERZ+LCK1RU2m8qQwdRGGtTgZAv5+W3yn8CS//bR77ye/D4CQAKoknHYt52cu9r9Tes3ktaXudQMxo2mPrc/hDmaHjZGCQcZpcd0xBT8ZNJlg95pgyhkut+lVv892fG7vQ73QEhNM9Pp4+t8DaIhMenBf+FZ0utqCihaEwUxaaecAoGUbp/0IRJEsEC6XF8MCrcf2k74OWvrWyYW91kcW+v2+JJlHt0Ohi8WlbfNuSM7xBjpdGICd9W2Mg0xhLmbg6sZfqlvU1UbXypI3oh1J5xhNbqxs38umHpHHLgmQv1aWK9sdl/dvuXHCj47fBZQiXPrZMUUKD3lCXhfBLZbVsFP3LTb0dMDzUCoYJI5VUZWN0TAeKMgmYUcFUz73TeZSQPHr0toRy9nOdT17yxw/s2myppBWBXIUtxJB6f28d8S3VfVMcv0MBCzgJ4lrnmmsF5URiLFK8m5qR0TZENwkNYqJmeqcTXGBFIULqYvhMvUPjt76DD0kEF/7duxx9BFcoCP0psfI5/i8pq3i4J4PZ9dyb0gSnZ/4eRIlVo4pkeZ6H7BPjaVtaPEJaONbinnDS2u6AaksY4nHHtOObZk8JMpLcLlh/4jnpDVyrCmL3fK/brloPVcknCq3A0O8KZ0jB6Q0qJEZgFRn1yIM16mrx59kHtM/CqFkgPtdcFRj8A5QKoCZ1NwaqQ4QNGSnIz/3xvyOFbizlKP+U2J7kr7Qj5Qkdn9dThX9/p8CqOYFb+HneRun7bg24ghPiCZ0Ygw+1/72A7iuc0oCvTCoDlRLH4fM3qfuzyZmi9S3Zezddql2eo3AKTjQABorZqOnsy8zXvk2P/ZxBGcz7cLC47ljsKLqH793DbtwGnS4NrBLEfGU82FgDcJAnCsI8I5d5nar+7WW68dCzJnv722G4fj0sfgDTzSaRA7ow3VWY9oKee5lU3lCCmzkN0IaGLnQfV/rNY8n+qSTlQ6HfRND+UMbmNRJKSir2/7R1Fjn0/tPPUgNXrEVMz2HLMRlc9Hty+IyLXssgdwBOhZTMDI/h2sl8sKzGfmFo4b4Q7IWEQr+MBsAiJpcmApVbj5XRmnOHoQ9ex2pQz70qTdAhKCrgL7zHPeqJclpa3v9ARM3GxsgYqdGgUK1aJj0BW8nVY8GjWl3+hj0ALjNlAtllCmYpCtbDroOk35W6PxgkCVyz8QhVmwXZQSgqb51pfNC6iM8L7YsbCTMLIqjQmGe7dFkz+I4W4IytxdQDnQlautMQoxejud9YZQ683UlS16RtQQaodd4qKv/geGjrYjf/F4+5Baca3upl9BGiNEo+/SQf9vdHNy6DHqEoUou0qtowjgR+v73oFLT1OIwa1VcjRaHoeorev8OadWzzhgB2noyp126KYnVZZu/qF9cSKk3ELOulV7mWeNB6APTfu20qyK2ytpVhoiu8ZFqBCqivRPzYb84+K+nor414npYThgsTwmGn+5u88SCctF+yJtiMJFqX9n1klar6On997XDLeNOMlngW58kfmfyO1k/ykRlqOWn+K0ldnXHubWOf6p2azXHD4pVVlrNoq09QOVChByHl1O6v5YYKvNn2rW9niRW/0ciEG9XD/RsHTEKsLBkkkVYt8l7asOTpQtqtaS53GFB1AO8l5LqBXzT1KpihCQto84J/c6j7ttUAAi63bpfQmrs6p0VeplGG3+5MeJ+AZx+f0es6kx1xehQRy+Wb5dF5OfD0s7/MFaHAvMCgYm2mmEdJtwnm5Vx6wG/L+Be71faNFMCYlJuKOzpm7KByF0rVTQoerLrIi4BGYkabVoCcpndbHDrTZ4+ewdQpPorqnd6dx6VDcVS6iggsKl4s9KYsAaGRU07XAgqIvDb8iy5rybMyr5oGCDdAPUi4+lTT9ZZhNe3HY5H97xuXQBxiiljk5o72deI6TzZEnS9T0YenaJqliJRPtyX/RTdGnIJwWneu6NXQreVT5KReGf3Twug2SDXDB5h7G4TptuO5OB5Zj5ZBu2MkRmUTTOMdPJb2xbwrC/9NjDudQhSoreopVoaaWJDgwQ+2Ib2VNjfEjp2FpOc9p2Xgb9ghcppbRgrCX7rgKU7LUdeZbxAYWXNQxejhMYzFK/0jw6ghP1ro4JUtpbe85IScqBNxOB4opnXx/EJps2774rglGeGLA+nMfTD6vzNKZqyy1+kv2togo2/dnCSsDzZsMCgUzwoPQerXlUNEYx1KL2voV5LCBZigjmL8g3/n2vdZU3KHqmE9w1yX45v2z1H0EB9PsdWWhCpF0rhooAeAoSh95kcQLr7IJxcEZBNxW9BBooQgHURbgsr6L11/gHa9hjGhKNB4jWll5M2gHHYXkXbrA4YFW+AjhFMz15UQX5GoR2OPhpV9uanXmhaqG5H6DA3+xcfciGfTKSy/bSmgKkuycIZBHbicz0JtA8udo5Cf3lR248PSBn6T1IxegQtZVDkUDo/H0gdqpPJ/wOOoxdQiezgbDoNNWODbZo7iUMYLvdIUhIBCl1GznNp5Jsqni44jLtjZwPty6NbCf002AmqCDvJgkNfmdPTQ8xuliRlR9wwpAuydEJXmO0OFogYxW7NBd9jZyKf8/W71dqgA9t4gnHUVNHFhcadiJPsSQ4C8jhbf5OQJ7g0lwPVkrcsK5wCCqjtIC3UpZw40CPQEhaY9Biquj5rjmiSUuqXqBYkTVh3k+Ps1qFU3B5ADG+MIqRhAN1Q24ngJg+y5gYicZx0GUgnrcHMLBY8aHngG/Ed9qwaw421roj8BUQiGlsJ/EM7MIL5EjK2UfWLkmb97c9CgdSm7HGMJlj6bhYqyAr6RuZXc4A+oVjjKAJEf5PQU4bJhl0T8HcFatQ5j9qqeiI+VerbIC3fFfkYxntgKV3hfr5lFXRvTkxh+nFQG2N51QZmNoeCL3pcwW1gI5EWc9DuKcjWCbO7X8GgrzKrUBGnzhbEb4a07Xtit0yl61RvfhmMmM15F1CYcuCC2jpVM76vHqtnBdJV5FV7LRqgxqGH8Z0YZ69juzmiHNFz3XXHOJtf/ghxOrfgVs/YtlQSH5lHus0soBKRa3HTEWXYH6COAUDxYJn4RVZV/a2lUKKshpEbhnMvA/AfvlfJE+gnzkvlI4nIvlZZrt6g8LUyn23XVkbriitlfK7FjuAsNOzU+RGJ7WzjsrlgC0cHshQ03TxeXt7ZuNN6hdih6ZxJd+iPCyK+Ty86zffpCmuerC387uYqgJiMPY0J7ky+XKUEprtORj07soi9VaqGsb+1hWhcVN9LmeUqe+5xL5/h0qSGy6IgDG9zQ0G6KUxtxyPVUN2axtZ29E/Bue6OsIRnT2wjrWsJFHWMTCP71UBb2819LLB/PBgyCI4LQIW9WoM0rsIvMFwBmbsmmJF6A/KZfEm0bhYftWQKMCOaCdfsVn9QL81fB910OhPSo9ZvrfmKVzLBJOmQix3XRoNhbm5rrmYjEtMeUK08zJPVnAwXCMt64qQfKV033FtQSIergsSWpHOX06y+tzd7Gp3Rr4sUd7Y2OHtTAI0hqp1FJzBTR3iR4ts+xoghUCAQ75FtCYxaarHFgxa5YUHtEUGnDzEQzH5WhccTMMDE8eeHGEkcxd9dmOFk0EJTX13d/XuhqJ59MUtLcnWVLtAo2jVMIvitZozD1RhUpa4EqAIe8PEeGnw823NFI/TmO8T83lpLJ9yaxIaDykI7vPLEQX54I0BFVdQ3VBixQrMlFfZWwV5hKwNvNhQtPn/EGCYR+DjhLamnvrQGtB8Zndy2pniT6KdtswqGTG+PcJrhGRFY6XHL4iynlAFG+RTEX6yTysXVOtKnXrgQLTwjU5l4csWjKhQSDwH4ctY7prQ5ILepVeeb4spmZSvHDXanbCSEX9G4Ss0jWhs1UdSEr8whe+ldu95TQCgHZhO7K/i5hhxPLcwE1SVA6jf3Rfurjsru4UOG2XKM2iZXAJgzcYBt82G3T21uZuqJN9jbxplvr+qpc+XHatrCpqmT2xxxgrxWAPDeHZsv6HHsYp0ZVn1dUJHZby5w4WsXche96LJJY6mNYytFQQNCAmcqP5+9yW61/1V3iZr4pyYZyrSoW4KVdMOLlDq6ElqVs10FR8pB4IToztBVjjUQTupqz1WFnxs9eeqeX0gkhvopnWuD02OehLZBNYGyzCAbxW0GQsNv1qF0Z4Mcqhh+BCJrUCBa882KKsjdaVQYU3a5D1DG+Vkar44dGoSwLt4WwLdpk2U/BUq/vjxEO25kHJQD1XjirvHmkVG5uMuB+OdX48X8PIZEOeDuxzbjZkkjo0FreHLP67FzoYpp3bQ/p3LM9nwyrG3cvaEgtT2hin1QnL3AHjx2yZCeoCTm1tjT6FcAkyRCu4qRtAoU2lFttuBarQ12a+1gVNgY08HscDLy1EN40uEEFZBB18S0sm8WNN49v7oV4BJRAIQdMupAduqtJvKYds2f/SrK0W8Sv/RaoNiSVl4PW41+VSHgwhocJt6ulR/XnlhtbWdHDNr4HJEXjE6Js6EX1YHTlf1y6x45qmjIK3pitJ+ngMcgUMn3vta3RghDLmhLZI+O+HEV3jFG7V3OG+SiF/5z17mpuZ7PwljlNnrOBQLOZ+ulZPULSPkVKqkzYkRjrab8X5cbdLYEtrnayJRhHlQbRN9uARkFIlGoz6ICp4dsvhmtDv0td3C4lynbOk1sfTLD4gs+X4HChv+pxWR5PZ+BrMFIrADXkN9EvCpzp1ChLziEP/fb82iZXUSCYOogUIr9UGs3p2NTHhb0mVQNYbuzq09cLIn0mVRMOtINvp52Oy1ztLIbItYvM54Kse24fIu39VgNRW966vsFs71ZaF/kTYSfmjTsTVmbHaPa9ZSTrTChTOk9Hx50XKxFV2exEZmruPB1KRe3DWimLrBpsY864is//NV0++SspfNYrSJ7+0BM92LlJS3tW0xyjtnq7wQ32UMLvKNQIgqvX60Sv5CENu1FktQ+zdKcYb7d/SyUr0qsMNKi3iWzzrlTaNFIfa8DV1+cneql64NzR2FjXRir6dmQtHevqSpTP6ye27Le06DCo0QmVCFgRHsCoRfOzVPrQ7TQ6J6qUqL4V7Scic/r24JQY0WDFNvbzO+zFBOeyAxFGNk/WgoW0+3KiUCbeZqGOlGtftJCQaH1uw8OcnRnwyoKhukpEiVAkUqIgzGVjWLiJD114tbs/ZWAsZcShw5neSLQwxMtOXUBw1m10TG70iz6Ca0sNEG1DGWfyOQ/ynczIJ+iVAFM8aYn2P5Lz2P/9IBkrm2cDm+/6wXQq1U8k3uTl4UGoS9qA4wSLdrrQn6xRGxx0G/F5WqSrgm2j0mcN7HS31VLkn+dVrgq26ezEdqBe64HAbxYXST6teCF4vcuMU3F9slzqB1ParD0wiKrzbzmkoET432spJAS/toqoKxG6+ExlzABI5RJ1aX5beIGkF0g7zicneDcIVCsc6PcQXYNruYMOnoJivda6JPJOuPprC6TTYdRFfp4+OBkWA58ks6uqIFaunMiDFIuyskJ1AlUb0Fj0b2qqHtPZagT0IKTvdp/Hn8dNEuhdn4ggf936niSHfREPNHzP7sU8AsG6s5+2PqpdN96IP6LUNvCq8mlZ63lOgwM+uPThM+sIhD447hQQcY+vBDM0yym8MS29o/Ry1TmaIAyAFB7QS4m5SoBs5HYuhEXgVuHMywdmLT4/1uhBgGoun/fHjK1SL6f2hlU52wnixZFtR+CP0HHgmtII0An6pGy4Xr4qBZqju7IAjGJIfQKZU0YB34KdnzmYfQMVfguReTQjxnV16fcgwWJYEj/hJMOkBjAucOdWcH0+fvUO+JhJWT8JTtUexceWRNvgP6cpExsakmi0xQa/o7OEbuVpWA26yfCDYG4D+yhrj/Uic2LbcZ0dyW8MVqFzH2KV45bn1gbdO/c5WxXk9KiyIjrJfW4E+BtKTGu4Gai4dWIqZ1Px/Ia9uQxeC0N0OeAOW6icxR+UclQNr5gNfGE1Ij0hlhgI01CMxvtFaB+VcFu1c3ffVWYA+QHKzhc1vmX90IiM1tObPC1inmCJbHhRXYuYatKBpcxUg9t0E7twGKXowdbK9qaJT53yNfp7DXsD3+V8hZveUrpDBLqlYmXmX907v8nthtYkNmoF2oPYF0ZSbF5KCfiepa3S7yFio+loJjKrN7jBb7XLKHifImecGQuJg14zSSjH3NJD7xur16FYBJHTeTQwMx6EbBpykb8p8f02pOilbGug0SFtVdRYPlvOzzpQPGde+ZSp12mQ+2vsjtERQCXD9HxgOwOS9+YN4wBXJIk5mWYo+Uv8SjplUnvdz22SfTLYFD2DZAvMrbXYv/ioJiJREE25xov1g/NT7sqD4laIayMmHC/lyf3bR4U+PvjkaSbfBITZ88UAsDynkTndPydeIf/UkRUNNYg3vHLdA86b3ZmRSE9fWNYB5wJ0HZUp+pWWmX+Y8vo3Hg9gHwz9iW6mLF7UvmsINUIrwVLh6/uqdrzI18BuZmlSr6WglX6oj3jizWIpChN0EgJqJEcaL6eSt3LCehYk+wq6w0IljJK78o+hi4HvFr5KI4UjuUQqaz7qdBVWE6AfuXPaD8o6PL9Cm5MDUhL2v4wPcBJJ6osilbfNpmzbqk77g0Nk8hfiyHY3WHcEB7umh7xki3wkVy2NiBxw7gsU+H4wAo5mFBoEafBFw5J7ztyfAvIRmLolIidxSgrjo7cpSXjATvCUsZPXGXiTsG5sjUIeXNsbRGBi5DIsZ8kn90LrR7uhCfKa0dcFO3p2cieuF2n0OEl8cnc3UDW07KWDLd0S4bsc0OPhdcDN68SA7d58edYtNeHYnkd158+cGe6+Izhx9qhDRoA0Stg5g/H2F7p3QMBlPRbjNNKKrhEOFnnv1PimMW/n/92u7D4VBtJ28ZSrxtM2343L+ad61BKetwSLQzUNz3HycdF5/EXIu3jAVeB/X3b4qGWGgBYWk0foZK8bMTcLZGgnekKwPr4I/1E3tj1bHDn8Ir8jah5IIHly2v9mQTIZ2rINY/vuqoMP8SD/3eet4UyAPOiTY6YAiucfm0Sa0mk5l+LXEUSKrje+v5RUnfBA3Z89HvYcFTyXHqIMsTmNbqQKVg4NazU5Tr6jLEVB+88s1ie8KY1Tt06y0cI7WX5o1hGh6orVrlQpA2uvjOliv9u1ONDbqS5X9fOv0TFxNDa5n6+a6C9min0sIPe81XmzaHSl8Onv0LmEJLkuva/qONOSJ5uTR0Pm3o/6dsmgnT9oa8wLBmRlMEN9hYbdWdO2VspSFfLlpoP0lfWpCuJYByR5OyYvMClZu63Gwy7PnCsPj9WuvAtZT6SAeadinF8qfGk3gQ5tdOvsOkgdQhydqvG8ML41m/cwJ35L7WTiWssXyVNj+RDjKvMes9SULj15Ym58GBrTyJPlix7Dlb7AJ8wJP/dWcm8jOBdUp/CPrSjTdtwaIxR2IW0bxoGRLWPQQaKPOrJhqlphOkcwnKGDGzXBlyFiPZP1wSEDSrp/ZKImtS6uYs/nUw/D1umn+KfMe4qvHvSjzil/Kf87aWBlnL+HUm0dmY+du24HbXlNnwLKqnDnqwN+uUoOBqI9aEPsVQdrfufZDIUY4RJ+ETpsu13Px/uxiGUbWQ81W6/hCKCYMw/uMxSn3IucibkH2lKx/3JolmK8gyu9FqRq7oWyflb9IzQbz6Xag3hhgqmAGwmf47nXj0LyEa8o6FhJXq8k2H/6+Lk7tt/yx0PeUQXA+5BIxWiWGyojvAmrTlAUzsJuyKyCkJD2AMgUr0aSA3EYUioRI7iWRC79/MMz/kfQhckAmGoIQ/iz/lxDH+GgdXxvWX8CUPEBkko7OVWVw8ytkUTgXhZSzzwuqjXijjdHzY7TbpELoTzSfROednNdBIDud3AvJT6URTUbRgmx4GDqPZR8X+9ZZ5NZDf8clerj03auvmOkPfYbrOjyByQkDkFHpFrsE47hHsxsqPGChTnWVQdrc8+u2UFTtVCTnBslzdUV6nLf5LDwO2RwXhWojYLPfuPP3CY9zg7PAXB8HgPXzFQq2oXeiOd8jLGLx5Ej8efCW+djBs7BMhBF8aayFF2eLxDMy8g8KAfnx0+1KMNvNXub+ybWwbO+3AO1BktIThRXcj4ppfVm/EPZZoEu+2sA6KqPx0AD0kANAolXBUIcbJB5w0NY0g2BshixU7E5v1NJshsZ6pysLd0c8rkh2NCjk8g87QCZMa9x7Z8+Q+c0EHhl4lAOAb1j2IkXkWMNm7MG2e5vlj/6o8Hfj8+L2o6j6KHQYIqq2C95TfYnWIFKjpquE95wdcsMoQI0NWhpLI31aUk5gcGdXWGet6KZ5pIabvj51T0PgY0M0Ym/IGrJ1Y9HOqHg2CeG6T9i0rYgo0BHVbDdBe3p6bTCRemGVMQPy9akxvBefKmdvQ3gRm347oG76s2EWAcqUol8ojHKN7gW+kQnPgzhj+q/09xVwEePJa8GUEqFUcfVbO2rWVq+pbM4TAcnQOOenuRBLp39diFcQp6rEXn7lwZqciYLdnopms14h8v7MF8/odnW3x217DEgXG72/tN4P/tEuQje/pDqO34d6iWq7rDr1Mw7SGDxuFfbA4EavasmJVVhaGMAzM7F+lFoqA/4clOIcv1gx/Jbew9/hiMinfvubQguOlx5qRoZw1CpOjgCegN9yUaFLKbcC7kvMhbNlbB7nMFFi8RFE7bBfXIh/p5aFzNiJNi8UJrTpa5o8UePtYCdr4khVYToUXyyapd+Wf8YWczxivk7T5++HyvCx69XgbgqgnOqWp/PocXY+JjqnPyYJjFAxf4TFfOS5rWtTMLZFUb0+TV56U7+V6wMv1mO2UHcoTVwAT8YlfD1pYvr4Lzhk1192MMa3/wcYgNS0ZYkAqcKl49zwPulV2/sEtukSdmPq4ztLsQBQg4mtOP4rweNpYvY+dA2Gb/bdVPFeYsoOQCJ75lKfae12/s8eHbJUMRdgehdo2B1ggB5NoJlZ9nWq0m77yb9qVnqM+GNa/hsMg9Q4Vuw0jv12JbQnAe0POKzxBQ7dH9juYjAPN9FwDQXAVrgZpRiUEz/AegUT6GFkmAbghEXgniJdese/0D/ajY9XuuzL8nlew63+zGstHYOnwyfm7gIVBqu7dqHGc/6/V2kYP2aPbkdBbmV5HK3KRqyRK39zfbGgfXkTptYGkEW8l4bOXZqbxajlYVkzojc8lPskxzGcfS1YUU0drDnGepnD2j0eyEXrl3sNl53R6qMUYCAvbB0MBXzfyMr0wUWHXzRcolJnUP5FSi6D7kZhoUOD0l9wlvtUil8TGFHM00JbsziwIbTnulE+G2I+pz/kukcl0eN7imrowaMehWrCe0LeMKh4xepLcOCeGvgWb2f03amVPpFRzvzDNJXWDJ41HmCRA0fkJWuEMriBKb/Hy47Yq1qAgbcngsjRv5r6C7ElqQJHzgpCqtd2TWUaM1aqI0CyHhEutjSRaAYv3a1Xozu4NrAnoVg9ti79dCR00/OE61yVO9/+TI8V2GBpJpaTR+1Lu2wux69ABqu7u5374pX2aHEA66QIQpgtVEYQ9Yhma/oc3sQv0M+tCfVCb7xDTCj/XiM+/KTZ/YFkaNLGZyfl3pH4g2cOv31teOO5hBljPceAXpj6j6G7PTgM/a/4uVvJ/IXWSXWsr/B7zKNwg1QdD9D4PsepxO85YtwJfxcBtayo2oqdCfsjeIOyksmxMm3hEY5SIfym5BAUxsofgvcECjlrXhmnCxLdcSv+U57nvn0z7eZO3DbK2sc3soSCJ0nV9GWRZOrF28B2zzuK7hZ3Ec52OIGUw5qNalZezn7aBiOwf7aia0xO6rp/jLoqVGzCs5mFhKirrSHkTKZBcDyh4xeRWNlmaj7vRrDPy5swr8ksvc7zLryzawiS6ZxPREnU8Fd/EY3NrnECOUR1tlpcPGngI1LeVPOX7nBCP1NvHDAVxlcIyxoMjO1NiKHiyLAjYNH/KymCwU5D9UMtXua0rJukoaiSaz0rbQxhUIjHGBAS3cb9xQQ/qaBswtEbGb4jg9fiIZ3kRdvK2YdAeMig1tg0+sormoULrFABg8Ev1FWBjq1z1MZYdrx5gBfv03tiGH/Cv5NBQImg/tsIRo5swR6sJuuXMiH/sBBTumZw7OCGTJl5Tl/WdwgEQyS+ngnZMsFLBZUcEllhMRdxAcxuLpqU33KKJGKkXGOyGy9o2al3z/mhbifxZh2gDdY0ps7F68kPIdW6JRDsxxkwv+NSHq0A9KV8IHTqe7BDFBsJsTtIwNpwKfc2h/r+I48Wt6VmMxPE0I0UddHnanFY1wLaKpova+zF4O0Q+Qppi8rA3OwRYCqIcDYfK4RMnwk3cE+gPRa8HuOtj976Kb60WEjQoLU2kmTm9PwYkdHtRjXhzMc4xlm/fAZzbNw8fVlhf9bL7ekECRP4sbKES2FYerv97/c87op7qMjcMtmswvhfaKhdeuBg/ShFD6y2Sd2WYHwkIze9jKIwKlhqqGPE3/e/0xqATsMvWVNFyBQU3Ioa+qdKbKJ4CgGD9XLPaJFxQcRD/IQLbA+UUfpz3zl1+vO0VV33hUAuCZXz2Z8dAoqFDHQkT6ZHryN0+hi2IVi/IlXzrnLtxc5En5kLY5bBYsceDcXThUr+NcRJ3CkcoFJpAVMXzdrulcwxhVxLCrmG1YsI3W9RVgacRUri5vTbSVPk//7SteBYXzz/ur8wzO5Nmuk0GOMUb7byNRSdqd9uV73VUln8B+A6a1ZE/HQdrI2lN+uwc2v6h6/ZTZtyMX+HasngQfDMXQLBQFOf3GyXmGWNr0oXNHyTotNQs+sb6nzmdAk+TtJbBqeEyoyfGPA4TLf5KDMficw46nni4EO0qoWu3jr2lZV684EqkDgNaW5AIsWsFUdsvTkeElzAEk0XVueLok0GHFa9G+vIWHqlBLI5QPwgjT6lHG4cpjzlzz3pRICHng7nZoggZUL1rtBReRslkVTb6wY+xRfdI9lmg/K1jvkC8FfbTO83OCVcfVuFlhkrVc6M8Y/AKJFmB0aFYJReOPU2Af7ZLKvoNzWm7mnAQZdKxz4CctKRd013XiS8DiCxTgOkF5balDRG+e4bvTPAGf46Rc6jZoHz16Wsn8ungwkEqdpwxHbct6sJDlAoVxOcZp1sGZsZ79SD4wqZbU6ABphPoP++KWzpbczUjKpOPTwVsA7CM9yIdRvqokaegdxID64IbmNd0ZyagGNJ9mLJT4QrPce1Wsp5ZYJsbuGNArxFK3JH7io0Ld3y/IHghgq+hDRSjRzLTTArCdb1cReorMx6N+HZbaeNX01+YfjvU4IV5VZ+tv2m6+9K1DlWvEncGyrCdsosooYHPO+G15SXOhPBXwjWkNaFEvLC7R5KK3lvifne1M54/r54hBksDyQxeEuaOHRKGGt+BLjXxj1E6fuKU8cr6a/9yGAKIgogbJhcKmu/b6tj8ZEDSbegrYgR9uwqGnCM5ckgQwJDEdOIXqpJi2sRqvkEstgietTotkkWASerd4MoWeLz19AzqOwaWDvQVd4+iGIlIzM7SZRxjoBToy5gQPctUQvyHiIqPW/bI+V5NBbrwRLwxs4UGNiv7DYFRb39DBnMzF0BZWxEMIGvwfuBNO7LeNnQMFvb89zg/vHxz4zPF6/BL4GZu5RZWjBrtIziQl9s+RqS6lIEUu1YDc7XbAiPL7JI0XBwbrAbxTVKjbuBXnjxp++MAnzuVmsOFluGKVpU5NiQAK2pGu78mdjWWA5Gmrn1G3PGg//B6j8Na4O8FYMiXmcFESjkz3qmAAdfhFcGwlKNEOiyr/2gjgc427AVsCjdzkyd8SwQubEMcfIGzw3eh2zzNGUL9O6adXE2zobrdXAitEgUtelBraFmHMfzwROKfjO09UcTplRX9d3hEVr3RFSI+MXf8DL5DzVQTfB3mXjESil9l4eCa1UGALiE+NoNoVIeMJCBGrfBn/M+CalUQMzr/EbdafC+tEl3eTF8qWxlug1UaoSzvgx59JcTQdGJHzdtyN25SS9k/gRuQJANE5eCS0vCL1L5f+SaN1g1b5upYwE+Gn5epwuoFESKDelgg/4++6jgO5pmjdyBLN6OD7UyrCpU4ERlh285Biqrt/DWRVHt4/00A7bUxeHUtLfOgkKZ5QpeNnmVxeZGqQchu/S5ZXls2U6R9zg4rgDvDHz9rcS670+xAy5ILuzBeqxUhi/F0+17gUEEGDijUM6LfUJkNpEnoIbSUI45GuKnTvB0/WrJYSs2j1U1+ySKvLYt+VzOBEMqnJJmqAVuMwPVkY/+nxJMTdZ/Spf/3UlD8x3pZVBwF/h5Ho+V98l5CY5cJJeWF8YD4bMQW1pEJjrIejef80Z7U0tPwhZlUBjxdnQ1Y8WSh0ADbqp+ZdgHM03djjnSd2tluK2cRTFN5eHfaOyHZN2WvF/A47MbbhCLz27GaUWR5X3UQYdFz/EJup3PwzyUqGyHnWy3mf+Ijo6Y5mRYswdoyHZbsZzJ1MkwV3AG19beMU5MVJDtKex1SaWms4TEjCUqDvT4vVGaWReqP3pt8C2vinWxyN8mlhkEUeuY7A7NED8zoGud5xlS1lywGu5gq1F97voUWIBhAvbQcMNIvdxbBlo7WoOjDF/vCZ5WdL6gefMU1lzjnxbo66EXAJKLU+tfu+NBvsFualMiygaauURazsPLfl8K7vxOirocUGUBqyzHeRg5H4k9rKcYpq4eKTxpEkgPZEjF3aB2+rcr1VkTImMSPgnExSaqmxRgBjk+0oQ20RiFXIPPKsX30ZaYpm6fQ2qdMZEIsWtlPx+DUR0+E42SrGCupIG2n8E7A/3ElFmc5YgUX8nTF0hASbRvXBYQp+f5ul5PmKpUtOTySbvBU1edK293LJS0CC1rBE/RFnJ2WqSIq4uNIyySqxOVX7HWLmz88L+LDYmqoRdz6IXNYH7putPN1R7VOUVij1kujwlCZ7aHhSbe0OgU2RvODjqwyEWG6La6f/4uDI3BPoZrHTd4g6JAayADYUg6G07wFcw2Q6ftmo85PIx6sguXd5JPb4PuSK0WX2T6GyP5B2DiHRG9nK6bkuGJE5O284uT90RvubzW8BuVqUmfOTCI9ty3ZA79+Iowa7vmJH9NFFhG8kDp1xjGdhXZN8JI8EahCWjDYRxpvjnkLD8OCvpR5pwBBYFjbwQHSAMd56BZcSi1um2lUjjoON6e62F54p+/9vfUTvzTCB6inHb4p0BBiYTHqxiJH4XI5Lz9liJJI6/TBRV6fmztlXAkIdNcyMO0TjREiLUdAGgzmKPtxASfvwonS6wscgM6hdMfDhVMhPopF2R4tbQQg11pOUaKKtSXqXUCYZj/b1HL83uzkTea80HATQEg9T8HDiLgPcj8N9lOHthterqQi70C9ErTZiixznMELfZbLqOehb8Z6WCeIUSMLovY0xtX7RqaMnX35Wop6kAwMpldMqQBK3R0IS1Xn/XX2FhyPCq4yvtAdgyC+YveVXFHT9SmWVLBYCscJQDRTjovWW+up2XvlkmgHTXp1lyX6pZI9zQ/POdB9hgFvOrStSRMiDcciQ+aNkU6SERJQcGB2PiY/4uXJLAsCsK+Fz+oOUyoJv21n3mW83at2Bbiwpv7m0/4zsdlgiF5V8zU47CHQkqiqbKSQqtRCjUjkIZJnnSdtFKoD8y2V0d0VXiDkqVy8mYpJwSsaj4KZ+4ivrRuCZWdenX7bNJJkoK9aop9Qh9oMFNS5dJbOSBgiZZ5IiRC77bJY2dUTdzB7Nhg4sraft4rfeFvA2KX8CNSdll/+3EhguY0CuhSZ/95PaOkcmhHiGfvp2w1ku/Qxc+mu9dXq5RoYIvUNoSugV/ib2v7TNKlgRow16Uyg8qF7QKIEBhjtwa9paSSOg+5ZpFqbari/DFYaFHPDKwcSkmqjTDXMYpzLWNSzT361BjhP/592NOu13OCtLHozb7ojwH2aSmTFdTw/CzjWVUsffHyog2lSdgw9zszhc1jM/pURzRuzW9QSw7lzfccKkxpHI0oE20yEIJLGgtZ5LAe/dduRX6jFjG3l9/MqR91cVPhD4mmy/RZBSJRojwWkso5zrolRab3Zh8Nr+9+j8wYFOl9ouHuLxMZi5S1VHyXBZPiFqDuqO0c6d2Zp4miP43q9/Px1FSJtBQl91ly3VxCYa4d6Kxta9IATY/sTyrGTqusIwynemx3HiRIsFQHG1JsxpDGex1RAB/81fb3BVe2VBA1J0ezdoA7ljhHJO43X8YU0M9hT5ofh5BpdUjIrVvLupIJEOvGSaSajavsKqqaKtlPjzkBAGcPlQp0EDGv8NPvvNgnKZ2y9lr7xDUI6xN2NBEE2j1mPDMF6OIcjKWbkomb2nZWmmAVvqrRdPn3lzQze/wjUPPALDof/N1+uHtWdmtQ7eM1hng7uyhH7wv5iWZ4BjNBJVY21FaCQ3bZbGSch6KHi/KepT9sWftlg0HsrRZqViULdx0gPTgumgIDyN6rQ2jw4ZZrC2jeacyUsNWDRsD97td1qI4RDKB3urIARcpAzOzs1T94nohVS8bFaq/IY1GjqVRZB56JWzC9W8dnladMWqIz1xU+bk6beQL+y3E9ySINI0xhDvI+BTfdKGWNwF/EWG4+EqF/aTM2EXUMQjIGjpOplC0O9o0K05LLGqxHGZdDJJIX8xO6X3cHe1lJ9CgpUKPHr2diZ6Up343fubJPFVszGjyMQFN2AxQR0MilWbwAGm5726hPaDGdiQ4cNtG2YKXBkOVYHZGYzlkjh0jrGDumAAmzbTVxiC1KvL7dn4Rmcs2ci2zu89ZNeYRGIReQQW6rpPCa1HkD+uzaYs0QzISg4aDsaqKnW7bEj4UyraWkJpkN4UlByrJD/W1ketpvfhodwEvCE5Z99FGvgsqU0BuShIOW1NIxbvKC4I6+Pp4dhITz+3ZPoYRoRryNR0Lou4guyXjm2+JxVOu9vwm1ZLMzD5QnPhpkY+BquPiRYbnac/t9LpmXbArcYgGKao+jvd/Zsp/L3ww6B+P0GCzJzOAaQT7WQq3Nlr+knKcpSMB12x0+7pjMGuciV/mSwaHxX8wC5rO+GI9gZCoIXBjtFp9J9nBodbCct/sct/68P7yg6kB//h3+b6YFt6/r4h/MwD68zDkX64jp25w/dSBRwOY0oZtlxqDMPNTJr7BrZ03tG09fgbgAbfsvgVF3Jbpt1Ueznwd9tRnVVDWAX7zrT+OQnbPDyqtOfepBec5iP7g16WTn91hswLferxPHzIOzptnDBJmnZkK6ToFy/3dwf3ATkfcoqT0gXhZ2lEk3cqyVKNlQ7cKrEOpHofbt0PBecEH1EFfFu19lbPlwTyjyt0Lj/WuB8+8uB2xB2tEOBt0bEzFbHxUGTP/xB77JjXvb5MpR3GbQP91AnOH7eGldvgdcmTV1XWlEcSQiOcbfNKPsuA4uN6H3VfxvIEU67kTvFmigk1b/HV4zBZPP9xYm/YwMDxmwEtVvP0UwofY7ggtfA8hfimEmGjrqp+xUBpC7CGSS0hbiSyi8wpyqQ2Fnr8Px+jIo8Z/u2B0jWjQHNB2jtdNFH1S+cYIkaAI/Q4fK9PkZdn683k1S6WggYiaJ3579y5+z5lXlVL45In8+svMw0MjX4mIZrqltfRMRvZRDX8LBwD8/FQt/1bHXnRP3EgbhF5T1D3ViHLOfmrA3+NzyeZoTBn4yO0fZ2UJGtxntcoaSNJOya2s62oqeLjtU3REXYe3Ko3lBrKNLcb9yTcGtNtaNAy0v7cmdL5xc/a6r+Ej+J2rC6HHHMXe8Lr9uwmrpJVgCOhdeTe9+FZ1Ofh2SDEQK249nsL0gaMtdDVhXx+RMDPnDTIVnlMoBfx+Rpa+9YntS+rzrtVsHH7/ovQGFgS6mBwLfDaihJJglTnYuJl9GfAXSLf4P2Fd920g+Uutd/siupVxol0ocPUyta2EVHuK0hxKfZ63iAl3qPxbe9I0K0HIPC65PzkrY5Zqre3pmeTQoqIHrDb1BP4iQtuDoXPdlm5Ty58+SXB7lB21Qw9UBI8UEWkk4KCaKSt3xlp6k5SoNvMu6hM3W63IuBlgNr0zPTMywVfzKFm+EGKiCW4J6T6mVla1uM6fWzZQv14Xary5plCg6WSOJ/JkT5seAJGWBQN6NpmnuTO5UhpSoXxsGuXUo3ykkreGC7Cn0+bsxWaxlMqFw4ateOTUXRnbN4S1aMoaLWp+C/oadFJZVRVRKBU9imzBlNRwqrr1NFzGpSbIrk55sZN37nUX0syR/A29t0UifG9tMdm4UsYusdPMuH3Rdh04yfglDLMSCyIhxJcu/d2DfNm3JohE2YANZPSKyqAeugcA9POWiImvBJI+R/p7Pmz6Frdaymm441h3yBIpR/G4f8OtqCr+7I0DkHmRe3uuYs17ZWgytK6lC3IzQqvfy6/TKztiU5+RGA6tHp5oHsv2a3GE+bV1gFBKA8um2TXaJXlu7JxO6mqZZ57KzS1MvNhHQuGiYf/JN0nF/TgKgCAKU45E5QPdpotnmf1K5RIkx0AhG0AThG50m3kYb1hDvLvY3PyLhw6awUuRpn6OBSNX5PDLJ2zD8b2Twm1r938RTYgm81DzBfBI0semAf117l5KA1n8ipMDcaGNwmMR64NWwgPy2VOcAS7yiSoOjAmCEsJdlcVQvKYLPv6Z5ygXMADEEIh9MhYZz+0tsIgZaH+LjSsOa/QKwXdqHoav/BjDvlZ+BZO5F6HwMZbpl9dj1Gnat1AXLw8EY+yEzPe3GY5cypbYo8ZL8nx8K5olzgaJ5mVIONElwHKFmgJQC4DsmLScSrHyL31B6ixprETHMLfjZd4314Hd45LnlZRPWx48s8UZZWwbNVk2tF5H5M63bm16crDRyJUyIwqa2VPS4PIostSg8uyTm2thiVidfsMRWNJHhsvSc+ebPRRZEVk3S7dmu7V3oi6d7yB2nivzjSit3vjHVLkFm8ZZude73cygO3uFC0226gcjPwxME6kznl/FPbF/Zk0ybipNzCJMN3JGwZhcsp0cxe1ZnDZKzZJ2gtxs7FzKv7NWXLzuOkk4YxCQMJenEoGMV1itrPLKbEOQbXo+VefhnIymXi0jMcDrrvrkHdEKWsG8D32SM0eWR5tvJsuZt7DQpWq2Jotj0DPWIV3dx4sk8eK6FWJsq5dmkWbHolhI6iVJR237d6EYDBxPINMB1DhNe8AeBkqaZGpmup6zYdwnCmJGHFj/NEz3wtd4q8mwUQgYhyuCxjZDoUdkIxalKRY0aW0YGJ+kLfBh2qTMxFtG83ivm41A3ktabMyZuihWaozRBs7ggT/iImqa9kbbyNI2lb73WBnmU+A9m5sQP4vnAwF8j7Do+A3lgTFlBeThxxdb7+bjEMiHvUhsWEdW9CA3/aVx2sjPo9GXE3VONskk9EyWO3yZdoS5AtG8P3y0b9iWreAdWUh1t/Cb8iZ19BB5D56ZLAugTz5mJACvqb6P6EhhamcDtPKOuDi/OMlZM8OpoiT0P5c6p0gSUQcdLTTX4p5WqURwwzyfqLUzW9snOn9/29Us9KQhQCWiB1wE1yn/FXPNuiMeWdx5bbsNZDkj1X15o9WCpJr5jp+m4qKD9vW86PbZc8M2cFsVhQhol59sGyVEVd2yEJCfIZ48/kqwr7x38YkQyQ9x8qUL5LhWlZTNrsA8BrpSgVMe0sHz/h7jPp6jIzWpJfvELmQSpb4strM2136+A1Iy+37fPO4dzEJCeD1rolSQds+XoobldLJEOvffijW777FNqeaEtlRnzmr5Q2n0Br84pJ8zfSFDzGKkH/oyxEnqIacs8WAcK8aR3s9bx9y/11wdL/mFvvMZRdaiNBfqtmavsNFr+eZUDjyc3WFlrfVBLpN1xKfcIktHuyddhqGwMKxGhzhnNL5VDJso2EWuEvV4cuqZ7wVd86qdfqrcIK0TTMNtmSOYLP8x4VR/BpPvDRREccLLfiIp0DQ5FjakMBwobmR7V3lsIViXQKKNR8VmSTffyYdujQxD1tSf9G/UgL5AcjKefYVq7/4m/DOU2EF6xPsvY/gTbT59XV1tcVurAnL5h2lvAt0F1MIiph4NAC9attrURwY5W7JeliXj1K6shBV59t4aW8kKcRemOTg68mlBRWey7J/Px1iry60lUIDYWkrosjRLuxjLqArw6z2Fds//5tiVGs+dZVuIyr2lfhMXPlPip4BmdIcVSm7nq4UCYEopeCOgVUOX1dpxB8w+XfGAH5k6dbX8tMmF7EWX4uKosSLEnlOrlKplEQmxGKSexs8KzpnNQZyFzNIsOEBSPJa6cdgCyIMc+puNpuuVocMxka0r+voEQkUvPKoEni/fO/ppfgUQsU3tMLc5tCj7gTndhEwjrFtyHBynK8fJ+VWeDUJ21zBLWeRLC8TGy4xd6ffcoLi9MFtSTqJAp2BJwVpdVJ0PfMWjHizRqgScsyQ2/lA2SV4Bf/mXAOZ14nM+VecSAZ98LJah8JFfI0+m0Np7gY/t8JQPIaTQX8yaU1r4Fq+NcHctncOJn6PlKGX6Jf/AeRVW2ZqmYnXltk9ABicdMJ0jvUU5890ULFZq3PW6RyPjINMb1eVsW15FOGAorL3WrQkITywuCri7HHh5l6QsY66afRnFr+6vY5Nhf8ccs6rm/53wSvzulAL+Yz7gc2BQWnp4K9T05xW2ZMClFSt6mqeRwOSMnPvRUFeNegkUzD7NjN1jHeu6XlR6zreDLxtTe4QkbZFgP4Wr40uhhh7oNGu5I8ODa2z9YJf3nZgwL+GnYUMAPIYc7FjvATEfTM+VT1aXqE8I8AI0VNFngyAgCTsmZP2B9sX3lkcKDcwPPh+WZ9zYXz3fLxfrDr7Tm2E6jYzbaViR8qxanwBxS0icY4ipfXJCqLtdjKKvyIKHeXySI8GYwJjp1VVjBwSvRM6dFDHLmrV0wYmV9loLDVFR6NFKiQJVhX4uQ8HUHKiLqEFHAnG/BKp4xM99gg/vRHhIWPA8U8S7IGSi4vSlD4LnMOaznxW7+8A6bb9UF8juoCZjdFkoZjGts2dFZezX/CPB8hOmMdWMQhN4KjUHQrDHiOVTT4NIVwIW1ZCng3ExNMhIThudLS1KVGko/TBrlgjX26eRnRRf2uA8zBkodHtE7YruSTusuw6V6WHULvfea7fTRmyLmWb6NhkuwZnr8/KAxl4ICbfyCqOZvCgj4xcfrq2GqZ2u9JqM+6KMrVkKox3i92X3XNyKcDVZQ1Aux5jxUPu6IiahzJ8pP/ij3p9wZsngcCSfuWey1sruQ6MFYmM5tTjpJ24Bredahlz98jZ2c6dhvfjU4ubaP7wDk4jTHAsq6lGF174Tvt2P+phd/h2NO/bQedGhbzZICVZ1HH63x08NpFyUm6q+D8fM+YijVSMtWIxRa+IQsRUw6IAIGTAN8OOFTQzYGmBkOfPA4rUatfOTpri6obX35lt/UTjNbSqpept/7Jf03+earmxq+kZSQI7vg7M4f4WWjjQQLxCdzaw2Ug15aS1zQz9dabak1ZrPCxt7w5w+3rAIM4DnpS29WuEh/eetvorHoZqMHAGSI9L+6skwIb3xaYdxx23qXW8dW43CP61VRoL0M0wnycwkyAjwZ0bdnO9QxDlNRYLbnfmn9ojHuHLRPE6UncMiV7z0lMPyvZdRQKiDfvzzEiV5i3MhnVPHXTWop0w3LYSRoRJhCKacZ9+AZTD09X3FjPIeSPWRWc5LLbJ5P4fpf/fI29AsoktnIIvBGxXOlnW+Om9RULeAE8dH2lrkCkVQNYsqOyDdS06W3/VwPCW3Tnb7l3zEPJ0UZVCQqpPPlr6EfGXRA5fuNTj5QhKP0Yt+RjeMOiVWX/Hr9ssTutfun8TRa79qW/ose16laT/EhSSe73kAahbIZeqwFfdOSyd4kdewn1gOAW/loC73lq0BRHpG2Ui0TgWbhP43zc4Vjv1sjaIpYBFxx/OF4GxZXnTcFf+uEO/ybxkhIApjAvIt2+sV2e+hSG9mE08rk7oOt1DRBpaJn1yokOURwdY5e9ziIBkICn/a3HB9/++epuKNQLQx9+P7gWO+EDJcAppns2Xdxgcb+Rcc2dcPMZkbP/4zw3H9aroAq8eqfSPlTtVnHqN7Khywd6RYqIdSM3zs2MUyo1/N8K0ipzbMSuO8a0knDWGoKVMjM8wAJQ2Ns+fJLyH4NM+sc76/LZeKBEwCCPIiUVE5vx5bLciysNEBauwhlHot+mXWYU2eXVKiZcILPd3TEaZhUYO9ioFfm76/NLSf5DTeouWC/zTYzuZz6DhsDlgRk673Lptyrvc1fI+J1D4hzKjm51lGeBjxThWq+ltCZrvDKcE7VMOWPlDsj5dMOWNFCjzZpNkRypcPNM1WLMQ+cxvlRF2G2V8nmrbDtAtORKIl74woKNcpvxqlENx+VQIFFIMd8d8S/4uhWjLAC/QAvrWe250or/S2QDsvSxdi5JJ5BG7/M0V6P1swE/Dm6XLLm+92R2ZvhvExqEV0dDnrTd1ROkZoQM4OldJdTQuPYyFC+p3us2pd4mS6bi89Ms+FpQAfnonY8W+oX81RsVUTtOkDr6TK1lIf2lAWQ5rKI3wAODxtrnrvBZwaH24q2i+2WdZyR928nBtf2GwSHKZZAVCqsb79azWWtS/J6ODYWb6dBA2SHri+fBadgIgM44O0Q1UzH7knzRHigrzSlbEcw5l+FMcS9nPiBNgqZBNPOESCE6/eBKZcYPjwkjnO70OmEjwVzQJYFPUrUh3xmPWwRvHg3rQNojvDV2psi5GAk13OPHroSxJ66OBuS5pub/YnYkCU2S/fkeLK6f7yCLJNSWVR0Sg1P2JASCr/Uonc8LlyW9bNLd47RdC9ttUxtY82Sv5hL2bSf2RiYIqKMxjEskPN5VssoL99sZRffTi6LAwvCFzYkP6Lxw9guGBmMP8rtpY0XeebKyU79D+elQ2QSBNciAdHRdbtXFq5ixRacNG6os/DNF0w9oomh4Sg1pdpvdO+MnxFq3yUfPLpghkAPqHMJwll5SfES5sma5UqHoZWcctEWVsDr322JLgEOTPyJeDZQNcjB2kbOoLvFG2X83+/ubTU/UsRSoMw0j+imXKrI2T6YoGo2gM4KsI3YFCEmVYTJ5Ol7ABVIcHf5sjad7t8SukiNp80NOYALcuM8Tu6khDezZH6iALza/246xAIhxtw93KDQ5xaIJgymcxRFUavMjqOgBV1/Nex/LKvLznAZRkFEv/fZHutl90Jirmi4ytfgJ/oA+P0Wmb5D7ZQ+jaOkV/BXlGGb/t2lj+w63KrKxLGQ5WKigRmNqBQuW0wcwzyXlWAbQkEsX/OUc9EjrvW2HMztnkszk4h6wtgoB1SEZTBkFgUwwrAfS95rbq++uVoU8C/kEh8Wi8uM06JA0BtThlufRhb1Gt1xyYVJH9nyfmQLMm2o024DCwd0dYKvBX6P4InocBVcub0Wk5dXt/MoXVha+EOnpRrWRDT6x9p9ld8vFM63GwrDrGAjvYlmIhnjriAMslXWAizCuKHYSe7dYIzka4SYlwCy6LAWMtSL3ZoO68XdEpK1eMRrp/E7cmUxgG/I5qLb68lyRd19ymVYce2SEtAnz539Bf1Dco7z7B6IZehPA08zYnjiSuEDViQ8Sus8ftesxCXDulvneDuDLnpQglTDAFINWts8xZyDeXg6WWA+L5nvx4Hl+c0QKFJjBkInOChwFvDPhbzymhn88ZGKT6or4SZKF8Q6wa6REntjrHPwAj7VqiA94V9G8OY+gyR3YfDKLlEmVjKY2BMjLB1E2Bu/WO/GOxEMQwDk4kgk2buusHWjRO2WAqJI6gxPtUzGlAQr++hO8RRZZwQ+Njhbz5/Wc4kyaD34urrwslwmj7dTNP5a1yLYDdkHmzJQ4Somocz0WVPgJeDvmetPl8DldscJgSbmh7suaPzze3b5ETuqdPCZvJqz37k27MVwTqD4m8IgWRkJ7dL/n9CoV8qbOl7a0GrhkZfF7xT8ySoUc2emP75xUQo1f3Rgizo5JhuSlzrXMDokzyIG4jlvKrNbH0L75IWRQAhfo2AZiVbw+hWa/MzqJWsABmASd3hpEP3jSbuCwUzVh/CMEqfvHYK055gyqDOiEGz4rqvQoM2jx3FBoK8YyzfK2yKWktbfTi52VFPS/ITyGqhzhE67lwQTWXn6tdgP0rhg92PNyWyHytLITzvvh4rb95LEcX64OS3//AfII7hAVlfgq70PNNnzPs72g6XHB9n8lrGwlW3E0GfO5X+iBfWa0Zh0/KUDM8Cq9wKyG0m/URPw62JTkJOKkWKAoll9CZGwihRhxDjJVV6DbtyhK/QG+rUu/envb5THzn/w1IhOmsCLpsFioKm5cNBSzROGmRk9WXtJpDlDjLIyq1FhqqOocSbeQLMJYioOsOXThNX20wuKk3QBsd72qJFO1ZA7SJhbjA2h5uwsExmru4Jul1HZWTSJFAKFrwfGYnqG5s7RXITEl+xGPH7icJcf44h+T5/Rl0g/ahTTkbQwAu1NI9f+qQftSZQpK9+nSWiLYXisFWQ9SewivVS1CvsrWInwAeP8kbF4aNFsRL7vGD3bF1JY8YOIpG2c174grpVZ5JVCfKwABPGPuqS9/Q7J4DSlr/2s6YqFMfJoXfAGDaOAU4ixui7dXCO2URuBbuaXfQY6e0rE67UeKNz/xKicca74TS1Bn3nrHBj1DpYEaSZW5LDxc3mzc4jeH8IE6kQ/C9ZyLtcO+ou9RpvDWkrFCpeQN4Dnkp1mgxSNlS/0TPWo2xKMekf6/YbCMEuUjNPxB0VoxXrQ8nGUGzhBx2DuLHGLSGCOHR8QPXkdR1UEuR49/Mzp3/Ha8yId/sg2YpT0PXBYu3YhY0LsaQT/AGpqvlyLkloSfZITJ2xkIvlhiyewqBIrUXyPD3UND2LoQyskKQUs5PKzumozZKDeAtASBu5RslWaDglNOoxZflUTFuiSDr1L8jD7OboJhgMpQ65wbek8zMMK0bMNG2zzm9lERd+ACn80bWd/WJ/YxHA/ApiUJznJvBgUwYzBCSdoRt5eHojpHIeSbeQBoWtrSxCyYJZRnIQ3Owd+40PQmZTOlBPiote0SnIOQjyJuxTUcUhNFRHNs3NBgGHrt1U8WjLedmdRo9EzVBYaCuCqLnIuwIr059TrWVGXJyPkviZa3VvKvA7s77bkBZwPcw+9hI6nUs8mO5M9JQQGh1B5mGXf9vxgq62tSis1g5R2KNB+Xk1+f3GjOTUbh2JeovLoWvOvmQhyb0L9fWkdNYP/LnpZ2x5pHpItUO+K31pZlMIOAmyOX6L0bYQEmqSUZhxWTiGn67ZglLdTeSunP2bCuXhiqp7NvP5hVNlrNMD+uPAzRZuDSO5wQ6GcGpuz/7wGMyecYvt7bEkWOnW9osQI7UYLdszAqhIj7WgvwdceVHaQtObWq7wij0iNGgAPzLuUMG8K29nxN8Xja0ydJ9n+5sqwea97EVpDt9uLS/nRdAjVeiFn/aQcMtA4kKzSQdAWf6kksYE03JOIj83LZaRg9vJsL/5t7PpoZWyEGySvQ5rte8B4ycoTP1MY7Pv7/ZZQrafBNwk4P8bxy33Aby1pjjDtzE6bVpFq558SFKD4UieALmEcjZCpXyCCKB/rbBUfZLT4P+U9b22fKexBCe61pV9bneAGUn/tL0AKyaIFlSv5nxmIEj0Fvg9dEmxBmLuxJ4=">
            <a:extLst>
              <a:ext uri="{FF2B5EF4-FFF2-40B4-BE49-F238E27FC236}">
                <a16:creationId xmlns:a16="http://schemas.microsoft.com/office/drawing/2014/main" id="{1C61AC81-A12F-45FE-A198-47D4F2F9A6A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8382210" y="2381310"/>
            <a:ext cx="3476712" cy="400060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btfpMGChart7342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2AW8GRXwbxMd/6jGPZCFbtCCgQQDnABnwjZ8MINsDqcKX76v57j1hdNaNqOHtmtT9aR9IbmLPdDFNzPiWoaPQRLVbefdFMqjhoGK+HR71s/aFAhqKpZhGHpVkO9u6a3hOrHG7rS0PzJyoX4WTtUvr3zjzefXZTG9Y0Nvx0BqLlDeve4XMHS4TN1sM5d9y5ttfv2wTYnD/RkYqnGyMgMsBFGbGmGKhJsE2UYQmRWU0DnKmWK8iNa92hApz7xVe2BBOndEa0eV61l3q6dMsr5JP3ugCF6RKWpnuS4hftXGq1rf8MuPNrf+eVJbDrc+oJpRWpr6lEk071y1vu3az1fI7qyILPRG1Q7pDkTYl+K2fZqlaXzcuMb3ufseDxUzyCLhbFpc0rhRYdWF2lqWSwqaGjgpRLAOOJT0Xa8QfCEteKgxfWaak6US4Mu/jKN0Q60am472BEzJxG+f0rsGUo8oBe2VEsqajsJ+0LwDZ8SkxVezS6y5Ta3XbGNrvC9ZvKAksRZMMOd/uQLS7jCqpQS04uSBd4FQZSxrMUZ1UCcdYtecMkW9fSlkkCxbm2Yu8IaoFhMpJrcdk/1YXFhmaiN7CSTuPVuP02Xuauh74JdeBCSvOq1OTDkYDYtQQ0XLfI2h9EQfW3GUuuJCqtrf/8zSVp3Kw2lseftRsc7pvb0yePtYX4Hg/hq19Er1LrnzeBrSZskIoaLodiVAumRDhTXgzW8XJD84u0TxefsebIjd64bvAXnaga3QISF8bxadcEcLbVqQYI/WLcaWDczV4C5b3m5/jzhRnUF8Xg2L0m5DjRJJTsoHwELB41y6/kv6NV1vlW7kGebvQwyVrroQVVq7I16oIyZWHHwvRwXEuOj/6xrX/ozRqP7yhSFawE7uTuVqJGV2CSR7lU9EDn/yca3cbo1S/s5XzzpjT6DI2mhmL92hO8ieF+U5nA80ek1mYssTEq0papobvZWyz7urP2fnqhpHSGs7iHauBViqKLEL/8j+gvOAH9RqBzZcDiyfZ4m79Ja7UeR18QuXL10j4dsvLNP0nq5tY2JzwZh/wy0ZMxLtIb74R1NzskGUnDGvgXK1tu2pdBE1fsk/KTE6yJoiyBFKTQC1qVW9hpuAk5eeGx8z961R20LygMGca661m+AxiUxvooUmpeFDU8Mt/TBZWuCf7K2zDFJVG3CZay+83IJly9MYyi2TTOPmCYLuaf7lNzaU929Bad9keDWfNSk+AOEHtZJ6hBACeLH/4Ufalf77toW7Z39IjZJLsctdRk9prnEmd5zIoyzhJRC70TVUMKgstVQYxqANqIZIswrRA6zoISY7foh5TvjrWBjtaPEhhAmR+I7e7k1ZpeUJXV8QMpdjuJEncZQ7ECqYeAqsKX5XeI5t+2uAaFhZPqo5jGVojLVoPR1jLuHjDzJAR+nBHQ6oeQpuMYsd+Jtlr2I3z9PPDOrrzSoaQG583+q+tSuTDK3kxL1kOSECL0E/HBmy20xBxlg5sPSeEyi+j5F1nnitbu59gh1PqO5HJPps5Vdy25eGQ1hfnvvup379l2MYY9Rq/0+qWEcOJim7c5A/S5d+1HUtp0kAWvq3RLL8ZKMJejh8nQE87yleBP/6xiyk/Vsw3swCwPptv/a8q0P1JfHw4sGNrLNoGMjZxwwUgNbuEMUTx3UUrBwWqBVQ9B67/0+IWKSIqHQF3IFaSGjmbKllnO2dZ9wr0sgBKtH8FdpmnE+htbPFXa9AEo5ExcrFiHIHPBl1qjeWNJdFyHSrov1YnyHiAwCLwd1KsGcgZRuE8TNirw4o7UU1mgmyEoflIMI8YCiGgRg3jS6mxEal28GBFyVzueCRRKEKR19CUxxtXirzECPrCcVGvN+BbredboJE7otsXxx/7i6fI3/5XdJO5YixxXS9sOdlfahU5LaYuJ1CKDkD4VDflyg64xGyMWtwenis7Cs0v5doO2GbzmeC4cFr/JqdUzBeSYVCjh8/J/4RKR7yCkczLfEN8os7nxAhOGN9ArAGvABa0IydyX0wewWHMs+Z1kEBP2idvZrkArB6Ni1fYqwpj1YP13SFMV/waG9c+hPxU/d5CshJBdoJ/v1Iwq5QSmrdP7QK8LXM3hqHtXd14Tv0T0e1jWQrUTcXkynRSnFiFbqD5jZjln/fSdwHfMjOrTMPRwoRQ5pPDuqQYJyJx3mcZbxOyAvKLOkVyeS7LXwJjqRVfeqdVYb6tklK/P1LB1ByOh/yKIbvPzwP10X5PmmAUpYJn5za7DD6bEBx9iD32BC8cA9T1hYwlJhk7ZGBTj8wlS3Q/QtEu4BZ8fgVlWBhesSzY3zYKYwXCwDaYgwHHVqK2qASvFo21sClc9eDcUMlXWpLAykG9U6xrKf8czQle0o3egQZkbjHkffzpOoNuyi+e9a8s51Z5q/NpJnATbPlAaZGOZAE76WtU3PY+k/4Ozbfk8bnYqI3XSYSb6pfNhZIHZcbCePE+7nP4UKy66aZU82xBmpD1YPxGjlWOgVEG7SfUZCS1zo6l79X0TDoRx/l1QxqGLkb/YV9d5eBxJjpm3bjxPA1mKM6NJ3EHlVAGAKynnb2QyKKA4h/U7tXze1baucTVK15sSQA01z4Qjv06FndKwtcDPs/gFIhXSsKFxRQmvpTyIIHcBn+qKpPUjMt3s5sn+X8LiGe0c43vc8qxDYrGJj9F9jfJf0gPz+BOSkYte8HQWSlB5kmSwMbgFaGxbT8hD7QjROmgl1ji38UmqRYlGtp8JtgIgxMTrf5RlHZY2NVcXggEZuAkGlvnlIsdmjpiL6ixF+spJjq7Ra2bAN5eocFYxDUuvPcDl/SBMIXk25CF8YIY+a23OWAlHv3CgnDtn1Esf4TwvrQDHxyrKDNiiLSHQhBAZLpJuO95Vtx2OkcaYS6EjMb/saPF5E3x2z4w0R5QH0jrJ3LHq3XdVrKeRaP23nYO9UzmRjOrPubD0UkkJJ48FbKPE84C4SZ90sjPCZ+wX/2VeZGkF00SB0LmmSztx6JFd98JsI1Nynk+BM2vzsjAssoV7C/zM23YPyanPGwIWd945XcLTtiynAhjq5Mg0gdRRurZG6e8HcnS0WGGneMeBMAjjxZ99IXDwC6URteawJJ8/m9QlKblfiW0IYZhNWKHYGbPGqV5TO9ZhiwLwRSqyvP/hMna8nNPQVD8MrZhypycLEzbX80en4e2OuLLUPqEuQz08zkFreRuqOXElgPyUfr8C8Enn+9Pb4lWGWMr1ElrYWwWwawKd/Hnn/CzBt64VtxL5ycH9QczZHCUHtgRmrNv0Hn0k4JdltgGod+Ow5aqjj8+BCUY8UdIH1JyhRNMczyNGMcnsUlXz8GiRhGeun560vZF36vJ5Au1jpmYpgozj49ozvOFKeyFzwCaT87+dB7sGD3AJj868LhlRk3WPYuyGdkuUX2AmjCjgHhRRIOZBSeFVg4V7GUu6Bzi43biknHkdIAnr5k25SU4TwbJJWF4eQ8CgIGIrhly1HoQPaS0TjIHGQ8ge5ONjqiQC5xs/ueesjW6bB8ZN9XI+kf6nVjY8CH2lCGtIsPRjN9WJNPPqWuQEZuhrhEk39lxtCvr6qY+7R56c1Af7jM1R71jr11K0HhjaenuxK+MEmbZ9ZZfnL8iMvTSUsqplnQSJ/mydbOZre/8o3tFsRdBMjcuQiEHcsIi7eU6uo48tvJw/sZyytlAYxkieLAePk/6zGK40MyB73jCvtyFgd6rpcMDxieuweWuKEyhd1NHN69S2Xt1vtuHvqaqcU1Nf6q6bd02QJMzJlO4P3ICcsNTwPDJfB66Dz2Ra3yYwmTKfZsUU5kajbQM4Ckd5hVCtYCpzDtpTQ+ZkXwey1/ZcCwyXFhMZvHlQaBXoid8rLHLBy03RswGEpBq+aWM7LW3wTowH6iI3E+R6Dx4hT3mo6HKlou25sorVasGiJunIjBYbFroBnak1E1sfAXmpBLdW98F2chbsh+9GLVL0YurEJWC/YyWWYYUOWAs2Fsf5Guks2J2yB6HORuYPYiTAMo7gVkAxuHEUjznycH6pIEq8yrlyAAZKPHGIoKLdNvVWcH9eLCygXcsl7uXIKnNaP7YhulSEkW0VsMm2vhe1bx4Gg1j8SWh7LVKeoSXXWkM+kMd94Fz420lZrfpUq7PiqwRKgmAH6cKnhe5bD6tmZTY/18G/3qr/DKBSVR/zUmE+6ZWaL0Emr6LgTSkKeL7GO0g3Or5wvW+UOJ5ZW+nHCO4E8/q0jXwRkaJdeE07O2Uq7XqFzegMd13nlOMOePnmB5Rox0P2zdYeKmoe9cAlljak382FC8QYTs46wFij4fHb6tnDijzieKxLu/Jp797KJQNp0HD4i81ECyC/eI2L5hiWZjMCda/qAGZO8rQR2MYOg303quS+LAQH0a1IXXGper6nX0tTAtJNAbpp8u12Hyxl5bflk0e/ozUKd4+dOr7IWiWq+b72NLGvzLU63m9fqqTZMV5/eYy44HjoFzqw09e+il61PP5z4KwW2R5tcT2GgdA/8UH+S6vXE96b2OabF8nCfIfWhmsYpfv/5ysZ2hGanwmMyA96IK006OmaeaLrQ8xoM4VjVSk22c83lQKSZECIHIwcXCCQbRGW4y/m28QWsf4z3fBf5ujcpgUEO3szVWTTIbi9Wr6yvRaOYH9V08qGAX0iyWVUO0kl7BclDqU2Sr4SpKv7YWEHFBH71mC1ojOszk8VcAMN3HAdlDQ07L+DNWA8pgIRnieaQdgXInZyOHSK23XC8OQBE0ykZizTzFoaj+oeWvryZ7H3fPDLRDQppMX2jfxYeM+KyWpPzHyZ2x2XcbbBOSc8KAEuB2T6hDbWgeGtplMcX5Zy9SPz4RYjtSGBGfZaDRDzg+5kSwNOGkdnlJxlQArQnQ4H9NHZpUD/mR1PVuR9K2ExiIeq7Kep0YFaK5qpYeSdrHh1Mh2ge1UyDhwu/oQm1KH5bGNUzrJkiFUFo5qGc9Bk/C5642S+3wPCS85GqEBnjfJy+NL7ofnXIqK2AqcRFeZRLhdQWecNOSCN402FEm2IwVDGnJW4MU5zOIvitBYnAHT/Nq+gTVyowarSztqQCXtxTz9gUTZfORkZgM/Wdam8lnE4rXTpuu8XbPREqwdTA3xOR1zpCvASF/eA7ppzFGRY1qB5g2yzZMrlXcjrh2LNkzUMGbl55+UiRcCjWIyFlNYAdwWF3P11cj5cocNv2STvbkQv93M9S1rnWJpSiZC/94hXL53HBBJKw+FHekz3+EYXZJawXsCR8kiIANpnAjxGrCUmxsoNh7TSr60Bo3uTkD4zokzyTb1wlG3WYGzSGQmw3eRp7gt4rwsZjp2nYdkESpg657Hp3FJKf9hWXlkfKrzpN417POXRB3AdxcwLBVcczNZuBGWUT7QiEjClgUTaPpvyRvImg4al9C2MWj+SdFKtqGDOD6ZQWrkMkDcE5+3a6EgvpvqMso+IuLbCL0Mw7ALo0n8tdvZr+IrTnHkYLfpeN6a0v3ZRBVf6Km3cA6T1ynphkf+XSbdFWnqKauLBwxaQ9jiOxQu0wHvTkQyDZR+Tml2Iz2NEei5Cu6lzoohTCJ6HdFYCa5KY9rnu0I0phsA30fzB/yU1hFr5ZJk9K1bADg5uZ1m3VXY5VMMDxKgrV3f7kOe2jlmfKUqHsfx88UB8aR+iKcwR1wfemvegADC9A1MmmrgSNi0DHOcPkalmMr4IsCXYe+hxabLP4Xh2m0IYekro5PQ8ljv5P9C9GQ3dAVkAWhu2ExpBAyBFOgvOdkFTnc0dV3dJ0xY12X2ra/zQ2NCmA5hcFhxjUavxtmTvJsN2EhW+PRbL3F16FytS2Ck0ZnWyT4tNKLjknm7J+Pm8jTen1iIqoKd01LwBxEvsATitVQc/6GUju4QJoOVKpNDZ+I+Z/EDj25M6AsbRDQLVzqFNptfmAzlf0SZBeNz3qxOFPlOkEt71td7H5Zew++nb1q6BXDLnPHpPS5BJaxgxMaGLk7pO/rOLvO6UcRU9u8+8dAx0CfaSHxihe1HuBBSTd77L2W9OedHwdvoac4RpVeiWFOwrXV86E+OVranlSXqKKbyNj7m/v+qUeSdYZp39lf6v0A5p9oOkR51KW8eHauOzimWw1+tTtTffpzX1Be1rrngIG2kCoq6AbeOCdmXdIqnhstofyGnUBc4zLHmt7j0vpegm+ojre4wPYimG4XD9W9cVZkAL89bIfPPDU/Bs7gtV8Kgh6FuGxqkNFctJCCInZ7M0ml6BsdtNhZ9dFbjab4WoVBRd+kvBCP+CHtvR06xeKoAPReIWB5z3889OzXOP5jNsqsIjYwqNfmtVMiLyQkP0O9Ne0qAs2nXjAWC5hQhoMUyixBF90FVw6SC5+rj9ggPyqav2rKh6aRD3CnE8antKySVC1z+Ag6lKdq3XRdq0ArAhdAIp1jMWttLPBMcfNp7WQEwRArUcMOxR/858iCCi18kO64jY0Nzkon59Gg2isJUSFDBFmItjhfLFxSSWlakbld8cIp7RMaZuAb9fCQAfCU//6gpWYb2XaCHEswoxwJgFfVfS69+oqiqmbClix/WHdcrFt2P32Ai+6skvNgO1x3u2IptaXaMfAoNg1Oz/3fsU664femuUBzEAp5eoAiSkJmUo7Dn54W8rfOwJHhCcujh5GEEEcaz8zlIUeLBxjTNmwPiw8bHhhM+4WR6NY0fWIxsLIZpmdCN1mCdHTdOnRhJ/GrabxnFxjSeR7iJEVUpnCeB0JqsjPPHIVW1ReyYkLtGcnAsgYAd653p0iLgJXGaNBaOgsnNpClsAFnmv1SgUARspSjlwTtB6zsm2+PpF6/InuLiK2yBJHqe0KmIzAE12w9nKrJLarJ9FAyo3JZ9MFTABauBeco89HiUwwsXrct48YzsU/q19k9D2oqiL1s38srNeZ4KVq/1Nhqq40NljK8lp6GRw9tQENBKp9SHd7B/YJWM6XAdddA1khCYDFPVQxKmyiAsocBoiQmqBUllHo0eFA/sIdlkGjU7wsV0D4kdQXbKQaJAJv2XQIyUzOsY7xJ7UKhwBFUwlMqZpF4bUo9XrWqezHXwiMdA9pUv6Q6u6H+siuTzImvp8eaGEaPwQo/iLCGH1pDUlmIjZOT8uQkxVaethNJ9y/shjcRpEkW5ndY3leED4PfCK8M2ofbNHdNTZVX8aQ02ptPgrqijIIXSGu27JTG/z+b2pH2SLkvlwrFePE1EDJrHPtYKjLpesyN04apV4FIuw8ZEy4E4Nd/FXp15ieDPpCiPWgz/+y4WS3XNYg6fUdB6UczX6GCzyjwYzaQSQlpE9L+WF8BELJ6vzI1vPUDxo0WoU0h6QPw8p1BDbuiWzs6dxM3QSMNjXlzksHf8I83w55TZJ5JJ0JlXGQCBFw/hpXePY8ZSPBPSAnZQdqef6UFWDEZjxqZRoftWNslXDGgC0VVMo6sp0PAZOxSMFuXow2gtuwr5vp4dS8LDofmJclb8QMZlGZ9k52ESyGgD1k8CxnbliXk+eUDVV48bcP3nEX99QaBbjcVfTvAirc0OchEF/m1AAqbGVKcQUohha+nRT3B8z1E07ORaaToTAR8JHnBDmunmd5FuMpS5CfazZ/21EpvSM8oXF8Y+UL9TRGgCuqCd/9OcIhZw7ZP25WniVTA5Z+ZP1aiWU9cXJt7XN53gh87Xq52VxSDTUdS9DS2XCNX7gb1WAfWI2VyUNnVJkp7oEzkFCA+ZEqy2DW4yZxnOC+IcOcsFpUrmGjY5GXoKy70pwJXmGvyQ0Q5yJkvyxnRmRe+srIHWfF9KAPF4WKv+2JaZA1sAQIl/PliGRu7f+VaMJ5vlXzgMl7q26os2EXka+MIDqv+2Q1DOt3uZ7LeIS46fT0vPyaFPzwVeIx0pX8agU/4rBQQWWdbXKdO8yEh+ExNt4gp7gdv/qv4jRNFamyLIfY/QDSmH5TjVsKA92og2eJBFQgyEQHP9+VEbcZLhAN5sgmZTseiZxsVWn6OolRHZ+RFR1KVBdcTh3vG9xBQYk9dtcl8WzrIViv2LcOFLRC7gsh/OQdJwQV2AghPbwnLnuSx2FVmRCxarb9mhGdvRu+ymBqELB+pdhXGr14SQVnwZag6e+B276uvYFmGkFH71YZQrtI+5cVBAuLO3XMxIN6A2SWD9KNa6BR7t+tkJHe0DtOnYyh6FrgKYymix/dA+GJ1JF1OqTKPbKzvfDBxrvtMzbIrFXu76ykClRoPZ8FxKG+iUhEyHnQ+b6iYtQLhZc5l3y4nE2AquPEbfW5MMkTHakUgkNPeB5hlKhsbH/YyDiofde436JnkuYNny8ivbPsvRQ4f+C7gmkxh069EdXBbNdwA+wWSVighvnqWtS++x8lTo4sEbLUOvs2c5NhhDBEeFk3fTyyht49j54uqYBTeJ5wJVQpS8Fi7q8FBJRdJKi5Y7aITEvVwm6K24KaniyD3Xch2sH/rhkNNh0sa2wnUC43DSDQIDC0PVg6u18QWzPzxWZrQK/fXXhQMPX0oZBN2VAKaWAIp6S4UUFokmvd0/ijaOe4V3x8SgbXrMk7KVubSARj6+6L9BfpXPXdMhftP4Js7aK+Ljtpbt4pBxkNK9TKjgcsWdWvui7KwKSEy5RikDywfOwqSWhHDihkQqSm09tm+B25Ln9BeZoofFOnPD9gd1bpCLKrRpUhjrk5wt8+HvjNMOlO6nk9N1lhM2/Ah2Y8+L0uWc41+kqygREGAC/BWYaKNV63eaJfl6IRp10RvpFb+xLUfUdBqyzAK48AsbZQEL8Pub8N2td9ZlwDuh+DRMlnyBYerx42uztb49nG7IYlreGV+vsZbO5ur85uPME180H3jk0AIvnOzKYrjrA4aVhmGC9sf8VpqraxE79wM59Jl9c3kUWk95NO3a7c7jj7G6fpHqY49VsLiiUUJMpR0Tz28BXKvsWgaHPGQAURj+dGT0N3IYya53k9NUfHAWJIRmWbTZMbRBbL2Z66PSD8XmmuFkGoX3k9ZBj+B9vkcJ0Q4xhmyEVxQE7IuCOSbRq0iCiOGhqMktFk7bP8wS8lVdAbF0cbdhZq5gzhlu5UixmFZsliFTLG4datf7XQOObmgLT0q07OEpvnDWDdQXhSg3nzRbI5QvpB59hpuA+uDhGOBclfftZFkIaf+XS/N69h+/qJ91c18LnN33hxMAFxT0yCPMHt5wthJgUzd8LNad8hkjTGzSg4uxdkFgReDg4AamZ3sU8sFug9IXwXkRuaB3n3h53AR2H+RdAx+1oYybB/25eZjScRItYEhvpsjb65Sp3vLviiSGTvHvI0w8Jv5jQgJVnOWYgwkuCbERcCVhO4Q/iN+XOSbuCRL/fv2iInCpTjitj2NtF2P774AlrPFNiWkY5Civ/EvYvGwe7cRsdgxr4Rfdd2+sDp4i9GQ0ObWox9cn9+/2hp3sZ9VHCKWMrim7SlNyD+xRQZIxxoWdrfflRv/XfH9X4b8PFsyGPYNjRUdnHrewUV7d4jomP1Qr9xArXXeMoMGzi+GComtfZlQeGdG3OITbS1E7YaK6C/JuvSACZNg9/iL9yXvoAcbRrsupjD9W50P6v8Ei/XBxwBLO8taeLSskJ6YiFSykA/S3+eiQwBGqFuA9IN16m85hQJ8t0dxxYJgf5dN9Kiudu+M7nEpJmWsv9746vDpsMPg0gf8DSgAjLrebEjL4oSy/IDM+dVdRsMmB725nrv1QXXBRN/q96uz+j2g9Rl2ZLehnWSX0bSQdZIECNWBYYoK0zGyHJZXQfgqeebXsFpji3UHq35Grean8xrEykZet+zOBHjSdfyb27Y4C25aYVcc9D67G+0LR4Z23wnV4Wg2UU/RtWGivKH+HBMtkhg2uJzY6IkKQ4zw4ejWAjP9aQvno67+ggeekUY8CGIpDixjOoROnOZhgLVpYzcfbuUEo08nHpQu/RzeQAY11Um+acDUssUl5mmau0Q5KxcsRbrhPeHd8Zi75U+GqpWZtVp1TWdA6J0H0eVtCYWxDjDZ3wrAwyCTgMx/jrf0grP3e0Ki10YSQcvfg/T5IJ+y0EfVkHZWddwcyoWNvbn618q/UYOtcnUAnNA32qQhcaL1Mp/Apojqn0JKFUbE2MIC6Vl/exO0yor9WsU4JAejMh6AOsrcAguZrGSetyar5Y7JgjC6Uo03D+gFHPbAL4ycBmq3wxLjiEvk2YK+HkEY+CMv6nqAJjMJ4xYoZS8azZqfJhk2KiMlamR35kBHKsMHDNq6zwW+xvQAQdeNp34MvlbnHcBnPO7mZlIZA3J2fAGVUQuhdgzYCTqAqDkxP197w41xlDgZlNsuGqXoKpWr4js+MZFUN8uOUaJN4nIUmr++WhYMNd7sk0PPSm+3ZDXMD2a90276PlaOWHuf0yW7/air4V40HHu/znSEKH/c1oP9vyvrtxV5ZzQ3XASV4oU+RIpNw2jiWa2ExetUq9jVCIQPmoYFl9FREysJ60XEA43zxLB6LYxxxRPJK5+7u1wjFHhM1rQQtZPzpGaoGOniBhGh+btm6+IMbZr9WJjGOy7t+UssvnOTpC6PpS5bHVlykqtl2sjLOaaMZnAQIVIa7D2jYGqJMNCAqv02/V/rjlzjD+re8j1zXCGTnb6M+GTOKUxvq698Z2hKsl8Z8fvdbgY7YqnM45RxxaJW1fiafm9wgZHMI6EbNCA1hSQMhE6oI/EzBVwOe6lFihDEVodt1b8/22tOkZejl35rSt0BDsekl1ooM9LfQCXQQNA/VadlIlA30gEevsdUclyx+VjAf6C/Y9IuWpGCSOJE3t4zLfblyrvk5H2c6834Cc0yHcM8cWAIZu/1v8n65N4Cz2Jr6FRNdSEVBhc5DUESNThaQ1Tl2iRS6Qjhs1PzxfBbl9YiMNawak+6FikUFjIEdb5G17aVDYCK4lxoWjjuLVDHLLFfdK+v7DqgBdSB46hZ+qrj9WeEf1Zmg4cvh+hPKgjOO0Zk/Mr89DD9mDIVGR106D+ac5+rJFohdX0HmmipnOxWCSA2iX8tbo3YBlTG/xK+U/YX+aIUmMXGFVBzw/0JF4ogqzj1VkvFpOYzsPt3GsL9dkVx1MId5S+t7s5h8WEdtYPdaqvJ5bjqz5zSr/I5r+A11p7aW66w4ln79F9f+mzcsThQ1OCIJBEvTfbitMAICp/+dR6XOX8h3zHhohIihLPkOb+yLDEpExHt9OxgAkc7M3l0x0LkrOJP9hE4hkQpju1uY2dWDDoXvmEtKGAtE8gKKjBg8ECQl5KI6g9AZp+qjiNlGH+8gHubwyj7RsJlkHp0AlTQN2oAs9gm3UOeNwpANfiTjF+bgMb1xQwxF+viGgdJVGAOfdlYxy3P3QmTrGyX5Bn+0nYp7vZqpzwzTja9SkS4qxz69lVid63whaDkQB+c4bVt9PPFfLx7qZbrbCqh7GvmpNB27bJu6j0L2ED5SNclQoulIYNJ7FIiWi7Tg+IhYorxnFgiUjnTC7M6N8KxqgteoCyxLF+c5Gy0QP8zVl6ySfBHrOy0xMj1qa02aA+9O6lVk0IULvnbdDYy8NLz4PQ+UPY9Ly860aMnLRMu6NZg4IBooBwTtmIMyDWI3Xht1WtTs48RsreEMrIkNvU/l77cLUahveH8HeCIIXhALxSOIZEnNH5wntgwFwg3SqG6S1TVzgnvk1RnD/0RNh5NiFdbHVJqNWUgmznidpjkxBb5qoKhWVkfGgOn4NiCRDACg0Kgse5ejF4iCMb4Fo2eQ/K1QNiwW4WT0SHcN999NuJBIlwakeivC6NJ0wCssAzSUsNz67Qd6e1B/qAxQwJaDvxuPAJIaXoHfTsQyPD1fkvH45pVuybdS7QWKfzOfqaJOoXEGISdU95ncVbqDha5FJWNOd0ghErsEiyBBXawUfxOwMKexlw1OTqVenqLUpedDJoXB2kMtvNbrrrSN1pEjtp3zI3pE1wIew90JcvYIxYpVdRWiTS59XArjferKPZi8Sy1BlkQDgHazEhV5M6Xl388BkxPgPdP1sEz1atKkoVgqTsD1TJG3ua/sSfb4tkrPLLIaOo8UA0h863eRSb7eM9jZNVI5Ggr/qZRrnmQNs5xQR/Jc710HhaaUyQ3rdMet5OOaxVmidG2jqZ7d3i4JEe4hPx3YNedt5UPeAUl00IH9P4Hu9K2Po+Z8dYwWXx9YK+6qhKnnhJXwjj3YCFmMMxW8hca71nOJ8GSoAjz+t/9kpMr7vMIIR1ZwQOM9EcXCkrCyM0mYHbhh9Gi97nzfrABNhVTREhKFrMv0CulNgV91LFL488iiwqaEbhwwFZmvxZ1Y6wCpe+j9CQo+znFit6NJB42rEzn0+ns0H3f3kYpX9E+Qef2cIUPRCu6MPRQf5SEzIzus+YLyw9das9N7csiSPkE9d9KsYTIAdU0Aa797S72odTJEELULQU6+6J3TnPjbSCdcKA+0v9CqYQMzVH53hr7S+ycwhS8/dPPBhUlL7FYFPMdtMkcQAdKdtJCBjLTBAsFlObzJO18EXsiSkRDhUEZzxA4R/onxFh0v0Ty+RibxCS7V5/PJtAJ/PmD6XauvCrGApQxJ6Zu+jYNh+4evyrEO1I5kK8NfA/CVAOJ1H9boPgqAyMkdBgDe89TvTQzpOIl/XJXEfCUX6Karmetx4SoXgLCRPGlgiCod+KgRNvlgT71sIejv3m7oi/l7aLxYeAYJRel6AIrWZWtd1LCMiZg1ihsFdMZK5BytXgEniwi3glAZBxQ/yLIxT+/d3D+oB3oqeGINTOJ4rI5VSeBgyducJrys0f1qRaHxK8XRgZ3Wj5l+p5WIPfxYIWME94DyEuu+O6vBZJjNsBh+6HWiJF3rPWa/yDDlcWhNeNzkGXvY/mV2bAqIZhUmC+bPF2wIJUh8waddIiAvEUnHnLujmm08aVK1+O9bZCU299YKivox9GlXKf4dB/fRyTwrmXlyb1H7VRWcegNkLoZrm6TQOWhQuiUSaGJnjPtJiWkWblo26gY3TRNwQdhmL0RgGWDQDgbkGtwGYR0N/Jop5aFR3MsRLoao2yHCaa9NSg/tzythmGt7IGGls15MzTfLoA3YMvK8Ojd9xSJaK3OQAAcF2qmtjE0zTDQPG8IwtNQo4BGOnzmaP8Mb3lLr2SaN2um3ERnVteSvZQvK94dCj1LSJ0Y5zTYnjW1LVtTHVZ388GaJ0w7a5Rx6NiLh/Mj1zDoWZPEK2HcmwRi0EO6OfFSo1ei2a/QDy9om8sh9O2CMNpXKbr7qJiyxYYNUxAk2b9V5yuVfaDGR5Jzj9lCx5pMhJguksNY2e/zCuU11X7EzWqMQ+B9hiQLwHOqa8Z1bW/IvzHiuAEbkg6fHi3NncZUgHb2OgTaAs4okvGDFPOszDw4QoRS5Ve70Do/gLJ8m/JzXK4S1bKphi8CvcIAtXD+2q8uAkRv5zxB8Bs1ygZug9igSeHsvRj4B6sz4/5d+UMp3XAPzOnkrmWkil2BnibASXPVw1QnV/3ntZ5pwGscg+GUnshVSgTrylf3HO0vMMVSBZv3qF0BnI5Tqlks+L+5T6tLI7/rmRZqqJk6Y5Efsbt2wcK+uuDog+OgCJY++CLsZxKb5JWfsSE0QGqu3hJv3992fyt0sCWTW2aplMOgPdEbtmU7wx644JbU8EmWauAikx4VtfuwY2K5/Wf88n8fVzS2czPAydiCrh7sJBX2IfKPOMXHDxU9IfWeorV7RezLYJFIhz+1HuOX7Szr8cyOS8NotYLUkjRy4xRjqCjYCsMkPDuieiadifyBbW5GyMc/A0sZovb8Uw4AfC9bHAZBRvm8TF29kFfecX1W6iSEWVcqaLYB7a1sVljaXgD8Z1vO4GTL63DDn3jS8E167HSvi7ILOlbcvTsR+07qhjT2JWrqFEgZeU76i6zMpCOXEUG3AKmQdD8LbRunbl06CkwTL8GcioH2cIifLhACYM3GH7V2nEdJgFCt5fOB10r1lQfHrw0i+jt/RrFzF7bodWqYiM1ETpsV3hSz+WwSNvhbporb4TJcd2ixbtNztQ/+42RM81SrOaa+FaR4AVLSMZxnSVHAq+m5g1VuuhkkaD11kh42UDyZ1OvUShQ6ewMXe4+0ot0MHWhJa5qb0OtaQgFukhR1KeraaCzDkBxLyHJ6uPsuvl6es7GcrSRgcb+7bIh8U44+yQ9vIgbW7+w8UBiKIQ1psgnbhxk3Onie3tx3/q9koEBZi9Q5WGXFpUJN8Xrx/rTmraVYsyxp7cwPaHJa+tJDgjBtJzH1M0BW5hFGRQUoXxpqtF4K33SHeaQqdzDYqRUqVXz9FK+OdfQKjaT9RZj+ZFY1//F/uHBgoiT1KV1hSVpbCK5Wa7RehZrG2vys+He6t6oNWJaKjcpjsm9bD6EuDhWHGW5d7RCg8HpVgn5oJfHMDAANR9bMGaAHOs+LZhd/LcHlhlkGHrhKkjYuyqMSiQaONLB2NFBsJKZ+Pbx/BqmxAT5c0F+bsdZB4rPQRutE0ui1Sie0CzN9EfNdV7agSyRnC2bfps4yPCZveSi/25UerLPJUYDwMnNOTusErtzKi81Habkn1RlpI+WXbcAVJlUpuuwYAnysD7uq9evrKDUPMa+UdLlb8Yrp58dKKTPwOQ0lN9rcOjo90VCe9kwDsIdPj2EXPNapHOfHFrrh/8guYAXdXPeOBJWtnERXa+urcxkuiJShtuZYE7WahlkjvDoIPuHo4IbfnMqOoY6vBx+AgMOY0jFwk8eVMXHTMnD+RN8NTMTXqIAOQi73+DVPMQsPxCR+IOomvhb3ccff1s5bjpblHUVzvKxJlQlTiLxEGKDSd4mRnhl7HP6sStqfcTfBnBFtISRWhOJo8TlV++o+9iyq4oBObTtBX0rPKq+8/ahnXTEALzFa6QRQ9BHs9+/P4H2S8fEQXkdyX22No9FPDYVClr0mPOXTcnld/JZKgBWQQdmlcRAUH4c6dr8/102cPsn1zENjV6RdgEMBPGSwFOA/raFk6iDhmLIMPv4lBV/iKFQlMsJ2yAcY9Re3Z3+MfZ2PRKtAcbU49QsZw+Ofi55FHm0crC7bfx2Qm5OisALXSd8B4fak6RV4og6E9YkHxqaA6vKVloW6RameQAejLQDwcFvIqn9iEnCozGSwf4BxP4hQE5Boh/J2m8oVZGhrk6zzOxmOVCwCBRAhEFSezPeW5pGRW6kxhWmX6kyUKOoJY7UH8Y/QBOPNtg/X4J6z4o/btDdUmBP1gOW1UGXMjbcZfVcWdg3h3SKzIy23TWrXT76xrnbbFLNIxCRQi/JBhKikAA9BGZPGd4+jR7UhrA7vST+vDp8kENySO00NdwlJANCXvsh6TWGTHDTButa2fPOtpCDq53A24AfYhlLS8oV9iL5gDOeWKK8mfObWkDopYfTpiX0tPXa5hZrhbPZcXoFHFpAOWQ1dBZLUx8eiUhjTkzCTp0FExdrQVTMMp1EHi/6qqSRLOyDEmD7Ejb1rtE1m3uBqoKyR67W4cfmg9tPqMkl92j7yl89Faqe1UgddgwGVEhdOuAVMLLmmXb1L1lc2FNZY0ibN8UYnIZRJsBvL1P9hgG+icpB7m6SXaivMdmufct4d7OvPsuq4HIeEp81OsT6zObvVW8UogcHOsj0j200AJHj2JJuYdGI/BP5Ov/vBBvXvg4ZQOQlSPradVJfq2cnva5iTQpfupwBy/n4X8JKS7lAYkEhKy7OLJKECRm6tlp+/iuFaC1h93ASL9bbZyyo3rN3YdwBHKGY6XSjSh80yMldwf8tFtcg1pwW8d+zvFEmTwL8ldS62vbrqUkgzATVJwe+9xDPKlMWq9p6xV+m2IXzMrVHlWD7eG+HzUxYX2sM6Nbby69+3ROfvAm+X3dbvPRynI+m4CFqGpM5sS8cG4L+/KrsSZvp6Vcpz3Uf/JYmodsiEtDzfXgb4rQbUkHVwMCQwDrXbrXOraoLxus3Py8GCiNXM/xlyZgcYm7rC41HZjEBxvPnySKQM2SZTxfybmNPjMRarcvav1q2mG3GXrQJh6MgG5tJyXWWMbauQYuOJqruXdfkljV9eXh5zch+TFkfG0EFbbGENiEWh/CCQxiIvR7OX96IFW8CQziz6h+SPZD9bfBwJxd3VvkY6T7AIy9Y1gk47/Bt/27uMTvBQzdHQotKMOtwdJd/c6UYAHtzpIhJLTZUXyPFO1F08356gyTBMTXQrVmHnRH3AlbADjDCmNprvXuncqVCpJT1BtAAIqGHvNN4GlkzQ4pZXPTdI4vTCEAYspwsDIe25Zme2SnyVrckP4vIJnoFo057KK+GXW8mTbitewBjsVZjedOdgA+CFd5zwJ7FFPScwzH0vq+wq2WTSBNpWhaIMx1cYCn/4gvAP5c4kDK/Q5bEjVC0/c7LL2fW/8TzlIMviAc/yXDJUkYON+1rkUkyRedfdKafvu0ze0SPcdcm2mM0FXWVoiUmbffSBgyMVwyxCNRo+xhMG+7Y4tigXagbN6w0pM+kyH1EPX/cRQEwCC+TZQ5ee/sHmZSevRmpxMBGLwBWvq5j3pG26F1jpaf3pCttMMLx8nVdQBNbCG624SW8ORHZTscKgixSV1iT1ig2tsYrNz7E//6o4771dPsUetNMkVXYC/DwQW6R44tI5HEkvgrKUJOsbjehRrAOqUZv3+fcDN/LHcvtxNhSj3VGWC5D/PQ7nSd5rpznuC63N1bbn4gJ5KdyBN9JaYSPRLfqimmLeHHa6/t54LpqzECsm/g0/KMuu9mCA9wvpFIpQR/VTBeR/b4MD0RmgbHrzDXhdvSdevS7NZ6KcxTJX20tXfnH1vgoKcHF5YvYhbqxiPFzYnt6T/OIiFGeM3GFg5UG7J1bj1uQS6WDRo/9kucesGbPfUcREZoFoMN8iOAOlVZ8pByTdA6DvXZegYWTER5RQ+sjp4B5K5HyDehUZmai07zHrgktRw0m0I4AgQkNZ45sGbKx9NML9W9UxO4JA2Y8T6NOS/rPw6eYfUO1OE7KFmvkaSLvKq2e7S+ZvVSxNI4TZMzEZIJ0P7LiobUwuekG0vn9f+Ixhrpt2jdHBWDeq4+nq9SacCfCELfSKMTDJKM4apm8yxan87mHbpg5OrDUFkD6bbNDWp/VEpOMPy8PCLjrjrzjZ1V/KsriyXFRs+cZlPi/zKbWQFluXE9/0iFgVPuC9g2kAkr2FPdFn5idG8QPtsJs8DQi+erfJARtgiZnznHNVPDB/OfjJrk9hWF2f/JAoHG5Yq04PLx5qdX9sFmbr4LFE26nPe1quRJY0qzZaOuGkBX13phbrDpG+9butRiE61zPieHAsR26YYG+eFreaGQ2HB4ZwGl/A1v8wvB3zV2/QzuhntrZDayLGWxn5TcyAIkeFPd9ycDU3w30bX/aPkGM8e8zCIde9CTRIk8Xb6ePlqKSiDBNK0ZrM3QYXzYtE2pHhJZH1eHq8DUFZ+vTBkhTWOHZ9yzGqgpbu9ZzTHDPTahcfsZmeQLzcQexGxQ9t8yEHt69PZ4IOnxEHuK1sUcNNUPoqwfbpE/an+4Xq2FEFfD/xqdPkq+OIIbeaNhELx7zw3oCdd99G9H2Px/x+24WNGRA+WADtVk0wuabRmRX2rnv1tu3JqvzWXC5cMxUn/7tyIEQCK5hwtj1sS1Q5jEurUs8JBgYpoxVkZ5T1kT6zV7AcYx6FkIDrXSNmsOldqkGxK/eIhk+8b020VipitkTnHix+Myke0l67cmaT9rQPOJc5rr/4ig2w5J3+0gH4aELi7BHRZhYy3278bJKphyDIppAfKYP6HPYG/qY/BPjzWo2rq2XtBZZ//Y8vfbKifyhuhAURZrosnO0texXYNvrzY9l/SY+mWobYS3LLj/gjAaPLJeko9wxNkb/GYyU3VwFr8wkYnlE63WNw1Ij4noleT2IU1qQCtBXiZVnLHD97Y4H0U5OiOn4i3QvOde9U+2HGKW5y6olk6+JikxLu8wp524/7QKbUE4UJbBch11mDE07ke8lxFxW45tskAIkuYhKyOa5t75OIzlt87/q2wULJiAYSgswbssvqg6xNd322BIDUJz8JmnPLEwSwtviaHqTq8mmD4JaHoER1J8xyEHkOLnW0mvMnjpyOTe0iTNJSSHYXrCZ+ubFohGCEBOYLmue9T/aJkNXiopOkV0iLZxRomBhl8lwNGGP/cIXJAGMsoXG3c1U7hk3sMKlAYSybVU1Amr2uu6yi+cp0aom05zCXQi4sXOikfxpL7Ib/cF7CcL1IdfOb6wtIrkBwc9xmfcBfH4NqXk3p9OgdjW/PZNzsfuUo52JMk7kvyn5vNP5sR96x8Z6Tl/NWDJM0IQSfZna2/tz7cuHP8lQFJ+pOyjy43eLfpK0CBfLMG7RzgYocbA7IqoB/LYhN1hD33lCPIy+kOEqE+Xyj/maEQnp1jZyRB1QothldSa/F17PGNv0ybKIki9bOkcrBhKdGDOWTndX4Q371MQIx49Kt5UbPFFCZMYWTtk5cUNgcan1pzm4FxWA8Nk9SOFf5JnFq3WsIUOQfCJs2Y+y8m7ivDlEjQfvZaFpHjvzT0oxEFFRbEJOu4CPqwKG3/fNCSOmymx0Cm+v7/YhaiDeVU3VEb2MBoo2xG/rzC9NBor0Nf7za6y1ULJ9rmrgBBYrmJDryQsHjawfBpAXsKTDMuWo/40XvMXXEM8fbs3g4JtUtkq16XzVwo3FxuFZGZopxVTCrXzVF9iRnpA5wiVsB1u3sKnIHZBMELZBSbTXgDbQsA8yTurbg2pRJXEL+bD2dBqJeYW0QV/bCs1OoHBgQx9nOUP3Y7CKzCZNGfNs5sKcPrSJTSlMZhlmltiKYYHDhRX2lNyDHAequ9bL/Cp095QkawAOpJ09MqR2Q5O5oV/9t20m9p1Kfd9qp92CYB6oocDtWwpA12aJrVK9QyWqh2Rcj4h2reCHqzvLX1i9P8OohXKRd+Qw7bwD158rXhSyqCMTZXu5PFv0orPGVC4FheV9y/lN7MQ/9T5qFVL6fnHVddVOuhL3y63qMJrGEVUDlFZavEba8fB6z/TE+ZRUcWXacM83sdQy7K28lHf/ZkLkGbNaHpPuSww2B5Ysd6mSQJq8XSHkK1K4fOjJmZ1sElMyufGY4bmSj7b8WO5PNXLTfKd3lb2CxUtwSxggLtcw/tZQUxXj23+mJopDsJSQAwaU+QI0x6Ag8lq2Nc52kONLMZInpwOss1OjYoeotLTpwohrt1TvWTx2692vdpD34/oKtJxz3HLhU/X+CYBlqLtxHjYickwJitxS5NFmzCP1oCT/OqoLoszkO3ECF1UJHGp+Vt6HwOK4D9JPCx8+Xadp1DRO+4RbRxqlu6XSODfT7MG64amrPD+BkNFfDRurSpqEgsHMsedcKFiCBPUzzofXMAmAxO2xvuibzD1mIvL5f8E51rdplZQ+Xs+nZHOGCYK6Foslp6RRJu53k7rwNSki7tsYGdtMDisB3kNm66bgjEX5KNdx60iuihbn64IkGNatBuJuZAEpXiElEp4bg6M1efyULHpu8S0X87DaqKx7+zw5AXKfuj3WDOk/xqf132ysnvKlqIG+R48quQReuc6VT7Hd4ldpaHBPuL5eAAwH4Nex+WDexIOZwtvEL1K6X7BIdetA42R2AeEwap+AE+fOaXJJz+WnwJ+H6VN09ZEiw0Qo79Oos1ySRN2t+Abc/5KOMOIAPZYgcPDj+kXRtXdwjXvwvl9Z7mUC9VX+lPlp87S3LigoGdtr2511jPWbsq8g7Kth5K7AnsySHmXlWNC9aJRJMru+uafw0S1Ej29OIAa/e2zeiepONJSCONo7n0DyWOM/96wy8Q9mrrNMX/wV+ZKeCKTa9one2/FM2z2RpFFNahLrxuipV61OV3IofeVmhffM7Gh9/ez08BDHurTeh4Gqs9D4sm+MOREPLMrln+MQ7lniENuqS1Xic/T4PuXT20YIPjBPylMbBbtsjVwKDtAGyv4gXawI1dYrs+Yl6mw4x81s9fHdLN/pkODGo+0GT5bqajU6h/QTdSsYMYm7ZZZy6qX6wO/UAHqUSABSOQbk8gNV1jehdIvoC0NPhkvK8bayt6xB4mxlGtFP2jok3954hZCZ+aOkHcAp0/7gTmm7uj+4D5s70s8fqiNE1Yt6Fyy+L35jeF+OOTIWzRFjwiKjRh09J3sJv32ZWqsgJCS+ngXxWtEYwi1HmJhAfXC1NqNv45pPKF4T55EwKAQQumoFHah2YuHZlZ9CnCalZLNJeE4xLasgEcOWA6qHM1TA0BPLzQ5wUq5+asKCDcHJZnrEITPhy5KrUWWn3Bz08cnytdjXVtRIhQUqMha0ZM4gd3DOWsw+Aa1ZmioA8y9NUFi7UarA/WyxxQlse2bSMKtc4Z7h1blStuv8YSS90n40Xi0aH7sGI7WgkCBflDgvHlzkduEo6Wy2f5Z1/h9jbpWgZCpcmnu4Gej02ogWx2l0wEyPfEM/X/0AM6QyrDkodnMtszzkW9HbBIu2dQsZOAlXNw2iUPog+euUyrsXWsjT1eJgFNGiSu4b+3i4JTRKCEN/WrNFkIkl7T87PGQhVJydwWqCsfoiUOveWorKYP5Y2Obo43TlIXM0qJPVc+XUu0MD3lCx3NAsn6zw7zm9aR9iLtf0qo/AN5JZYiwRWaR63BEZ40QxVzIe5WA9nL+FItt9JKfVouBk0YTsZOIPA9s5FqvpTJipQTPH4C4jNi5fLuEjiJnfdBKak1rGw1ANQ6xKLlRUYnshglGe56xEgt5X7A8TURAi4jSUhR3NzQ4708KPQ1Cfb3pbbI6VqxBSFgx8FsXGvoXjdEIadBxDTV0nXQ9ixjEed7iQ4egyu1EPr4I2ctBSyfELWJyX2ALQxWUPEW/WdgiR9lrZ9vsCslP608jzklY3H41bpZLJ6IxJnvmoEQUrIuf6Wyhtq0ueDrv2tfbeK2b93v81VgsZVimXY0+NbkfkPV7ddpLZVZqmuHmreBFGaWV/f8UUA9AVa72mLlZvx8YTAMUA3xL9TM/Rr8757uRq+LOiRsRsmZ15UyO6SBdODEJSg/pgKogqsBewCL1V2LnyNytQ/yEjjUzfIJnr6r2Zrt6+mT0KWQcq058BeqRk2IISLTo8mtdO1LJ8QUGalOo0C6AjGbY7RXLywLBfmZ4h1GwsSiLc3vWTCrfDtrdcwz9OvSjE/lPSv+Ib5OIkNKKjWiTuvWonAI1Um8XvDJi+ueV2h705HT3CfHyLqLtAF6upIBn0iK/8L3tmHXnSwxhbC/pSotMLVhtLuBuzPysCt3CbyFetntjD/Cb7S3s2YQ2gryWLKDIlhzJ/07G6IrX1g2MuH2UfBkJR+R74oAbEWDBf5yAMnBklqF90UxKiBesjC7iwej0ASn5IHArYahaymSA40ohnuYXWEa848ptmcvQugk1VbgTiHblGd5s/s2/e26RI81QoG1ct+mcHJ81Blhv2pCrytglmulSpCGiGBHZOZRI1OnXkqxirgcEIi5l8pdrP+YLEU1zNDjdcmlLXkd2/0Sv77TtGWs6Dha1+eyrz+s/RRTsOpVFrA3+3gxVum+ulDF54o2RG2pIMbZilSMK/VaLe34Pc4KCsu+FhLgvB2gLnWaB/za3vtyRtFK/iWwRsYY+N3Y33QPhMPNsfxLFhYhat8KiCuNiqAGOtXredo9Be6XQgdicihHhyxOodbxfchQiv5dQqbXoLvf1XAm0Wyh6b5DbZgh8VACx3HkSYEoaibMhitcNlAwtoIir8thWkMwe7AdAkIL4f1JEyCV7e6eh03u6mGLBy2oUNtjwS+qD9Y1jghplPDDZPMCPQjkuW6uYGIx+x7HOJ2PrBkuPe6jrPGJu0U6BVFQNuUAFvPrH+V1PIE2YJ/6/FXpR+73WqC8AXLyLfJAAVhSsoWe7O3Qr4Vctt+97ee2bLItawt9zZa3ElhFnx3wWF5EdycH6RfPoEypmm0iPiRA1ksYK9vFVSbPMWfmrWxZqu3utb0e1R5EC/gQdzgd8YVaLzdZZa6ggxuLZvuPOj797ojrWsDcXVi1X+95KY8S5qULl+OboR61gmL8R94GIB8VlGHSaG6XY+dbZopTJnAPKzloNWH8q5JmuARi/B18JiX0p0H2/b0EnOqusuphDp/uHXDa5D/yoAnPKOXQQHzA/NUhy0Yec/duc7QPu3f6NbaTIvnH6mBGsLn7oOd5KjDU9SJD8K4eDrtHgv0kjPePP/f+Ao6CpfAmbgX2GiYctvy/+PlUK8ZXe4FiJuhCQ1U0dd710zxbK0noZxXG3svN5thy0dYAJFfk66Yr/0EYhGpzSsR/PYQDwIN1qpeU6q/WZ9mgsslnlx0wJl34q7uRd8SEb6dVhJ3sgBo7kmhBIxB+N10TH8BIXSiZRh7r7ziINAR2K+EGyJc4pC7zPU5Kk6bs5MevPgeM0zpBVgiApn3p6bjVaI6XJlpJDPf6NHJzWMT0mEzGxVW57pqQIeXcnUVxta4WhR3gtNokFIsU4jArQScoPUjyWOhTFmx1E8QLe3zVkFHvlLXs6Qz8oj74VnkXuPBclshkZGh7oLvmCI/R+iw6hCnGKLP2N92cYfnQVVfC3t/GKffcA6deJijJMsWFkGIjQnHSqE8QhbbRRp9p92raMOZxfKvJFoXgFhtsJL01d7XrH2mqZzeW4BQGwWOzP+uBtH6pg0cK8A9DDTW6vHFSql3D3WbK8aK9rsgRKU077j0HB7ag72hDR+EjeiUGIavU5IfOCNTjkM6VYbQ+9WYYm9E8WEvpcwZsaYtSAs/9rH3ZbveAr/91vWNGcmtXsYTA1fRCA15CSmL+vy5fSHIHUDhLeN3VugtXCCAdIAFKgTJ4YQyIA+W5MmiaSIDhZDfjd5Bj+jhoaersnKqrbAJei+/TPMtdJ7AAKTbr//oaj41pGbUILAlUEf8qbP+uGKVgdlKfgwWYZfS3O+tZs7KNdTYXy0mb0JqwAX0jmToFAgt1p3078gya7k8lWdIlUfQHY0NKk67ab2PiRtFByWsYYvweTVEXCgrhEVYL+o0YWGS8JADUhqk45tX7h/FasPcfxXg4K0YGyKRf/QSZ8AB/h/BQ4+w4Csa7Dh9VLhbfG2tpuCnjegnoMm6Ufvl5+twsrS4T4NHqxatO1zI8V6Z2TywP+lCOS/82Or+2rjZYrF7EDMg0L6kqUOiJkbb98iyO1138Lvxf27Do3HdngW+SpYNMse6GjvSBwkam6wMVbbSnv/CnQS7bLiVZ33XwEFEwsojlv+WQPMYTcHkBXmiSGGmwV9swAafGqQ+MeFZtCCefSWTNOf5RChtyODGgntqvH+J+Pjqq1C5+JHcIIxxZwiCfNCTmdhHtoif9PNGXHeb7shTMzU5l6MbmM/e303QOKObM+deb49R/uIy+DMbpPg0GlawB6+nWoVChknGFdFBASMx3Jyj+PgkL1ZHdp/MHnyrl70no8MIi05mQIt6Q5KGCHiavBVqVAksh+j6D8REszjPb5jw3DzXFf4vkHtHVAnEfftSGyVrJB3626+Gv3mPvS2lfLEmVJSIVucqDBrVPMoEXIF7u4yI6eAEc7IetwRB02Pk1p4A5rqQxrWazEvmNkbvG5DXMMlWpcxF74alpJhPTbiDugR517QFJs4WGK01d5+FQDNfsgM6UayGcuhIo7DiDkl/t4WHeWrFIQa5NYtXpw3HVXL0pDDh4u0ztvfVLNjfK8PL9KkMbv1hpC1uFVpTgPZUJ+DiROPX8EPqhH23bgQDcokBkfU0WPzmbyfZMpjb/q+vBAgTRLmEcerAJOPLT9Pzxd8jvv1eMKiDXy82RSE0Tsn9zIZqPOoPtdX4n+NXyTGjIEZI/6naxF6cmBEbcy2VVTayCyhNPkhbd8njnHFBAYSAhI1egcmzJIwNX89Mpdip1EYLxQYmG3TPDlcKhO7O4Mn8x6VmgVgncXM4fmfFkqAGyDbqvgNLMtZ4ICH/hkXOBQcK2TAP+0Xoje/s5+mmsq7iF7FvColTu2tGnreFWaroVGFXs1H1VRJMYvzFtQZUe0hC9Xbt0HV2Vc52ayu1i93zShUDcjYxIrCK903ovbF6njODdnpLMfa4o9LKniUSOI9W7csZ1nnfb0av+318N1le7vxvuWUp9voa59hJj+C7pUPVvaLS2/vbn+uBrxpUoIVuJDEdsXx7FOwdZWPLR7H+RmOQevs1iY4TEi4ugCGdSdo5CTu/tfkR113NKnylrAQkBGWRc08tQGHYbWpWHdB0L11XxMqQ7UYguWO6/gg/oZ1MpVcoTxqmlOliZnJXuQAK7WE/qUtLH0U66w9LZ7QKEEe/szlsaQm9xr0CAHHUjUpP/piAvlXyO4ikSzA0e5/Cl20Wmtto7LPdqkoRHxQ++t5cJb6PW+AHoY9JgiBVzbixEHzVx4GbeznZiovfCNbLMRlO74Ku5boPDoYifHdsck8qrIIB55XV0OZGB8VrNzrDXIUCoQ9FvYMg0D2vxg7ZxEnvdQXPe09Dhb1EIiTC5F+/HfruPdXnmj6i5Poxnw/ulrhBEuUwZq8aXkm2b3cQk4//GVjEHy5T1Uj087CZm/z1Uqh9GoMQJOao4310QUcEb2gjz+qoDXvF9eNS1v8JZ86e6nSvxuywUl/BSJX1onBHVSivq+xmdIYgZOjbT0fNf0hL3ZEc00cQItkGcdzvQuZVE6rc909ol+VR1+wLvHHCJlD7eBSbQDwpFlY4oybo9NkLuCEFUr5ZuD9CKULl1GFQ5LrQf3DfkrcKvr5sJy/7P9g/rfoiZ7yCtgcOByQ/HYT3OAVPogIGj8D24hZ5XH6A33Z7W2H+LJqeFuBISLl7NPkGNPFJutR9hROJkOI85FyL/GisU5615b4v++0nHAHxkSOPEPErziRbUP06TjxMm2EsoAHYDDuEWScTMOuK78D69BFeE+5Ijc8oqFlzO2qshFT4QDalPH3Cp/bY5yRjpb2C1tzuwhlrxMPA2Cu3xlNjxiiKk1tNkPrGOkjrB3xgK8p1tPU2+bVDW4LSViBMhY0Gzn5YFXAl/ousc57tHL7EKnZ6hic+AdFB/KfuztqKZ4UntXHjDq+Q4+Y7D1X1zYSBRC3ZnP7uFIJrTWh6alxRBQJDG0NGG0YCH1CCI5H8rxrOltNw+adPLaw8hBrIfmU+6EWibzKjZv5gBRuaF+Ir9flS7YlFi7pkgKe+5l6w+LryTCk8Jg+vBI31bXEQ87ahrewFZPrAfH6uxzhQ9aofALeCKjqMvTusH5gsL2W5U1toHpgQa1oA0iGTuOyIAM0oLokhl75VquQ059WWUM2a8ofwYDe1boXwighhRoTW2PncNEKa+QbfsYdGi/UmfHIPKH6PZ5xxHKasdrCA7zbp/KX8M6fEqhMI67W/GMLgag80jmlp7RmkFTQHOLe7sekM0ApHZKwloswdMAVLfR3+hdazBEHQhLRT2SwbeX14OLQXVsc1/+8J+3sbsGGmpOnI9magsMunKJ3gn0lqrQok3xwQM/SYFB61D0lJAjJCtt6H/ANE9dnOQEUeWpltFI73CG1OGPJ8ml5yZ0EuNyzMO80gApN2S+89L7rmgm5hihByyLPR0rKs2I9jRb/c4pGAkqRdyTDOeRDt7Mlaqgm4zSo8B1iv3nuWVnFnLcugiuH+Zcwm8wi6B44ymHDUrvmnVh0T7B5vOYdaqrM2YYsfx+GppbaUHDOiEw3JN4pYTZVx0q7jUIHtbLJy2eS5twnTiEJbTwfLjA0WmsX7vz7L8tn4EIs2O2qbzfLHKLo9VsQe12/+oUaEEK04zvYY6xqIbNL1h9KGMZp/S9nam0GTjN8BIx6Qro5XGy2hBmWsPym9eDEwQICfK07+9N85s9GLzK8OdFALFCyQU+AT+DJRKSYXTz5q8ZJ0/VJWmWT/u0vFxHN8BCHoOjNfRvQSFV7ZzCF+Oq3A1GuoOTrJ2oUgmfSW1O3hx1Je9sAef48w2ULNPL5+ESljqerdkOwWEhV+Y9sQB+x3/xzLrJTrmBedpJLc2CrDFIX2I2kpxg/h0jH+XC2jlEjD5qdXYLF+RlVyYO1EXrUchWgPRth93+eJDqTMLyNSuq1xvWK+X9bMKuHzIgspkuPHgRlvpfppR5Yl+FlKswBDiMCK/hGzTOup8KbKuPYGY62xkpbi+t0JcgZnjOTZvTRLf+g3JxwtR5u99dBb+p6EoFJvD/5ybnV6oW5yk45y1xEdlcSGC/6+GI/21zWIkfOusiVRmofx+pxI6r9GtIfQyJm1gQSVpWWDXLvKWFX8/gfHFZPNZ65Uvxky+bCOEu4JpIrLb65fVlh1SA23gW2K2pRHFqFJOK7hIis008Plkq6PmWtZNNLfC0rKq/uqMbheFby8F8228igsJfI5RhOHIu7E7Ik8Kbck7txjIeFA/3K3O+x6m4uYmBGRxOTgN0qquBkm/Xqc/YAQ+Q8K9ZQOPmo0J9HVPxBNxtcpfXwoHfoeI3DzCv76KNKfWoZxI1/GkdKI2ZrDozGMLZfH38pTtJaV1GG6xem20OmyEMy0pIjzk3RbTvAJ7VieJAMGOaf8pkggedcGhBJSIcRC2APStryjWMNl+dP6ioudFsRnMlc17IUr29eN8KReOJELL52mP6OSaDsvM/ZChrT+dwf/DOfmv6bWUDA0SEHmf3AnuWLjwJJXod3HFeE1BUdVaBm9yCI9lbcoMUX9dEk1vRp3rGiCRXEOhXLclJEXYaiX2QpSls17Ng6fKPTWFk9nJ/qJE3gViw0mVpY3RSxTn7aryhRIyV37N/qKRyogGJl6fNQJYDxythltv7Zo3OJJTcrslkUqLyGiw+CaRrp40pfsMPdkSg5qsshi4M/AjrTmN0hbMPIIGnQAZOz8NUOagdTbulvxVrEeXC5rDRqsnHOt+Lg1oUUyYMuTfIlCQbIYGdyPiFMnAl3sFzde3PQLInB1VaM890gFDwzC+smZ+n6ASvl4l3tqtbZZbBI3h/7VZioInAIts2VkK17pdbU2nOmdPaXgcSfCiSRxCgL6Hh6kK36IR+2+wC9H5UksGJv7f9gQr7uRFhxiQrAIFPZ4QbvcBgost2OkDbA2oy4IwVAh0SHU9/Ic5/uV6i7zZI8Y51sLMktc4iSEj3Vsi0IKhbwsFvk+5bnqt7gpQZpvbv6kojPfFsqE34Zk0mAOMkKrgVpPnMjagGpQOiUbpAibDwBre8kQphR2HFiSaiY7EsJIebsmkik4qVfPQjxZtxoCb826hPRQRXxwnIhU1JwW0ltGE4SsodK2cDQYDuY9Hm5fF3g3fNQu5NaWUSybLdBl4o+MHKnnsGRB/PZBrSITV+kJHCUfSOpZESdz4CktE8JGTn7aeeqhuPHC87vmU1sjUIfNmqe3sGn0/U9LpzVSbmPVCIBCcMA/iQupxgY+E/Zp5HK0UcxuqQHnoVwP9vfedURac1YkrFR5fuTSmVyd51BreirqQajo2wqZFpL9fwXFIu71tuas0Azuzkgz1YuS4oeV8EbMnGJvZ9jYpl9/pE5xFtblTmaHY/irgf3j9YD/h1b6HEhLaLUChw2Upwnj65D+fxh3xfaL0uhtIOT/YQPsjLo8PdwzEi8YzzPMZt2vBcaClpx8WXjRlr33Y/hKYjz94faP8a+vBLnz/1BCWEaXDFghq2Lf6aGR/xwmArgq6G4HUXn+t8Sko6uMqRnv4rd9FgHIfIu8JGWUjHdfeNxBYEHug2UQ6odQUtgAHywGv1d6uHofrtRDkA4qELqkotQAtqS7j+C2phdPIeN9OfxRHoYCptaVU7/9JU/ppCusM3Kflx7hhFrxwwVvKx6A2/hfC/VHEkN63w3YVO3/EOm58AWlDm3Ku+5Bqa9baLwlHhGGwReiIlvIhNgumRfxJKbr0j8ekXusgc4SwT5SBTKYivohTELd+jlYySzhtp1cmygGZH7bB5iw9B2HVA62liNZ83NR3a3Eo66/jHWggZl4XHYFO9k2IJvwa9Y3HB+nuGFQLggArtYvhlm/25ufDkEe93aWdDLDszLEKtDORYkDJ3T/UXijX84rrEOU2KRA6GAdPGija+fe9GesBhh0HQSPqXzf+9eZP2w3XUgaEWx4WaESKSfVSM9rkzRwByuekOrV2mqw689BKvEYAVle4C+CBGCnBVLR89iHRnU/eCCwmNDiw/f5/+nqoEVXlkJXNAD2ESReHgj3ARn5GQ9Xkok+kGO3MDVqcZvg2sRmXoH9980tQ0rM+bffEjRcfKolmCOfkEP2BzcqT/2xZqnuwaQqBlZNvYvEsPe9aYCXvZygF5PAfVmnZcfbpzirhnecAxW1R8r4ahMPhkfzD1vYiNG9CUp9EIO86RUdp6ys9FyrxqlRZXp4GDxraP/T0+hlbtNrUGO9bkZkiYB+aHcfRvWP/S+7vB6tS8beFzltoGQKqhYXXhcKt78QJkiNbFqqXele0Qc/d2AnkEGw/FLUzM9xc73NOtTv29XLyEwP6ie/5ExNDeUBLp4mwPC0FS7Ctc4HqQUSQpdyY1fJiDxvGgVlGr1cGxE7XHprx7qbSjx5jS7zzQkiptRurpfX7igi1meiU2LCCjp3BG6iasSYUB8i3taVvzSsIqy3OfE8KIJvhs3UvPQEyuqZ8PDQZMSNYBTP5h+gPoyAfiEPIO04wzWs+Lnv5+gClPAHjAAuI0WQHpFgGCjzIVrpUdky3h11Ebdm3bGtTCVzBjAU7KJIFSoIo9h4qQtENGAnbW9mW6BNJ7JZ/Wv8qjbZQiZTdBcpIp8EpqJGbrS5f+zXIyErAeTedkodIEy/BMwPXTLj3r9Gh3ZifnHx6Pwbx64yR6ht7pE+lrnwTkmjytNYKs6EFli/WI5tdAt/4inJnNLSJb5Khhki1QR8F+Xid4AKl7QhndWye3Q+EvsbSdQEXcMrtD2fvi8iR4+CKBljIIeZnTWf08ZB9ia8rZAzQbNQAl4R+1Xd34LbX2WK4tJSXBd0KznetqZWDjj+yqu3Tm8+rmin4eZSI/WozXU1Ay2xLMjIGdMPT8/sVBaRFKNpbrlvH6csao299xk3/Im1kpr0ERpmmejwP+a3jS/0cY2T6Lh1df+Q2/MWqwlIx8RspDCGQWtJbcPO6PewA8S88iWZWBOEBXHyOT51koKdyfXmit9FXJOEa/vSIZOwuLBkDAJCQHd9uQj9jbD5bxrs22v6vBl32+E+CsZsKULZ/eHVpKnw9JbV3wkLFZ/Su+TVQM0xwROOHOBGO6bWVYOxbJFVhhQED2yEkYMO750NP+jO1/TsdNiXX6/9JQBLYyUQzu5ZHxp4JTALqYZEEGBB4uDhkHcMtLZYxWO68CDxJ+6M9FIjH5FbFzdHCDu0CvP3WhSUnY8fmxSXHowqka4iZ8yvAdVHC1BM9DZxg2znyWQwQKGfF3Wti/NBEmqtOvvXwEX/ltzp6et2jDzsFA0tu1QvsF/Yg6zdjSm6wf+i96WBC+/tEItyHg4yvxhLrlafQslFyu8+YmlgjrcVWZozRcPehJF2dKVwBRVI5nO4/5iJgdTYPVjPbQQ1KAJOSoHKYO3owUzAwVgp4gHzZuldNsS8iQp0pfYSNVFriCqs3uA7iUqgNZ9PLkApcm1vygBw19erbmP5ToMsuNCW9BdBUb7910lXWyCBOAF3xIoLIfPy+mkYg8e1llR7b78E08kemmTgvg+ZMU/SQrnGXk0oKH0ccggnAgerFxDrJIRF5Eiz/DOppG+kjDhR3eUJYpsyY7DDBzt6AS2iaXy7+8tdnaRuoIpS1XajmQK88sn8FZBNaRt7yMih+wKXyHoDZ8jANqSWRRVW3dV7ozmEv8zdGiTrjZ31vCC1xjFY5DPVWup3RQVQlZRs4Mm0iNKcwVXGKR5hA8NXcfFvc3v5hQdx6+CaEF3hITccBtZJW0EW9nZVRjBljZv5/U1KK6UBHH9a8vSFEQ/gIS1yihoDHdLAdxSneS5nNUn00ag3xzH49ZiYf9nJ8IKgA4EkQAwvTs2n2H5EX9ipRUVvz7Fdf/9MFF2Q098cDncEwSwccuXdtY3spqLqdrj/jJ0gDFUSNza0a4EDq4eStmWfLbOE/ZrlcLGKM6K8MCQPRgzQgLY7HEfY64X1l0ULZ+KVDVF9zevzOkS8M1XsLajH5xxSAeKCQSeo90ocU0C5taMdgjnBtkv7QJ4Xsl0KO4HlmuZ3JMsqzy3KxdyLflB8QxWKPMfdFdFF7eFgLwICIqm/TbZzWnBsoGcFT/kHxIvawkUCPewoxlNqpUcqgLWFYbjjDdB/J5eZY8GmXZnae00Oxb3y0ceO19z1pgyQxT9TUPXsrL9qSfagjruKAGIrtMxFMulTCjUKnaT4sZ5G7iS2ewpqyN/He4d6xg5/TDh29VVNb7RaKVsBEa6csXdV7RLFctMVoF4WXT4UexnJ3hhJ1RJeCNK0bbsYAzQyALuxx7RkKTog6H/jFURe5cGDiJqxMWhQgFyeAyhGJ0XjqmZpjpV/+/MmIdl6CpLZu+yb7+XaT4eSYgHGBWeqq8anRK2bceR4GZ1T/LhjziFCDCZl1ZW1v3unR0edwLS7KRFCkVWprici3O0QOE4zu+Nym5Kr6YOO2SYfwqwcQ8nZifFdDbAzedaHGPloX3ef4VuP6tcn99S2Dft+JQLRyHohdqkjPe0Xq5fBWFcTaWDe2ceze/TC7w5OR2CnYSPTIWIVk2RWtqFYXvDc4qaRlihjuy4zei6sc6n1ZbpTueFPseK0Ymv0orW6rxgERm2rGT82vZmzRF+GQ0H8iuEKayD7ofOOV13vOBGZDb/9EdBzxo03u/2aPqMJJrYXNo/Di5XwghtuW10QyQqUMczqyhxeGXw/nwrCUa1sbL8kRcNqGKL7S+WIPVOyJnnYzXy6tFZVq+RF6b7VhT1bh9etst23QbECBYBkFXG+s7YR1BmBOj9a2yLvB/YcSh8YFzrWR3hvVUgo5jluz4IAQJc32uvdwbsVxwKcqc/nWupslX+l8eGe1czpgLoGr1T7qLrdSl6SGK9NOM5stwOXV8s7PtlTKmYkXEgEasgbW5fchMmQM/SK2/wOrC9Mx7THvvXiEeBvrmwtdQXp7uGDfoeuTc3Zj9vji6xGNWIzmjRzJIgPcHLrFtp2AAZp/nLX2KKr3kRgxAzm9eBVCN0DhxsSSZ3Y3VKCxsNYsxzxuJUM578fdJXVTkE+LaRQm/maA3BwR1RhnrSdnO4Aa3DKSfYy6jbDdAoxwi7DKB0xnYabn6gix12VYTwQCORcTFk4i42Llh2A4NIP2iU6dHL1emRIFTw7KgYF7hhjkBLkrMYGcwHWA8JftrbBcu+nI83L7XaAp2Wk2/6tLJ7s9XABxBAvvBZVUE1fRgS1mDFwbhrCdmDGkuY4FfNa8zoWILzTyediRgzF5040WjxLZgVBu/OCTTkBhNHlQ+HoP1E7dgySLGc3tHR2v9iAMgztkeFIt/lD6pZpSGwOQISewshnNMooA02KOD3FTkDz+ARcGnx9uwyUf36WNqmfQWUCN2urXbZ8uJCW3E/PuhJKQpEEkiSCAdsd7cJbvpbbQrf11OjamLCFTbDR03lgHYnfElsiECODyMU3GwZ0/Jn7kKcJFrj3p2zLy5pRDzY0btR00+6U0B3JX5mpqB/gVhwnnNnhR3Dl3BizRkTymAKHWgvjA8vQzCERnbw//ox9wk5EXayf725uWgGs+86k8Cs6Jk8xSpYGKu2unkhYKjJaNtQJMvaTvV8CdeNk1YM6300LmgV4TKWNvxlvtUD0rJ3Z4T7UT1cxZtJzAoRTCeU3wFA/JctfLsnZXKI+6zD6Ougdk20EstCk/a5FbnSXLaCC45h1/sXCLE+gka0EMIW2wv+I2bTo5EikWbzX/g8L1xOhv63dPDUbm7YVqB523VcEHnjh/PEEiJUzTYeHWy4YpATwmur19JMy2vkRS86Oge+IzWBt06ZJgjzR10IFJyaokk083YnDRY5OkgcwGzNYAXkokvWUIe6myFwJcU3YBSW6xLDXyq/o932PDOxtkDYZXvytnBglukhbqsSrQzScdlQo6bEDXRVjyX5o2v5weapfBb6JpzAGqsHmLFep8wuvRnMZnfiW8gFfENqR5nkKNbwRRROw+M2mEmrSquOq6j0J8/z7qjoQ29yPBljBv9CnS+joWiTjlCQUFn4oRt7MwGG/yN7MpvNhpWT+s/eNxb/MA40VW8ZQWGZtz3pcPX6Z7W6+xKhMQ7NzS4LngyN3/qx8prjzspxHCMDcvseSFCQ9SJA5yGxTTSIi+RB5FK/XQLYgwDJ8LHx54k1gnLIcyiWePscyyYaQJUAtIIujedEc5hRtFVXeShGOT0SDf0vG8mmRTWh4kNUg/8qgnMuuWYLznW/s1MaEX+2ivZCi+aDDC2jAgGrkR+RGb1HiI3ssaDbWuHnCQdlQ1iub2fSSoHBhVhtUaniloKydRAPXvq295J8BUNU0BPWQfK3X9DbhfzYNztpNDvAJp3ea8LJxFMiTQJyFjqtX8VZY96aVVk0sT/qMx9a4OODic//36M6bJQGQSkYvN0f3qtihZqf2z2aWt6EPQ6wjvGACplw6ir1d1aa17Z11B76kKRPzAJbBmXYd7Tr7Xoi6JhS5wsNJH505i00oJZcBMmicKNBzj6VAEzRJ6J+kx67ohs4O/qDD8u+5HokopKb5ViqOMw5LRYg3DYnwk9ji7Nt3Qf/BCPTxgq9OG9oltWVItnzN8LsVskWB2j0ZI65sV9fUO+zOFvbbWMrdcrxdkL+exlkV9YpUwWY+2T1E5yTj3jem0tC7skLdkpalCHSbo5N2X/ZZGr+trSjDjvxsxEZ8i9XUFK9KhNYI2IuJEEgb2wSl5dxj70FkwGiQsGoQ52+PlzIWmPZLNCWR5cdwg9x1s9wFLYGUWj5enGVNuW8jtccAW6TRyDs4YfZNOSSiC2bj8gmJSClu3RT4n9I4ZcAfjMSD+6Gi1oXutJbq9V2X/J3CIA501tuNiERH8uy3qAk7wcepgXtqUPKs15c2OxH55bWpL3lwZ+FNe8kajFZLpNToZm672dMP6j0JtJji3BGySWoNF4XJOZflqMxQDhmaAQQ56pE1NIadpr+Wkvv6IaRPZV9ygu7iV2y7eIFZW1mveGsH13t8hIRdGgyf8eoGeVFuujT/DqPBRLmRpW+C0N/XIaMVDblvHPGlesrd14OGEhnED4uCpPxPwaOthcjtJ2ZBnyftQlso+I98C0++WYwW09KCUTQOpaGyGjvDzcdF27nH1uZezUyGfTCrkp3Ps/vGoMJeS6A5psx39xnmqhE/nCx2bn1JD8Mfx62x6wlSXAhzeGMrLuCVmLL1Bb1hfc5VGbK3s0jYkfwV9k4xfbP+UCc3rZx+m7kTwWa3EcZj4REBdr0VwILOcUucTfRZur7OAoZn/uAn58Ie6tm6b+4aZcYYKwSQtUVIkwOUq/9UqXXJHnmq+Q3WzL1T+w4hdHPCw2w093O2gbXMzDLsWBmkGw4Qty+39lWci4tgp0fb7b+zMbgnce3Lr0gfu8GRyz61u4Ju7/lAbX04+9V0w1s+T4MlrFbHtx1APRhDqVNlSGo2QTyd7UMXWdokFxgheS7x5ndhsQB+egsp6L4GKiKEjuQ0dK5EpbQZAoGPqSAxXmKVBszHfN0Rq80EPNoF5pbmTAZEnfAHJI+SfksImoY7tx/kkesZHpdRfy9FrCZYB3qz2FEAbfd1i18035UoYNx8cpISJJKo/pcKc6cDD/j50boz+wAq6GwBN4e4VlrR9liVcVR+loysd35kZFAR7G9ib9i071+12AQeBFndYUPCaB/bAdKfT1PSWN3IlTl1nsHcEC990HJYMDgME51FiV3loHL1wCnnQNEaYXREmeGhUnE8BueKtFKIr0A5BcOz51O0TUKf4wq+2cdt7pQd2bZiKulLSHU4/gLBmS1BRJ1Dx+Q9ZfICFJKZB0zK0Wtvb/xfENspnDI5HWAC02OJrP+XfDWuXKAPCbNCJpr3q0rtBPAgcHuf41sJzZb2JjTHIa56873uNU9jxEkNH/DZzxI19xmRqefDMOPjwGygHgApNP2yeiOm+FKIPyoUnFciIiLlAO3bSdZ2FRt06ldwYdq18RHQCXUw+hJvApbgVI+YpnACLEMSLdm0WaoQpsBlLFigvYGMUYcuMM2i1PJRs7LwT6gHvc+wV3Fboy4l5HiHVPodVsBMq+vC5pXYegPCW75FNflKRGaHFjZid558EeSM3JIabF0wZbc4lZq01sVH/xaF65DDhdkPBW2tD/ZmB+JTOf/+Rn0l6Ry6j1eOaid+oVuqRU9es/He/CNTSYbBCmdkABmqg+N4VZa+Ad04OL87TEM9OP54EmlYl54sOMMiAfV3hyzxGL1aV1NCIrZOUCOpFtjLQdayuOcMWkmuTPSaSIYVxf0LHwql0AdTBAVImNnpfKFFo7z+/s22zObtp7Yq/wJ2795z1GoQK/0SbQa3/oMDcoEMnU9zL/EP7vkpAIf+aGtQzYaQ5hFJbyqoHP8K6CUkPis7SadG15/VFQYxqQmX2+DAIAd7yFfBb0IljPOHMRF+g6WqWEI/EnjP+M8qoOAGje9PW2aoi+l7il/SFX8GbDW9GTu02hMnep95pNvK/vbDJr9jibI789dukHUAVgKV8PAlrwky6pKTJRdkwARHaBlVhhWtCFoalBQxdHCLcHFYLXsBinIO0ulv1s57VAXSUo56nXLLZGfiAUUq/Enik6boksMXs9ieOX/f0W67NtzMn3vL1SvjSTsO/36O6sOQENUkQaQ7ajK5OEtucD5fTPVDeZ/hQq1gEgrB/qQZd/HUA49D2PAc8kljaP1iChzcIGFd6a6GwqhEXlTw6RobfNptn4Avu2/VZESiSWYHbjHsZ1z3wt9iVfcEtiIA/KCVXc++KedytNVPCj60Sc+E76tfBRix+Z3BPub+gclI4l2OiiGZcEgAYS9hISMJY87BkVipwi8FRPj2emEV/qobdh469Gt5xgitaO7VX9Dj7NbhlwkAX36q/lmU3kMRX810BXmoQQBEZUiBn8vK74O7j+PbiW9k1oWung++AxUsHadFp0uLiRo5wS23Bp9fGudpD0/q2DcgYIQfBXgqypHObJI77mbO6VmN9/+07rYP4ltXolh0V6/n+UOItf+EZ5d2UV89Wp1bc5BdbR4tA6F8/qRgqpZVyhtq0xfjrCJilnCNu/CjM1KkVZS09PksWBNE592WjNPbHhWgzu1/8Gjy/sSj8XiwybPfE5P83ajGos03cbZ75Ra2P7gWWHSmkuoeWgE2VjwI+4GkVOD3nnYo9EECkPPBMmAwwxam3ghRkg0Yd9/sGhS7GPieco8R0oq+SGbVKzJyBLWDs5prRb3Q466k0z5kph+Cieg+Gdc57jK8IzlSa0pDYCKWJWkswFbDzeO5sWTmAGImuo7NEX8HvMZruzOnYAObw4uw7eaMRZxuWL45rZ3gVX2sgRC9rvTfvzd9ZCuV1AV0+CRulJe+ShtiXY7GSljlIXRk8IuVbFggMReGlCMcjA3LDoLYb/1Ubew0oxcrAWuEDt3+e7Q8bVZukVvSCi3VNMRv/888pNpBSngLQlJBVidmEu42zFYxjyJgziOi5EhPvfe5MVsyXrlHCR5mZIoKuoNowVwM5w+6pnb8DOpM/cvoQsU7gA1hVt0QhsNYMBnbBMmPnqaWyQlOFzHzjEUXXxq0Bc4tVt6VdiRPTaWmcYiHA7oondS28FQ07YZ64aIVGoIioXH4z8N9dn+Db+eAhDq7m+IPFw5vOUsj/5MblfIfkUE89DDmgx2jEyttrG4Y3AvQHTLag3Qvgb4oU3JW1TE987XYRZFrDOX6llLCJP3CBlJV52TKFctV8JNm/7Q1CxtqfiASNPC8nh6kgFi6YvGNRTZ34aw2gAEAnkFt9qY67iO5SpLKcg3/dQ6edju9888CdoMJDcbmdHiVEZNW6g895BLkXkGUePlWvZ2GwFlQj5E4veoPrgYjzm8RgoebSgPUO12JNKXoe/pXonzB7GbMVs7XfE3BClkTOqiIMls8bcSISwhwdaqP7oejr3+Q+qjz12dP99swn6kbIXnlls+0ejZui4SQN2v/IN/1tnhijStQzOsHq6kNLxL11FG3v3xjaAZVL9TybCuSQ1aFg7Ofkf/TmapV7wThZ2oZfgavolyBoBYJnY9Z59u2OhPKWSy6WElGkCCLj2FT48rAREJ8xqOpvxVHVacUWdUzczWN7u181coOyyyKY5EdNpq0G6Px42kaHF6lt6riX+HZ3M0BhfDU4/KEZO0irr28RSbxcRQ88zH4ubnS1k6G+XXASfCb21t5Wmun+jMJjSAfFg8YT8M3SeCXHTO5pu7sTDJal4jDnvQYBHRLrptqCpSpkJbJPSl0+36XX89xsoKDIvdAn2LV6wjSsLmwkCNq4pQpWYjD85uQwRViBiWG3g7NioZuWN/7ozChLKmIo8ic2uyUbNeOJ7QfIqy3LTaCV0WJrsZkmqzl29nPKrQbYWIzX2v9taVbDrwQtQSR54k0Gi3rPJdNpKgPtH2Z5PZ84MX4jqcP4DIqPOTdRG/UWtlO2EuNsaMrtOBde8GEyzjNRdHKujs/0p1fRVjBfQgUGjjpFJbDrey25a8E6MDx0JnWSiWs1CSmX/K0wUhT/O70izzVzwRZhxjqvKpcH0Shr7Fxeb4+yNjRy3YwVSLlt35vrZgrRCotOdcGEUTEzxthv31dbutf+M/+mYnotcX4qV2NGFQ6LFLbqwITfNPcjv38dZ7jceN3mO72bczdOSGkNl6WdjtE3BPENGt8gG2thXJEynZZpUKPPNo//0C4UJJFA7NtAMlQ5XfLR2JSYwFxal4F5waXtD2uUw89MC+XzC1CQ2a2XJIMBr9wxKAYHHRd8UrdgZEkOQKCqJSyWMQ85sT9LHCK6zVQywqZ94n7A71RqSQjytozOowLzL+u++fKbOSvnqeaZNwfuGMPhlXV0F+ofPf4NfOyoW4+sojDGwbgFHONwtSUoFv6FrRqZH/umgsWhrvmnb+DNVxmetPndG4cChMIYGoUKncf3YFCtIeKJfyH1IKXld8ABgL5nN0IalvgvCSSSFyNbe4FF2yMaHDJGsNgz6s0K6uCxKasUNB49y8G+Vh6m17hyxPGP0/6K9EJLNNHeIJlWdN06Ws3dZRJeUdRDjXAPbm4Yvj8Mf4EFperIdFZEbuIaANt8jYDNaeTAmMK8rUHx/vm5OkDyDqcq/sQQ9WrEBxILBqpPWfeXdOZPuyGHe8gT8xsaNB+P1E03BtPMuRcGLiiq6InKyhfPi20AMSHVrqRnpVPKhkHhuSkHw1NsL82lyl//BN2oe4IUydQAuyo+S5wVB05a+YFuISNWfG/MTIEkIkA+ZZd4EZ8XuJwpcEZmYQhSTcBNEgPgK7FyZdK8MCZZLUvpVwECWwZZGaId2+OPitTr2p3mtDZC190SuqzmqOeis2kNNi4xw0iyThnTMrGCbCcnU1MYXjoxrGMoYMx24Dzg3vLxqLx8GN7A0R8GrYOlXp8zUkMtl591R4piv1r9lBIc8f6vFWC60PSe+UDdpoxfmD1MIxfPvoVEIXbmvbFrL6BjtSx8ybaRPDZDkIq/PSGhgC5ossFumAc3i73uux+DatXHwfduQtv3dIhPHFymO3QZ9OpDqwEcqPDdBIzOi7lT+qeIlerO059OoPcIk6VGQE2f7NzYTYrwiStlGeoYg7ODbmpDzRtN1ORccF1u9dAltuFuP5EO6lVqz4Hmh8+SThSlVH0RG5Ik//DtBtpRYyR1gxCNzrTtzSW2pE2SoVvSR7i0G9402ue8IyOs4XpS5dTVsrNEphjVwdJif9aVO0S9VRqErZ8QV3ds5QDZbkGT71S11X0WQfC90vW97PCgLSlN2U94l27Ki5U4kHKrnsH1uNSISnGK2HnTidQdm4JvyvfdM83i2NynpUK7G5gZC397SIEGevSXePIc+OEQ7Jq6ISFyFXrLucsKzQn6yJ/BARfNmmqakbCD3pPMRLhzCn2DxS717XuLpjMXbX7g4HQvn/XaXZ/yvW4iYnmlYKlwKWRaQkCeHE0OzazIVmbz01rU5ccxbbqOE4mo35gMNkQ+uadnNlDlIbVkaTomblnxQ/wEezADSEqVbCF6ysHIKvzAMcs3gnudhnQuC3ykYCXBmgUc8O7CFNfIyFuB3FSn/m4TvZNNLfJ5KXpA/+KjFFo48Q9Spw06lrQAqMOulwillJY/9m4hzQTEQNAknPfrCVqx6vXkfgn6ZAez2xqGGEakyZjtvrcpmMy2xFHxliOusXrnbHhSmzVTEnShWjnqoY8FE/Zx8vCNkltnG54JpjHTXa4iyzAhPOEOzveQLG57Zq1Ls35OugHs5C1AHZx85Ffslw3Y+lsTEgvJklT1+jKxELSRRscQOWptncO4rOLjt4Y2EpfFP2loiX0nuw5JxIMb09XuoMTzOGm6ZxGHBaBkj+nnsA3lFxtqsmwAAcdxXL28h7oqgYz/qCRnEhZIIMsSNJOnc09H1+X3jjHttHUphEIg2+8FUOUU07i7Jz+I+U17VjKeBDfQz/yNXMmlIVwRDRRZr9YxJF57a0rDQTY5sHrMlA7f4f68yJ4pu6cf87vVWQ7bVbm0X566fB5r3Jia8LEiJjb1oQat30Z8Q7I6sMaWE71vYT5UZF6F5mg9nPnWUTrlCrLNMkesHBZm0wkRAVGuti9vEkjGQUW5C8ws2W3IlMCkgaBRlG2fjXm499Bj8mzZ0J1M1VxeEFJgOgzQ0FpbjSj2pHa+Ihkd2OAWrzqjsV6B8l7pTJ9Jq5xlP/3+N1wXsQ9rN+f0VqqrRVAbjNel7LxchWG/3/OMtj617z5P7wiLwIEsLHSzPqKLj2/QU1oxm4G42R6vvQSCoktP9TmTWMQ4o8FmxM4p+Gf5jSSX15WJPvv5jikoY00NxBCG5cGAqdv9gOXakkt3AZiRPSXjBH4dIBCutlT19SmcWpsjCeytApvSG12bzDpEhvvMdrefUUUz88TJHsFNhJgCEd0/jD22NT7nE2YlPeGGLUKVJVuW9HmnoGswjYsul4vxuXuNqGlLQQtGnO8RmfHSU6b1TUssudYumd9kuXm7nPHEtywhWEl8OmBSxbBCxcp4tRBIfVwXEnYcZbqK2isR0vOJn2JpM1wIj9FqitfffF/sAxSFDfypwMOXU7YFofu4XQl3TpWIPUK89nalM8rrD/ITOvjvRhgAM/QSZA37Ny7VDP5YW1BpmuzE0c1XOzOzUOnFwjktqFFwd4fGVrsNlKyBLmKzBAXKrn7a/nBoTj9XSalAnVLxjq7bx1Nb5fybPC0Heldw+XXuun/cWHTVBRJjzvHbfWxJJW/k7BkGUn54ZdBjxsEn7BvAzW/zQ2N0/A7vfNcvCFs+Uk6RV3jbMKbVMcxIUPgi9DzP6s2F93XhfpOrvghVaqo+TCTMiNHCesWfTQA1usPlQ9DEdXMmJsdcxFDWmZKC2yiC8mlhOlQTYjvxFVCOx3idYmeAtJEhKuFdsa39HpbpwEx5oaPgeu5+6d3W8OoTflK4jT6qDIr3qkXIYsco229QlgQe4iUHNAhRonj4AvjWYYTvkXaLNTPEXki0tEy5JRKcH7Gaqq6TKvCWnR8LGwpIV86wby1A7dZ1KjMed6pmhOKxjvy9JVLrp8Cm1zQYDvJ8Ej+Dbwk/eSEBTr4aEfZM9Dn6CTCRSZZi57OtRGnZO8R+cYjiMgTv3td7cBcKK19RtZPXturaXlPso9aIxTHyKGHBvgT8PKUvJbFAoAlEWhadcFe/jbyNgaS+wWXaXjgxe5X69KLzJXYy7SdL4RxAjYpBRAyzk6zlF3SO8GwPqDth+u/PI+VPY5myeoUDMqbHI7C28OUqhagSlsEeteCOMu6EAsTusdybfxMudab6eJG+LTOvHq/tMVuCD18cIXtYQONDozptmxWs9p5DJ9V6a4mGuK44dj5I24XxKNSEqHBx/Oya+BKWb5vEBUZHEflGBz6Us/8aA6DX8NC29XKUrDVVCVBHBMBmV+E5hJgb5NCnyx1C/K4NqI4xe29ev58NZuWa6D3SkQAVJpuvAu2Y8b+QpuzsApdL8FtRXuyznjx9Ppl7KqPRpDbzCYgR0To3nAtPntGrsqVMoTkM0NZhlZyGbJUws0RUO2AA5LGL+Q3uOFnQX1prKFWniKjVPxvDw8edwEw7g2fvKpH0zKhOxRKXOVdAMphlE0Z5LD0lIqDEl41FuLWyUEsHi+Koo4UfuEjUuE5hK4UOesDnSFAbmKXKBwNc57j//MKn/xUVnQ08aeKY+1JN2xldOuSBVnxxPMT0J3C2XTP/kafLE9WjIFsgElLn/lYlCicU+Chx0ldmv4+GYY69Mw6ZT3lMmyR4n+mc6n1M7DbJe+q0YWK4Yhdzk9kHQDxeqsn3y/dw5ouwVyMp/dxm0MtJU9PCiMmoetoB+tdTvXMG8hunS6d7ZKnraJ5W8d4HRqtjuXMWinSzK8jIG254S0T0xJmjnCRZkRMYiIA6VLPkZcf3Wvrc9SWVBTeMw7jCGszti5jBFjFEXK2wA7Wb0gcE2l7+aieoXyXL0lpQPXy7JKntjZqAH0JZ1U0ZhQWe1WWRhcfkOT6u2yM6H7iOLHFh+ulOFzWWW7X8g3x8+jqVzmmZijKsYL6XHb4PpW82aMBkbYRsod7+5Upj1rh8lrz7Gx1Pfj275wC9Zh4oFfFSbzuzgkpYf92i2jFL/A6Awy2IrSjf8wQfRBABMLcM18RM7LrE4jK4/DbLoRp7TW56i+CLcNFlCLAZvCL8LT541tthSTP3x2vKUYgDBVex6gVVx9kc6arDGkxNWcn6CwrjWs0Dz/qgTlv/B9c7XWwEdgHySyxeiNN+eaFnFtFBQm2yKD5Ba0ol5+Uav+1zkxVv5PlR+d6AD1MYrt6iL6HBR7kuUqB4VU83OACBcvqJo0JLiC25QntuzIkM9ODdXSGkkgrsYO5qlXddZ6egWqY693cLoV6ufU/1I8jB4SKRvCdni9tSAfYDr4tBamSKx2W5Ocvn1Mp5Q57/DeG7UZ9iH2iMS8UkmCD42x1b6fmZTV5/kd7vNxKGicMkXXsRQvdUsxB009iDGz/0LOj0lSJu1v9Y2j/2jB3tI9QupUrD78ymZxXeevsAGqRiZHvolHiLWuR28S7iny6qa6uw69QKDXwfznuGzVjHg8jO6SdotZZ4pl6G3kSpdqLl4oMc9ppvupkDPAv2ErU6IARLN4ywXj+W8rqmhPXh/Cbqk+m7WBJ41dqxUn+HQpyzxnxi0n0GNG875zS2qVSARuBxoPXcsb4q9GVszRBZeirPlf5Gjn4YWcTjE1bJEXZOn7hNMulUiv9rPuMbrL4osgLDkKAr0wkbVnFhi1cE1mYn5lHHROcBShvKrnc7lTZdunl8GXRfE78yNswU6K01jvbQbkKuTHAhEuUzoP8F6spUZn7pN52FBUpH6BXCT/tek/69aBMvC/sLm5ek/2Qov6B4Mxiseh5+6E1gVBXitzzObhZkQgbt3d1gQIQad5SxPTcTcz1iWLwdPH6pFowdJxnuWCSGvSLVUBSDJ6q498vfA8yV5n5pbkVP2jmD4+EAuZvx5ddVlS2ElGW1KB8zoFEEJhIuw1iPl64iJpEtLoJyl+IODU3L7ofSXYunuc7SUOnNMz4sFb2MKsBk55+2nf5L90Y8WRtLWpfTUyO7c86e8142AR2INfVX88psOtEiH5M/3uZ06/nSe/zC0CDLCGismpEyr/+W7b4r+/eXRi+aVJ6Z9d02oYrOBPplyjuAAZCHmhRlsYjDy4aFhENnce9c+vfwK2ub9XOV9FsuwhJ+cEyhsB6aVybFb7meuf7hzeP8HnFaRFcxkTKJRuoiqiQ/A9UawDXIu0H8m5jQxXVXr/F8so/8BF9icPRroV00nBlAJWd1IHeFd5ioqpDcFXWmGJwXKcjv7qab3fCCUM1ftHA8fxvRxS9FZyqtmY2v+JxVm/lrrFAKsR7ogHYt7f2Vpl2X09nRT4PadQxLkJ10VZLF4ky1hniAUWjzM00SKULge+jROREypTcHRjSelY18XE4ElC0qZx5JJQP9BxaZG9BxgD+YCE28XkjCv29EEeyLfkZ7xNjSuAe1/Xc+o7crGXJUm4oqfyhdKI09nfXgGcYQVu0Rf3FdmESHB0PbT997TUdv1qraZxkzRajiZc+2qyywdYxhasf/uH/DiBftYN/Tv05+cy66+8CiqPBCjZyc8EyQSpcV/chJN7jIfBNPjKWg/fo64cNDMdOpjiwJ9mD6H0iFMjPFmJKorxrnP6oymonzvPjPSWL7kj0Up7GarNJDOEwwNh+IG2/NI0eccxeMDYviE1g4pA8DRVyQ9v8aMoPyRU/Ueodj6QDVf+gNVfz16IPzuCIOx+UV+1hjQu1/65EpQJzUF3CYgIHLOwju/mLQF+yHCxMFgo0FYmSRIcYL7+vB74JXoYXiQ4S2YuSdWlyedIs9FJB7CZBvwP0Ldtg40BmrwC+pE5bM9oP1S5XxupLvtfluoJqyrFZweLb6WUMtxY91aM9WLbwN7n75pn/VXH9Vaqa2V5GDCQq3TSFsxhjHib6pd258SABi4v6xA3yIBP3jxGl67+vQoNqrGDQ59rz4r+26iQxxRuPmaWzVOPAH6AyI74TNSNSMhwEgziMjEtBB89gnllwUEfN7FHnvgH+ZFP+6ochXAC+Djve8vWjbjGCZNS1QeoBUA8S3RTYx6POyn3EMH5VXzkv0imjQPIFUR53mquwrZHroUpTK3eAACy71Y2ONHBXXbrZtOATuVWx7ok7V4ud5dySP5Dia4sHuHFD6xgsQII4/nWFkNv2uIaoCVs8xj0bPDWcSVmp+6QqfCjD6axciMWJjoST3bHXzGMA2mS8B+2dIMyzV0faXcdoIx6BiF+dWKRrS6XWGjaxXcE4iD4EulMB6PIiLhhBN5mRFHwpyp2BlHcyYX3VA9humXVL6gkhTzoS0pRj/+uh44JEzwHlg3JlM5wzGmTNI5+g51OfCebLNswx+pISX9z/pOTV5I7jK5EaTG0Z+D6cIYS6Aw3LuE6NRuMPusFSwCWaQ7J1hQkIuNCzb/EGM3hg29JdU6ZAIqaQPm1ZmF9Z56vWxtxVCEUIQv2sI2X0DzhsuOOdc/BMsauReAV9RYG0TA3JMC2O6CKB3ubcWVDqi6reLg3bnXq+EGSrzAqEK6lsvZqOsqPa63xK14wGg7efTw4enzNRW3vD69FLeIrUCO/lfZX7AAAvm2r5M3gJbd27VBmUGDu0A4pryPD0X7X1tfpp/tvftFJEcAFlQlcxgXsMMWwMIYnvLCC+PnYzjWC1iywYoj05GuK2NpP8EBI/cUYhIFwpAMq4/yZDJpjv6f88vXxAZVFvMMb4V1K53twAJM2IwwTMlCRomHI+vodKF73IwiEFfhjxLetA1xkFuoOZ/cKBeSMdWXTG1Um8XMzuZYxEa6nkcqxrtEzOzHEXmfZEGfs2EgOqYaQGy+ZtdUNjMZ7+41bBohRy2RszrZ3c8d0TIQdMLU8zOi5SO14Y97JH2fqOWr1Zn3u9NLEAaqOYINcK0rNMYdolPbCLaUQOHbhkmDXdq3WA0iQiUWq137kvg5jk//u0cTloSz96/ajOeFdzkq4ibM8FDhKsHHzn0RsiOA/eBIpbv2VZnrnapvgHvdhMi8izXi+TTd+b2Wn9/AzLUpWjLElWNScSIibkvEYt+k4495MNKBQo12OWF7+fj06LNP+qf56HXXaPHw8SF1Sv+B08nFmdUSq8owaTQhVMnQSMqsODObm2QjLYqGE5RqY6Ebmv5V/AV0Z7WKuls7745oJbHDh6Sr7uo3PPY6kb47hE9nZfsdl2IJllB4outIe0Ow1z873pZQU36LHC+OX6HhmDCXPY8Kwz0tfEMsQ+2L0KbPuOh/BJn0iehAJTk+Z/dorhaKwhjm5nQ+7tD/vLz9H3D0GbdzKvX8jX0bT9HZRb6oneS3o77RFNfMI+ml8x5xrbo5qE9eSANg5vbPb3wxhD8jCtlP+C/1cIaro9DE5/io/A2C5+4K+pHLaYgFXr18HCg555yOz28VdtY46uP4sOc5pHOqffOTA9H9jGFz8ONqb2DqFQOV/c3UsD3I+fRHY578cX/xJkb0MGfy7s47BpUZUazvOl7OS1Kp/fQwvxlmT9RwPceh2w2PVdrMd1Q3C8oPKsLtYZAUZsihIAko4Pd8BSQHjhpn2VAI6ZCArW/qRdt9lKCy2/MmeB3g+PAdkt1PR0li8JpT37ezxgvt2UpnqQBZmIsi7FkvCggF9Tuf+iYwq8kbJ8P62JEh6e9khRiGZ1daLpW6RBAo4QMJjvMeziPsNc2Kp0ml13ECg2SWpHxrZD7RTmAkIlsMkS4uvDpXh0PtvC/GvtbYs+FPp2h8419BuTOugvKKMGOuWMDuBpyMajbxU6gr9FXXiG7bgIADDOlksLZ+udUeH38mouH9Rfh+Gs8EC9Xrs/7Vszw3z8IluZ5uKOdosJKf7z3d1batf7NP9OzQI9kXI1widcooZT1tTp6f3TTQt2TUybXCatwd36XoDgCvCCxYhijpOajJ0cNyokl0DllcXNnRUmqNUiyCKp4zIvfnucI27n9nRjnWgqfFsZSc1HBZvbYhw6wi8cqwELrK7lB3kjXX2YnqPA9KilxVbnZeRVVCvMQwSldvCcOWvkrH8LaFoZKSRU7C72PlUQZh7aD/pcOM7DRY4cSbkmi0iEIBJ+fBa9b0dZA3vlfJCpv1P8OmplsLuOSs6H+w1SZSpQN201wzQb2gcJWjgjvdGIBoKxmFB5lnQb6cF45y1wJ+OdwwMrG5OHusFSuVx9p3rCD0PstHu9UjuBQqqJWYtX43TT3wD9dAoHVJ/5vmwxayM+Bx83atGRlBG64LnKY196nanzSXgYV+Y+kftfVuUoMI1lvPqxIMYXvYjiKoKjVP2oTzSkZtpRpzOcIV3xiyJrUh6UTZaKx/9bPtzNTZYSkYbq62Zb2FgmKkxCZ1Plea+oUL+vUh4nxw55p2GMYgUlERKRbX6mhCoNUmzKo2ve/dFZTAkdmKinP579upWoJy82lShmHungpfELd+BBtAq7k8hxjzxWpYnHAXOIf6/z/OlEM1hU+42sTOAPjibQ8Rg2MqyNMOSlMRE6y8vtsIMuSoMaktMIbmrbaLUMUEt5kRkBcd4b2lKSiVaCto5JIhf5Vtwisoyjqpm5/qNSmzJ0Z6ZKhVzyF721I+2JYqNLIiHkV7Y7akNZFUdXzpk8OiXSmM+KwqS7aVdXt/uuKO4JpyZ8JIHVuoOI1JtpBIJhS1b0kIoUgLkexx9Q3ylsocO9IBqVLXKOwyZX+XcNXlJmMV0mtNSzf0bQVVCszbs5kTi9ZBNudBxwuiWQ+/1Q9S9F0XD/AXzPwTGBZ5qywVffQ4sqHkr6lVPvFz5cG+I149LSKauojkveKGP2ew/cd2lZ3h+UryCrUJcD7yAVwB5Gsc2ozlEMkjEGF8hxdcF3JO9kcC997ii5Pzcw0gqjfKfxK0p+NPJGfzR5O4bErwVYoChJkXZTr1iyE3R2osPnimTR7VkhNnz49CHdZR3cJD6x4czuVZkN+bD6Loh0R/PiPjnyUT8GQS7omeMiRUsZ172MAdlv4CHrN2N/pmg77vG864rvDQbXRRtZsads36qc8p4pB82LMyTLYISAjxo4Fb8HMTQAEXBUWXs1NGgWJlX9703Y+ZgYrrEBjqXMhHuA8nErXb8cLkinRterVgaGMr5K0HZdDik/MpAQwWqjsMD7E/Hq8QNmsgpdP/9mvJZZ6XnPIKFqbrXfwiGodCOaJpmIcEa4oY1HxItGs/h8H0yI6XGQFcMPGiQJ6ID3s2doaDqs3hEQP9P+O6YUsBo4lr7zILUTpSG7pzOcisLlQ1sQUDR42aAt8Wj0tbe2lyMKuc13E4DqIWwqJFSM8yQ1MPhE544nacecYj5kIrlFMZOdRbvm2VTsEcQgSodlFcSOyCw+FsVt8Qn+rLvyIV+iAZpaqjtMiSdF52z1HOpg2htetQAlqyHbtnIN+/ZXN/8LsoD/4V4SPHj4WW41Dswkopep5/NX+Y7uMdlo+qG0anc5kXnZ52hAACzfpDldAwXUkOfzdoSOJnuXkzJRJI+VtBxcwbIpYOqIVIFo8fK8Hr+uif0lhpMkxOLaA3Y/IqgZ+fnD0I18ExffFZ70zYXDkfYYSNJOhJDCvz/XsvMYjkygrHWCGsiKgiUtTznsvjq4tHjBFFtx9LMIgaA3B26EE7UYvu7uQq8PFCCvJqEOBthkZ2/tVL6R17Ys69unIAScuW4xB4j8RVkwXuxfWrHSVoezGl6Xb7J2oLoRYK3qe8vOJxXu4T4uAtQahNnhsjDJvvgtRICwt2ZlbUPBxqOUkKy5qA54w+0FNx9NxVPxuqeTyRyf82aR1zeWNiLhsRhTqsfiHwjPwl/ADnkMcGhSa77lynb2oCXw/TP8u8zmNdNUgrEY6UitWpANDrSU2xrzOAa3aPwUSrca+EDmFq8a01O2zm5IBTmIYK6JVt127W2BKSzLhu1uJb7Q8xoJ6uAbm6re1hjkHybKMYZe8A7EXCoDql/RdspgKmUCEsNkiGQMbs+Y2/TsTlT6qRz2vISNbk7sIjIS35NxzK0bMTYHCxJt7urEjLRdMUOtxJPg3vRC9NAMtsperSBie3vJj2mQKxvE8DhSJKT4wr02cfJhsFDTcO8IiDsshBJo3+IowtkIpjnCTtwrQV4h4Wf80o8daeJ8Romj7y+SrICA6A9l2ISgNOykXMOE10QP5Qlc4ApX2nvqDOhPF+GoLi1RoBQ36WbtO0oGTyjlbxEHl3AEiOEnSmjEtl6JbMpjpdml/5VutZevkmy091Xk6Q3VuQ4XCrELyD3eqo8gqtiQESjG/trwVFt9aesc1MYT8p08THk6CXQGRfWPezjvDwF5jzh33nXFVocE4XgOC7vY0P3hxWwqH5L4r8gxh2p93ggsYDcY4hZJswjtoCahi1pDyAQgmUaMHIbM3ZH9cBLXeMjE6Cp26LBadtx54EgliXGno58fvO7tgkDA8jgOAT2IB6r4rs+kaFGoC7O+B16sVcSjY73RKRjpKE9p45U8kJbf3EsaB9SDCWwNnuINssTvcTVrdH5reiBMEMbLQGY6XMlgZlFYBq+zn7tHofLk3tWxGqR+TZeWYgXACFVVPu9F06cOsHrMRcUABwDyM45E0RgVeAvXHmSmvClPhI5fyqbN/uuyj2k1/8ODRNKIBbnhDsonQ29vauKQna4Hi/D5m4pkI6e4U4+Hh35KYw3YIq6QGB2k2IeVJJiVSy6G1ZhMd8uO0xQmAZMv6znxsesZVB7gu7ipzn2l6ttTMTwqK7EEEl0mVperR8t2T/uYqg73F2P1FHYxpXcc6Uym+2IsKboXbPu9HX7MvRsjAnofyL+pWsa5+YlrHcJ7depMXcqQctibMTriIpyUnwxlEWyrkbQYiddoJ+T2/LAJ2F1QYHw/VFatmBz1krA9L0prWQinz2PCMuzbO72YdNiFI3ht6gpY0qhgg/l2pIe/tfgj54wMN2F5Dm2Oa/i0Jc4ORAtnYinRzfYS+nomrcwFlBviYB53Siqorf7aN7b7Q/GC37iE5JgYXoj+cY7X78NqL4zysqJOyFgoKEfVnj1mHhdM/zpLI9xuFuctUFQsC3ESgWBAUpJil48dgG1V1X3iC6Zfmj9nkSO4PpUGrF8ipUtND7F2lf8TovCql/t6om8cFzTXwcym45uuj6OuaQrUoYjPApgxNe0FBROSr9D+7+cNsqCszNutoFD/uyWND+oEngFlVJkeEFMiKI5ySP9WJChNf5jvLR3PxAWz3JHIWF0JUCEfGrPpm6fyBbaQR62yZgJd3S+TuKkuEyEiCpDK3urncPCd7mNv/2qN4zkntGe+XNSHmgJ8CKxcFlLWmG5M6tRMNNADobSyFLlW+wS30zacDV/P2yrc1CaqtnjBB4q/QPN0abdHU0Y8hIn6P7f0Ss2N6hJXrWR5qfQNCIi0f5XHhTtAf26q2hYgJHT5I7TNK0H9NIRdD4QhY7BdmvStwhShAi+L9dx02uQwnb6E3w2rpAyFJln1iLrugwrM99fp+ce8eoIW0jXuFfE0I6g3wqzKYFIKV3u6RQ3NyB7caQRkRmEDUdJ18pXTDoAa+XJtoNulDM7DBPxqL5KbgANKhnDQFLWL7bkKwMmfIRlfdG2kX7mEAA7A/XUfVnZ+rOCKeVhkW9JG7Rzz12fBpAteTs1lTOdxmGSDIFVVW9xViavJgsXF3BawposY2OGblLJ9+NBW8x758zeW2qPvEcmRZFM7timeehWxgN73i/pfEEhMIA6Do1JDlFF0cZ+D1zMb/m9Iz/FWfoLc8/7adgXe/cpvfkUr70tkxomygXx2MyvbsaHqtkYdbtc+gwX+raBW+RaGMk/4BDQXH5ctPMirtWVN9FM1MDl12idmHSwwE5BseI794qNj7FXEj4eWr29kLIqigyJKq3Lq0uV31pdS06+UG+2xRu2KOEca8vl5Tm4glUycgekgEHetJPUk3lnpNeG520K9TE8/6dxEABb2+pi5O1JF8k4xSAs297XD09y3lqfuBHhOlc0bITct+/p0FB/h4zFfn51LMAONQGiHDTYqJya/ijetW1aCl3zhQqyh6Wubsefrrulz4ZAVwhni/SDD8T8f8OfFAd4Az1WfRxNMOBcwtEuBt21ggVqgocC2oIeFjXf4uYLEWprM3DSiUt3dxo9YC7psPMpwUFj95JEpsZJudNmT+c0FOPojdCQnLjxERngZEwv/FV6bbunMrzpy3dY2JDBVxKaTcTFzUesk2DEHmYg/5jFY8RoOZhPZo1pS86MAqUmVz7sJb6lSZGxnXnvBD5n/LpdW58FQwymJys1ON/L874rswa17eoL8KyU4vNv+AjsErgYOrV9E9yaoFB2q6u8XgIDdO/o2jqvzAfhJDBgRMaAbjJ/2IPiiaLCuHQAy0mrJfKXVMJXJIUjI6mXnrv7v6Zkj6d3XwwQLuaPue2tnbTfGlDh+N003+F6fUq9u6UuCyfmGPa/kBtIG5mJBf5wWY4wv7mJWqUgZxWpQxjMlFroyBZXDm0xpYVp+w01uxWv30kK3gL9LY+21bum2fUZTX6v15XYV">
            <a:extLst>
              <a:ext uri="{FF2B5EF4-FFF2-40B4-BE49-F238E27FC236}">
                <a16:creationId xmlns:a16="http://schemas.microsoft.com/office/drawing/2014/main" id="{86D5AF29-A5EF-452D-AAA9-345F40E6CAA5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4333984" y="2400361"/>
            <a:ext cx="3552914" cy="3886297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9AC8D80-C0CF-4716-99FF-FC7267BCA8AE}"/>
              </a:ext>
            </a:extLst>
          </p:cNvPr>
          <p:cNvSpPr/>
          <p:nvPr/>
        </p:nvSpPr>
        <p:spPr bwMode="gray">
          <a:xfrm>
            <a:off x="340601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is the main reason that it has decreased? Please rank up to 3 reas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9BC8B6B-7EB3-4ECC-96CF-C12D2B42995B}"/>
              </a:ext>
            </a:extLst>
          </p:cNvPr>
          <p:cNvSpPr/>
          <p:nvPr/>
        </p:nvSpPr>
        <p:spPr bwMode="gray">
          <a:xfrm>
            <a:off x="8367895" y="1675281"/>
            <a:ext cx="3483504" cy="622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is the main reason that it has increased? Please rank up to 3 reasons.</a:t>
            </a:r>
          </a:p>
        </p:txBody>
      </p:sp>
      <p:sp>
        <p:nvSpPr>
          <p:cNvPr id="69" name="btfpNotesBox117783">
            <a:extLst>
              <a:ext uri="{FF2B5EF4-FFF2-40B4-BE49-F238E27FC236}">
                <a16:creationId xmlns:a16="http://schemas.microsoft.com/office/drawing/2014/main" id="{ACDEC463-332A-4F5A-A05F-4CE14AA8759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74" name="btfpStatusSticker988396">
            <a:extLst>
              <a:ext uri="{FF2B5EF4-FFF2-40B4-BE49-F238E27FC236}">
                <a16:creationId xmlns:a16="http://schemas.microsoft.com/office/drawing/2014/main" id="{966E797A-A9B9-4ECC-8A5D-98E5FA1F733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75" name="btfpStatusStickerText988396">
              <a:extLst>
                <a:ext uri="{FF2B5EF4-FFF2-40B4-BE49-F238E27FC236}">
                  <a16:creationId xmlns:a16="http://schemas.microsoft.com/office/drawing/2014/main" id="{6077F564-FDDF-46AF-AB99-5EBC7F68B79F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76" name="btfpStatusStickerLine988396">
              <a:extLst>
                <a:ext uri="{FF2B5EF4-FFF2-40B4-BE49-F238E27FC236}">
                  <a16:creationId xmlns:a16="http://schemas.microsoft.com/office/drawing/2014/main" id="{757D0054-6E42-4630-B469-77E6785191B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RunningAgenda1Level698603">
            <a:extLst>
              <a:ext uri="{FF2B5EF4-FFF2-40B4-BE49-F238E27FC236}">
                <a16:creationId xmlns:a16="http://schemas.microsoft.com/office/drawing/2014/main" id="{585358CB-4624-4D18-AB9B-BE513861459F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944429"/>
            <a:ext cx="2670823" cy="257442"/>
            <a:chOff x="0" y="876300"/>
            <a:chExt cx="2670823" cy="257442"/>
          </a:xfrm>
        </p:grpSpPr>
        <p:sp>
          <p:nvSpPr>
            <p:cNvPr id="14" name="btfpRunningAgenda1LevelBarLeft698603">
              <a:extLst>
                <a:ext uri="{FF2B5EF4-FFF2-40B4-BE49-F238E27FC236}">
                  <a16:creationId xmlns:a16="http://schemas.microsoft.com/office/drawing/2014/main" id="{65DAD944-819D-4461-9FC7-AE0752EEF192}"/>
                </a:ext>
              </a:extLst>
            </p:cNvPr>
            <p:cNvSpPr/>
            <p:nvPr/>
          </p:nvSpPr>
          <p:spPr bwMode="gray">
            <a:xfrm>
              <a:off x="0" y="876300"/>
              <a:ext cx="2670823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423687 w 1423687"/>
                <a:gd name="connsiteY0" fmla="*/ 0 h 257442"/>
                <a:gd name="connsiteX1" fmla="*/ 1048365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0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752304 w 1752304"/>
                <a:gd name="connsiteY0" fmla="*/ 0 h 257442"/>
                <a:gd name="connsiteX1" fmla="*/ 1537281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0 w 1752304"/>
                <a:gd name="connsiteY3" fmla="*/ 0 h 257442"/>
                <a:gd name="connsiteX0" fmla="*/ 2013592 w 2013592"/>
                <a:gd name="connsiteY0" fmla="*/ 0 h 257442"/>
                <a:gd name="connsiteX1" fmla="*/ 1697582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1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173892 w 2173892"/>
                <a:gd name="connsiteY0" fmla="*/ 0 h 257442"/>
                <a:gd name="connsiteX1" fmla="*/ 19588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334192 w 2334192"/>
                <a:gd name="connsiteY0" fmla="*/ 0 h 257442"/>
                <a:gd name="connsiteX1" fmla="*/ 21191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502508 w 2502508"/>
                <a:gd name="connsiteY0" fmla="*/ 0 h 257442"/>
                <a:gd name="connsiteX1" fmla="*/ 2279471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3 w 2670823"/>
                <a:gd name="connsiteY0" fmla="*/ 0 h 257442"/>
                <a:gd name="connsiteX1" fmla="*/ 2447787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0 w 267082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0823" h="257442">
                  <a:moveTo>
                    <a:pt x="2670823" y="0"/>
                  </a:moveTo>
                  <a:lnTo>
                    <a:pt x="261610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tfpRunningAgenda1LevelTextLeft698603">
              <a:extLst>
                <a:ext uri="{FF2B5EF4-FFF2-40B4-BE49-F238E27FC236}">
                  <a16:creationId xmlns:a16="http://schemas.microsoft.com/office/drawing/2014/main" id="{B04CE98E-B14D-46E9-93D4-2060D0DB30A8}"/>
                </a:ext>
              </a:extLst>
            </p:cNvPr>
            <p:cNvSpPr txBox="1"/>
            <p:nvPr/>
          </p:nvSpPr>
          <p:spPr bwMode="gray">
            <a:xfrm>
              <a:off x="0" y="876300"/>
              <a:ext cx="261610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pend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752496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tfpColumnIndicatorGroup2">
            <a:extLst>
              <a:ext uri="{FF2B5EF4-FFF2-40B4-BE49-F238E27FC236}">
                <a16:creationId xmlns:a16="http://schemas.microsoft.com/office/drawing/2014/main" id="{66EC1F27-87EC-4754-B402-21AFB9E197A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5" name="btfpColumnGapBlocker858819">
              <a:extLst>
                <a:ext uri="{FF2B5EF4-FFF2-40B4-BE49-F238E27FC236}">
                  <a16:creationId xmlns:a16="http://schemas.microsoft.com/office/drawing/2014/main" id="{9911E1DE-8109-4B6A-8918-593BF41E986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3" name="btfpColumnGapBlocker409007">
              <a:extLst>
                <a:ext uri="{FF2B5EF4-FFF2-40B4-BE49-F238E27FC236}">
                  <a16:creationId xmlns:a16="http://schemas.microsoft.com/office/drawing/2014/main" id="{605B0702-715D-476B-9E86-6D8EFDA7A1E3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btfpColumnIndicator724704">
              <a:extLst>
                <a:ext uri="{FF2B5EF4-FFF2-40B4-BE49-F238E27FC236}">
                  <a16:creationId xmlns:a16="http://schemas.microsoft.com/office/drawing/2014/main" id="{26AEC3DC-B3D7-405B-9FCB-1301D6A7F5D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272052">
              <a:extLst>
                <a:ext uri="{FF2B5EF4-FFF2-40B4-BE49-F238E27FC236}">
                  <a16:creationId xmlns:a16="http://schemas.microsoft.com/office/drawing/2014/main" id="{D9CE523A-B35F-47D5-9184-117F0646F1C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btfpColumnGapBlocker742188">
              <a:extLst>
                <a:ext uri="{FF2B5EF4-FFF2-40B4-BE49-F238E27FC236}">
                  <a16:creationId xmlns:a16="http://schemas.microsoft.com/office/drawing/2014/main" id="{D25A039F-A93D-4770-BC0E-6ADC418D10C3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861634">
              <a:extLst>
                <a:ext uri="{FF2B5EF4-FFF2-40B4-BE49-F238E27FC236}">
                  <a16:creationId xmlns:a16="http://schemas.microsoft.com/office/drawing/2014/main" id="{E10722C8-31CC-4F88-8E1C-7F4EF5C1374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119643">
              <a:extLst>
                <a:ext uri="{FF2B5EF4-FFF2-40B4-BE49-F238E27FC236}">
                  <a16:creationId xmlns:a16="http://schemas.microsoft.com/office/drawing/2014/main" id="{73E75473-44E1-48EF-9E4D-90946DFA512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190574">
              <a:extLst>
                <a:ext uri="{FF2B5EF4-FFF2-40B4-BE49-F238E27FC236}">
                  <a16:creationId xmlns:a16="http://schemas.microsoft.com/office/drawing/2014/main" id="{0CDB9FF5-A0A1-45C9-ACEB-FE627D38E62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500353">
              <a:extLst>
                <a:ext uri="{FF2B5EF4-FFF2-40B4-BE49-F238E27FC236}">
                  <a16:creationId xmlns:a16="http://schemas.microsoft.com/office/drawing/2014/main" id="{D3F764E9-EC8D-4038-8384-99E6993E0C6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463553">
              <a:extLst>
                <a:ext uri="{FF2B5EF4-FFF2-40B4-BE49-F238E27FC236}">
                  <a16:creationId xmlns:a16="http://schemas.microsoft.com/office/drawing/2014/main" id="{2786FC54-D6D8-49EA-B3C8-843EE376B0E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btfpColumnIndicatorGroup1">
            <a:extLst>
              <a:ext uri="{FF2B5EF4-FFF2-40B4-BE49-F238E27FC236}">
                <a16:creationId xmlns:a16="http://schemas.microsoft.com/office/drawing/2014/main" id="{4330F381-546D-48AE-B6EF-DFBDD113D85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4" name="btfpColumnGapBlocker861845">
              <a:extLst>
                <a:ext uri="{FF2B5EF4-FFF2-40B4-BE49-F238E27FC236}">
                  <a16:creationId xmlns:a16="http://schemas.microsoft.com/office/drawing/2014/main" id="{E4C7EC0F-FA1B-419F-9B41-B112B697993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2" name="btfpColumnGapBlocker512431">
              <a:extLst>
                <a:ext uri="{FF2B5EF4-FFF2-40B4-BE49-F238E27FC236}">
                  <a16:creationId xmlns:a16="http://schemas.microsoft.com/office/drawing/2014/main" id="{FEA046A9-3142-4019-8BD0-1D1A4FE89296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0" name="btfpColumnIndicator856211">
              <a:extLst>
                <a:ext uri="{FF2B5EF4-FFF2-40B4-BE49-F238E27FC236}">
                  <a16:creationId xmlns:a16="http://schemas.microsoft.com/office/drawing/2014/main" id="{370FAA8C-67C7-4279-B34D-AEE8921BDC7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btfpColumnIndicator146887">
              <a:extLst>
                <a:ext uri="{FF2B5EF4-FFF2-40B4-BE49-F238E27FC236}">
                  <a16:creationId xmlns:a16="http://schemas.microsoft.com/office/drawing/2014/main" id="{C99AA3E9-08D4-45EB-A5B3-0FE1EC9D138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btfpColumnGapBlocker555807">
              <a:extLst>
                <a:ext uri="{FF2B5EF4-FFF2-40B4-BE49-F238E27FC236}">
                  <a16:creationId xmlns:a16="http://schemas.microsoft.com/office/drawing/2014/main" id="{7DD3C9AB-2C0B-4411-8DB8-B8A223B0FE09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789138">
              <a:extLst>
                <a:ext uri="{FF2B5EF4-FFF2-40B4-BE49-F238E27FC236}">
                  <a16:creationId xmlns:a16="http://schemas.microsoft.com/office/drawing/2014/main" id="{EAD870B4-E85F-426C-848E-599AE8E5251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400645">
              <a:extLst>
                <a:ext uri="{FF2B5EF4-FFF2-40B4-BE49-F238E27FC236}">
                  <a16:creationId xmlns:a16="http://schemas.microsoft.com/office/drawing/2014/main" id="{876EA474-EDC7-4C7F-A0D8-EDA42BD8BE5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694273">
              <a:extLst>
                <a:ext uri="{FF2B5EF4-FFF2-40B4-BE49-F238E27FC236}">
                  <a16:creationId xmlns:a16="http://schemas.microsoft.com/office/drawing/2014/main" id="{746C0C2D-0FD7-4ACE-B51A-C6D40C8785E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778826">
              <a:extLst>
                <a:ext uri="{FF2B5EF4-FFF2-40B4-BE49-F238E27FC236}">
                  <a16:creationId xmlns:a16="http://schemas.microsoft.com/office/drawing/2014/main" id="{96604423-AF35-46E4-BA82-5D93E7121E1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285842">
              <a:extLst>
                <a:ext uri="{FF2B5EF4-FFF2-40B4-BE49-F238E27FC236}">
                  <a16:creationId xmlns:a16="http://schemas.microsoft.com/office/drawing/2014/main" id="{0FCC0350-7D42-4A84-B509-D40EE3BF6F6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Share of wallet: </a:t>
            </a:r>
            <a:r>
              <a:rPr lang="en-GB"/>
              <a:t>Weighted SOW</a:t>
            </a:r>
          </a:p>
        </p:txBody>
      </p:sp>
      <p:sp>
        <p:nvSpPr>
          <p:cNvPr id="15" name="BainBulletsConfiguration" hidden="1"/>
          <p:cNvSpPr txBox="1"/>
          <p:nvPr/>
        </p:nvSpPr>
        <p:spPr>
          <a:xfrm>
            <a:off x="1625649" y="11700"/>
            <a:ext cx="8190403" cy="107722"/>
          </a:xfrm>
          <a:prstGeom prst="rect">
            <a:avLst/>
          </a:prstGeom>
          <a:noFill/>
        </p:spPr>
        <p:txBody>
          <a:bodyPr vert="horz" wrap="square" lIns="42122" rIns="42122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_84 22_84</a:t>
            </a:r>
          </a:p>
        </p:txBody>
      </p:sp>
      <p:grpSp>
        <p:nvGrpSpPr>
          <p:cNvPr id="25" name="btfpStatusSticker779683"/>
          <p:cNvGrpSpPr/>
          <p:nvPr>
            <p:custDataLst>
              <p:tags r:id="rId2"/>
            </p:custDataLst>
          </p:nvPr>
        </p:nvGrpSpPr>
        <p:grpSpPr>
          <a:xfrm>
            <a:off x="10100356" y="955344"/>
            <a:ext cx="1761444" cy="235611"/>
            <a:chOff x="10100356" y="955344"/>
            <a:chExt cx="1761444" cy="235611"/>
          </a:xfrm>
        </p:grpSpPr>
        <p:sp>
          <p:nvSpPr>
            <p:cNvPr id="27" name="btfpStatusStickerText779683"/>
            <p:cNvSpPr txBox="1"/>
            <p:nvPr/>
          </p:nvSpPr>
          <p:spPr bwMode="gray">
            <a:xfrm>
              <a:off x="10100356" y="955344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1" name="btfpStatusStickerLine779683"/>
            <p:cNvCxnSpPr/>
            <p:nvPr/>
          </p:nvCxnSpPr>
          <p:spPr bwMode="gray">
            <a:xfrm rot="720000">
              <a:off x="10100356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pj7DiqHdpHyk2684AqaUNICkKw/ukvfeZFZRgKaV9IfusyUVNJoMCkFkY1tz0JZyEehTbhL3LLc1ET302wlfxvzzEFmIZVMMnhFWnqJCO6R/ChcNfRKmcYJqpkl8NmlMAFKGk/uhQrwN/bJUKid/zQJ1I1z6W4geKqLRz78TVxFTWvLUOrW03JiakyBzd3bmINSJblrp9dUzZ8HmrBbreFLlRASLVY8hk+aLPsh+jOXaOe0KHejGK2uhKPgoWmvCg83GXcLAkKRmhcRiNux6PmdwKA10A4cqzH/T5FBx49bH1BPIWksQQbwk32Kko2lMy17EanQiga58jLQCz/RM5C/z4hR2BegGHD/Vc2vqnqCHF3501+lm7h3+nreWrRfpn0TPihPW2Z2ZtWUlNgVhEm0NewuEkjWnyaRE85rVeuRTaZVUeFYcplrom1957LFCnCtRbLf0jC5hug2SkuNUSLXmrHUE0a7QLLE/admPiruLTH4G/vWK3thCg+6+FOgwSmpN1hp6PYwwG7MbNA210MhGYZm4wrf7RW5RnXmaUYt5y0d4hQVoRst5DudFM5DsAPIVFKZk2CdufA3mmMZXuIvomMz+o6U4yi1pNPyjmHeQanOcr0dpJ3mPWbAT9NQNL9DOUtP8gGjht3SwhYqaq3AJvimUM2J2x6AC26tBr3FwtHEzAYLQo5LYEft/90bYmRlJEiU3mYrORHSQwYrhXnS2CbFfl3IQCLX+vXn1UgeNY25900nB0Tt5pKcUJnObGvh3g1NIb+qwDD5hW5SdASWaePOccT7FWkA59VsD7LJjnXv9h5ysT1cDehW4vSXh9z6ZPJuJgEsEUfyqI7FAf6C0shomf1Hu59zc4gG6dzdgh6llyGXHhXLC1f7Zq9V1zSC/CnkPn5DHmKkgw71teFgXBm+4PB/gw9UqwxlATPRzhf7Q00rN7qUwnAFDnKi2Olz+aL05lEMjvj8Gip0YUVeHKjLgx2CNbgWqwtUBajC1ez4t/DfNn4UwK3T30Vp9QTJSmWLWmhtLA4wiNLWvUBVp4cDqoyYcbKOgP6UFcWLJKlx16OGWMW/XN/eUn1YzOGThlMKHZPlj1/ho4bRorEbCT+jobKyTfTPhoGN/qEFMSPPL/MKyheopRI8qyZDGW17JyVP9s+xj0GjKSoncWX19quAZ1kJ/mKWKCyyVJkYu5xJ2YhQk5ycvocrrBmMLLG7VPZZZKJnTcGsrg1ynKudwml1kFxAv+ujd/6SFfhI6TiXQzZZPUUTDnRN72dFuaUGT0GD80vyKyyYCxocSXuq3bA8LuBJN4aNlpskTBHFtI5Fx1irJW9KqsUBkhFDkmVtW97HJE9C+tWyx4djOzrdalYLQYALm1lkgagqP0YdAEeF4oKpwtqEcbbW1N5Da/SAx7QwLioVKVSoSWUZeqiHNuNZww5qdPBmcdPuIPCte71q9rJOUHte0l2qVJHb9P6KyrRN19dp83s8cM/uA7SFzDq0aqNQzZhX0Vj8D8+xF7H7YbNPc5HThthCKMmS9uFO0vpgFou1Mng6zXZnNnWiIxDhDNAAdt/oGZDogxtuNKtQ/QdtPzcl5FRjTvAIAmkLvhAlRGZ2GPXV7labEV09mVHWmnyB2yp6Z4bclFIHfZlBLfW26Olwy+NtYeoyasZvt1wALBkn5aJeO8sR1bQtoRhaLuFR+r7X6HP0IC9aYwrT7FcHSx7Zv+C+oNlJo3onAe53HjGc+wVwj5b98bxozWv13keLwyRpHWyZyQN9KpMJpXFN3z6K6vknaWO9b9Yy/qzWj3J5PgFZMC21i9/+7sN/pKgD5DC6zkCjNFXYY4GDPjXQJFi3xFV1dDW6xUIEMkVUQIbQKbGrI7xw3QjWiQl6uwKbHp6tvZ0rj4o2nOQY0W8f1DfmzqnD/oS//3lU4tgcl9Zb1ne5xO7UNLaDnIGtr2lWOUL6kwL0kxCP06isjNvwZgAMi3/jjucUmNH6phHUKrutiasiFNrSFnOtsJqk3QacBOFSa6pmqmHmyf8tLvcGodRvOb3uAb7TmN7q6v3HSRz79DoEXPpMhar84uUkNIlbQ0+9tdbzfSV0ZfQ2QaEvZU1GJ9FzF1SXKaAFem210yQVGSoHcD1OZiqtOcsjLkuGpPaSVTIEUZmspCUgdmW7eFX/vXvUPLBGQFExxCkV0eouBiKv8XvIFe1T0IF7nM8ReqyHm0ojNYeeW/2w294QrG1KtDByTZAFrRc8G9vXu6x2XshFBR48c1xK2Cq0bKSH3nRavLacV5W58pEbEUOaTOxhIWeo/7FSWzWZO5D87Aqfl/XlAC50Vla88HzW2WPbnaxAtEd1WdpZL6whSmp/h9GAYJRTjgQoFhxt7iS0jbub7xdRvAwWsonpUQvgiXoJPO65xpSRiEFO+1H00ISM/0UxupNF4cq216nSBrMMZYjsPKI6l3sYShtcK8fZLV23SomfcodIgzXRvYm09Dgbs7swz/azZuyKfWBOGAUGd3rt8o2RyxfZc02V+Max/7jTnnkqdAQ1RFvbpVnKqq6KKGv5lKoZIbFkWj3uLCI98XL3ziXf1VUlckYdkr7Yj/xtwbM6UvMNNJDSnJP9tRhIpxIfFZY5O4dyg3KR5BYAhd9BUW3mKduOvxj95avucTBqT3ZqQn1mPqC3wcJYvGJAuulbZOEt1fIqKnK4sa8Ln31xSbRl3TligdZKSTtw2VYDijrCWx0s4DZjbFq+Wk8p1hwMuyA4kVx+mtpDyBYom7lZnz+luW717hb/pZ0uyJXqTel9+X5GkQsch7281cVMzCdUoz1ocKTIM8vFHIgdzblAPI8I+JAGl/gbclIgRhqNIFRlgMayfCW3+h/z1Sof+SKMp5JG2azS3ZFC6N8nLBbE+AhxKRgQoCVvvHbXKkLQvZfTca4TdYRWaLLIms/1pzqbKMI3MhEFVvkwIg5rI40cI9oTi79kX+IQTZkxp1T81zSd/DBshO/gxl/rUBqftFbh+BDxsn75xjNvMQYYTl9LefpawYVxEf1Q2Q/SIat/yICymkjfDKCbHD5csbLceCwmqYj/51ccSBElO2ygUp9PEu3ko+L7QYEDGmi6KQQUDPlD2BG027iSJXO+MvpcR3pbFBxYpmxqIOnBJOnp3iuzDa1pFAbR+PRXLPus3XMQf2hwRqY62yoWx+s4b2V7Mfl/KmD3Rl3M92ZenR4jXYyjv+zljOQuw3Lb/ULjwI/E7OFMwn9kMAjykpfpfiSg0VFY+AzrFF20UzJSqHs2tEVxdSpzQg1tz+T3FrzPJ1uprRY3nZlVlIGxIYB5nTNv6wl9+UiYlZA+JUeSZh4aCWeT//yIQ8dH3ci28LDrVmjsrtJ5WT6iOufSpHuxtP2t7Jf/tFvvFrPF7G3NOHYg+TCnbHKcAYZhRWZKB1cWfJp9yirs3N7+09VcrrgmL6KnaB6lCIRwhDjrDh6Tvmx0u2BSwkAVMVJXQUJamkbTEATUAcJcqq7sogzwMSPN2+08vmMRpgnKRzb1st/K7h1WBqH2TQOq+2LSGmO8HbutrMMi3sleIWuBc3LMvwoKDkZXSAOEt1gK4EWa2W3EBJKXNl9r805rfFt8UmbFvMZCnGF18S9AUTw6a1/kqeAlSrw3Hvll/+mUExC2nUJyQTcTaBdtlqH7xwmHINXfedRw7Biq9Dz2hB8FH4Y3p97C4UsMi1rLovpmLgLl3XP/b3B3BIi8NJjyuJK65yBAMDcl30i8g87WPqeDR5xexX5mO6iSt0yxA7w6mUiLESUlcA6Fzm0uJNl3Zx496qPsX+yrihRa6/6XfcLYfngyYctH/PtzUHdODKy94QNo2ius2NWao9kxJ7a8JgiDW80412LnMCvn6TrZTz01Zpo8ChYUBPuGF6aDbcQxujHPxcqmh4DetxseXWblFdJZr/QrU2URt61fmD5Pl6cVMNailNMQCS/Ek6GiUXnfH/bhQwQ8ppZB1X7IczmDI2zeUVNhxHK34g9Hd2Asp4z+8vZpstMgZacvsClS4JNCNgbriu9hxOgG8+ntvC98/bY29yMLCJiAy883Z1GpaPXgcjZxiZjLD2SHbLuG6cK4B7KzvbTdwd+vNBqiewcGC4SXUvlJKMJpMMFy7cAcd3Yb2quMLYEmGmjZ6Bb/unrNdKD8HROdYD2VUwvxoRkRabNgMA9rUm+v1aKfXlzGDdu2gIBeomcu9qaZRp51yX+R9/dgE+PtindKcGR852ob+96kAsCDvuCt6Mdc9NLo8apqBlzzqS0Ml8ScEje/U8crpp7JCVkNBFocSaFJ1UfYEAavmgDdk9VxzL5gU0i82wEH4E6uYgPPVBi/PqZksGEn7vIFB5lDyMFl6MslzzBTyGxt/TmMYjgMUTrgYkUJgAEEnwx1vCL8g2+z1UgaLF28bqWe4ZLhqgkruByDzBZ9RXQoEsR5dNQsNKkb7k91U9Dt3EKps3BSvQX+B0ZI4laniQcLJu698spmTqE+ml0wqhuc3iB/kv2NExybtqeP98beqPdzEPXcrWFuWE1OpX0Ac77Ieabye/oaPGIO5Mmc4KFJivyh9X0hOQlYaOKnoVbyLhWKZ9IaizzTdbgnL+S+keBpJLfLAOhBnKhUVkaN+PtaQigh9mr7Ufzt6zsimbz98xno1fV9HV+O/tAABYC24ItD3zzvf+Lvhqfzt9SOSR1xNFeThqKdqE7n13rABfSAiKL49rHxgmfy87lF+PrMdTmx+NWsWTic4mtQ754ajQ+pWgdw4ajvDhI9XrxlVGXs5OzugpGOcRhOZp6IenGJxGjQAkoeYB319R/qwZdu1ja+crZT03F0CqWnHYq3wy78FRbaPrIXGjtE34JhdzL91Ibu7fe9breRJkcxTGkxoPsp4qAsTbZcO4BaI3kBClAKiyzjp/vXzzTHPTEd/Ds4vwu1vFr41j3EOBXaErIIL+olct24ZQqNIjJKRY64TVDUQO/slU3S7EVcrXZuCmt6IlquqO8Hsz8qtwLLBwagDtQBALHrUMjPf27CuHCDcajv82/0DLUvOXz9HJPD38DKu9CNoKHG//Dno0N97wDU70doqYtbfCZjFrxcKavjqHKWKzl1oHTaWK4HTRamTje5VbBjsxtq5OcCTEZo9b3OyegRq4tTVu755DBgYsFKjJY+czuGJj2c+tfi8X7U/G7rL4kP076VWX8/3hrdc1jt4HIgtOHsRRRtZ+5XyncChuAnrzc1shg+LXpkqizXafhqv5OXSFAGni+LJnFp9apuFiRNw+xBsJDBJhUHx3AAl5Zcx32LiXjUM7/6dvT60JnOpu2djPtN59zbSe5eVKk5ATY013xMuMfFyFUOGJvDCao6kag4FGrl0rCZww43ZrZY1lGzL7i95AiP4VoaaYnpCBfoxU0RWjvdyTwDTOpuZyh57kNDQ09CeW+h/cRUtRU8b1xcM1sh+psT90ryqgch4RFFdt8rkYzF9nEe0Z7tObEDENwI8o2OV/zQnbUXJsiAeEM3eISURNjpuHPmC0ZrmrDCwblYL1CeqG26OBgAYHtGhJ/3l6GsZQDOCfbvGEFui4rHaM6loiogkMYXu6E4uje+PQGyyaylexh9z6f/rdsaM/zdYx4KHw/t4maa8XQSk/jFqUOUIfMVRAHcMDNgIfd0tpvyot9sxfTRoZ+02yaD3+zlXvBNgqQzIU56j4OE1r8MLvo946Tax8CtqO0qg91iipcxRJ0d78pptQRjMX4+6Ma0nqST8AHl2BDUOo/xfkQHYMpfilCR6eOiDGX/LNKEg62fKRWKpFxGZUhgXz9jC2yfGwaC8J017Nf4BRIosq+XxB6n9A1eQNFt+TpbW6BFzXDSmkZEWYEyWCn/F7AhMxL0A5DvkHhuiA6r63thqSwWiIXxbGzPnzw3mTsiAfDTtwIBr3r5RgrOs2acwWwGORBV4CEABNMhcpTVSjLMibT1x2/fi3pjeX7kh1w+Zx3ljqlXl8dWu8/o7q6bNJhV+gurFWq7fwJaG9Pgaa+FvT/rZpxIPy35HMPIpa6o0vmYfIUhM8dVAk4L9YXHwV5ahYQCEJtUsAU8GsU20Hy9RqvvNsg3ZZfXPWsMs/MYnkkxMVCCLouC9mT9JV0yVz5AUiu8xex0uh9UV1YAf7pqDm5o6hXAsZTZdyz3IM/8/W/Ulj8UGetjS9nghegqArj9QYtLBFmgimk8+lc41PpOouPoQZmRAJEJuA/uBghrbkhsB6MY8oNR8NW2pQP4fYKvFaht0cGm8rb6CYPt+U3hHUISVKWEWu8ykChPavan9/wY2J49fJNRaJAPweDyr1bGh/ExX1GCC4plJVrB33+EAxM9N+dDhssvXsfJPQcSOsJJLeaIoExN5bhDtuI4tOwnZf37qC9/h1VJgQktW26BXxD0qRiNba9WGUvzm4eiX70upc2dzV3WtP9uEf7utbznJh1Pme9y/GpfdDatJXQrTJG/pbeZO6lHbVYZe7eMBX5c/pF93WcxpEodhvIblkPnVKmFeMnGIpglbh6tLWd0IsD8Uw3ku7xUMBbdIgH+v8QpFoNKdSDYhpuNZUqffGwAkrYCRehjp9nsF3rgYBgv4RGg2PihME/F0YFvVPEjcX4fsX2m/+506kwKD6O+zunuQsmN+2r9GQvYU97GpJC5jy+nQgef9nRnRX2eoOjRdNic6j+xLl1F8Nvv+qnwarjidl03HgfCa3wNezTABrjMAqdRUD3bShkSefuo9gqPO0m+iiOrbHXWH6ppos6mmAtonrVscjzP4KChTYDAX7BIr5lsXRt63n4xz/M70X++pgDNKDA6i3SQFJGqB2od5ln9tNHvkVExP7X3GGH3JSkozyORANfnyHbzkSihY6iK44lGoN585ePUVhk3/j2/Bj6k6mFVJJOsNou+5rILNwsWjyyPCmUtwBDJPbwXpz4UBUZKGbnhJFDJmPMtJ1se/IHXQUc6MhVxSIjSaFgfhoepMsjgDP3bsSLMc1TGQ0ddQCxw80Nry6dej5qop7YXZgAcspCmwypQXuMLzk7Wzbz+rrA/ZmSslpzEO4MoKqWv/MJMRQnRZPB55K+ZlE/yavQkdgniXTIAopFHiKcK1f4ONbTNjzhsAq/Eo2B8x8H5v4PuKOQpavtAAdlsNt8QEAob1pEEI4lHuzmZ85LAtfRh9/Zn1gHkt5lwU9zqZJLa4ejmK1YSOSi3u2Dm2tZCss+tcCP9A8jjktu8DZd1RF1LkhRX0d8VYvgcAUP5X8eZrhcPIkO1jCGPvguTd5P412QsH5JGl4zbtI972zoIepI9/hs50gldXH3lWt4M1pLvIyUZMKMwiabWbFI9d9A9zDpHZ9/yoaRe9pK1+q0dCNrk6Fp51/jtBPBaRgN+TxGwTpLdmIoCoIa09IJqbw8gRBrkDQEJdja5N7qlTczHfkF6ldoZWa2xWrEuzarSNe90+thIFvFaW43P2b00jqPQcXODRRf9XY+m2bJetF1WSDUq05uqn2bnQ9ATdR3PI9WoygpKV/hAFuFP0us5SegtPDRLvZcdY8CiJxPtfT1hM132ui6TDHvdjg3CUXOSCm8e1WgKFRalomqlBh1cAQiqt8idsy2j3gsomS/oC7zFUcx1ikUIWy+ZEifhfYSRZJ3iWvktiwggoI5T/WTGPzYLT51NZPJ3gHQnMfwVRLws/wFLMVwV+mQ+HVImxI0LY0013pjlU9Ts+NEfInLtN51lVrQTk9hSod4/32Le5XfFr1mipuDzoAdGavTkkg4ni36EwLuakNGaElIs5E8zrKGxZaIb4Sn+iQrq7r5DSw26fJnm0NLkaNZDOLrwFM58lVM+HFdWqiU5bKh0C/Qrdy6qeLIULaPcSBejBzkXKwJc5fZ2OizcVdktfPDs/P3r6zU+nCH+dSdY67Q0sNzYEkSnVXfp5r3RloMwJEL1PIoDW1/MPsOApR22pG/fgtEghvVmhN9OYxhDSqphc5QDNubY7UbeoSF6m0iTI1If1bLT5U6os7E8Aiqzxc08ziq8lZlXQhno+yGHXk8trdMNZvDBvY0ZFBYUdutFTZAlkFoDf5tZ8UQ1Q7Kv+tidbzWqMz+cl4UmUla/jzRzoBAH8IVeK2k9xlnljfRBgV6V4zgXjlLM6vTYZPwoFVXHyYld+fdaUI3+tO9rMz1cKURr0s/uB6lN5mbIvS9v86JUd6KNLlfyCbpq5rwybnyLztBdxSZ4osyDKRG4fF6a5Zb2L1SyiQIlX1afss89He+IncE7RkeCkVUZo6E4nXRwLPbPKV9xXS+5Mro0oVlAN5N0lRW9aohoXuScza4ifpC5SE3B8VGgQGyADJHLlr5luz/lsR1w/6UU1MKzjp2H6fXfr37+duVxnWaxJJcsIPSJcBjWQ0vRubVoN46a0fk7PLu9vOMVW2iXDUgoh1bq7hGryhvhtWkNe6tTWzekZy4Jk02rgFf5OPbgOARfisA7PicWXtXfLI7og8qxmWPWXtNff73M4UKm2hfG5Y/Y6C2YLXL7kEjdcjJnf36okGJQZKclV2vBKltMBQoo12AFxiG03Wfs9HO0ngr+miSSwoU9Fo0ks5oXRLQ+DawWbox++PPL0AUeeBaYMtasSHTqAYo1WzEkC/LdDqgHKGUxXA9qdWT135tCx5jo8W8jctdb8980VFBh+UmN3/U5olRzw2ckyaS/Hiw5R6BS9PONRrkej7f3V6CwUk927tbj9wCJ6amegJBaAEj1IdFPQ0ZpnLVJXhsggkNp7peuQm13AgRN9H952TKpgzLB2ef2ySI2v06dVUylphMFTfRI2PUb4LOnV2yxC8zc5y1SGDpS+xZSOjyNHxhNGt4ztXTikFgPa0PaOR/d8PwNKoHQsHn/YPZ1JAcosPJyhdCnc+XLJNT6QMv3ZRa9J/Kevrgi/IUYLI+XZPWgH3/EVf9ni+awUsRyUPIpLhmS7A+Mjh45h5y/sEvAvXsS0vdIYmOPbYv5w1bNz4NbAaIhGCK4l53BAEaDcHnrfg4TGA//a/qCyE3WUbVzTPDd3Qst04IXYS54z1BP7zpZDZmGgZIzkBUExQ4XcjtB5cbPJe+I1VdaLde6KylOdOR2STHrujDfvq3BHUzSKajoiHZmD7tgoLt5ryepBEkY8THX2dlKOztW1ShrFqNhMEmV/yoZkFMUXRQyaaIasqYmzSXpcwz+P9xDdUiMB25wr2tV5q5LMHQeMUV5D+9fzfLHl/QiHuA4KtGU7bdtE9XgrignoMHKHDYErzwNzG0k7ubTLC4bQzL7kDAmA83RLTDQqJpxUHnXbmXP2RI4jxw7SkCeoaeVduuj8+qQ1XZuja80HyS5o7+Da+mUEEGCzv3SZJAIW2obl92znup8qBUUikNaTblt5jDUt0UdEam+Jc+3DBzoAB8TNHRuH+mi84wQNNJ8URQ7+hjHAov9jM1O/O9wtNi/qahqjsTtGBuemM9ZKd7bwQGqJg5uMln/YVuLWn+9ZxLxZDSye3KZj5KUw1hcA60g+QfjZWrdoIQDA2VTfcQvfnVR9Q+Apn/eahDRcHEj9uFn9NCQC2GbRB+Ls30rBt/q7cs3HRLj2GhG1bNkCtlu/VdZ0M4H5e6TIteTcbzx5ZWJW45aISb0qpf+SeMpDP9kCOiA4p+uEhgeMMMrJhV2LZHUMN4tZI/chjKUyI0GM+cJCM+vMa7ZxdExcSgmm7h1RtPM1Q6h4VwkNFbFa519MSJ5/XYbT+xMWlELo3OIMCpMCQn/4m/R4lsJ1dpRiYsd7RJ0UQp0NA8e6VxC2I6nJLYoRGt9xxEYG4BFmehqY9gzn6qboeFxdp3vK4r78qf/OG0LRqNrDFfECOVdJsRC62Z1j6CCJ4jFUbAjHMekvIb31+pS5QVY9YENIjxJkDq4/czPtlG+YjcRdkF68aTx4debtzZkffbPLspnj9gcWj7z+gwAUZSzzUEgZF5MT5fuCHlZNhckC+n2csxhC3wfBXWo4tlmZPYebAjcImk0Hk5lzwxZmNZ3RaAnLA3gjkJdXvH2aIqdWkjUBRkFf0JqxRzhubI8AeJrvsARFdMWYJ1Q9Xc6/YukpriDhFGvFuSYPZEUho0aZBliBccQHKHs/vR3k81F0woIG+IXVG+bE/8lwsX8KILsVRgZMZcfTewznS2Ee/5Y9E3qgTY4MqzayrMTNwFcZz5XB7mbdSdeDApPpYzcz+8w5uPbepAp2tqG5VFCKUdyWym1euI4mlrht0uDmN8rlWflOndBv58wWMLqQazm4Rsy/Vke2vGFceqf8F3SFwVOv9xWb3V/S6pFVU/Ihrg89945TYu+khz3xb5ovhPh/Fbk3esRPvfpCMlfXa/7Qrj2zGbkBt3QkkLCLV1QUc1r2Q14OrFtu0kCR5feAT4IszSchk7OJXeNMSBaIGtiy1Ungxsmw5UKhu6fb4Be0qeo3WD+CLhkT951QCrVM8+wbKv6EztY1JaXPSg1lSpemEhv7VFjv8zCKH8BB9VMgifpB+/undmmr3+/YU1Bx/WqM5skc+HuQaHXbjyKXLYPoUFoSyaA4oCc+LWXo2FvWQLK9+egxeg1ZWTY1u9rwm/qOtlTtH2t9j3yfkZP3pfagv6Ud1S47Gb9qB7b67gcChlfR15PA+bpErlrVfCAjt/wD6fyXjPQHJhpfiKl1E8xYyshdZB3xOn56204viYtYQ5lrBRlF3ryOYWohk+8D7mA35PT58A4TzT6tEybZ8bnvEtGmPrpKZRAEsB31C7bTcaYTG5cluVfKNhO1XfbhTpW4G/DKJd4k61E/iuMJNPpTsVXJ2CmBJgujpwqh1ShCEdvEubSVg5XCkKSy5anXkksMmwe+sk6xfmKauBtwfgaPSIpjchpYNmVb3nzDmfQ7331ynvG6Ue5ztdDy4V9uW7uW2Y+gDALMP+c61PPOs0I2SuwkeBomAOT96SAWY62YDawcamV2hj+bZhbLv0qx43snEvRORQvQ1639Jb0BX588vHfhmm2MXrzRT5vpQtvlwu6/by3AxbC+FqSVPA1mApoDYLnCUF7F5JgmwMLX/WaOJ+VxL6ugvey55W9tH3v8aOABqxNxPZMWaaqyclJTDUey900nKZCmOTnyaYgNIXBzW0m26fi8c8Dsts+3NMLKeF/KwdOuE7F+c+d3yQNFVzPuzke2EXhnhXegzgfNXGuZqTXGY04wr5/TMdE9nyo8OHsvl3so4sEhCh6lTWGofonp6O2K/MeKL30rNzg3e/Mf5uq54MRReAb7gxrvU69coAjSW22dWiRq6GPSW0QUYUQ4TtRlqTau7c2xayDDxFRrHyIpPiDcbv/OmHkQduCxHXK9c/YUOlQ69AdH1vhJUGU+7xGXiNShi1Duucazqndv2mS3X4sL4VsjJ2+yLLth8J1xCOr3v6ygZCc9f6KdUJpd4cvuiP5qtwYvmY0eF6fKuXlooOMrsdcriXgXo5O3vLCzZBTGs1Joms3Y5jpfZVOAS8r1p60WDif5dTqIk8xQYNLBu/Ul5ZI5KnjUOr8g5MbyA7WKgIt/h3V+AeLrBgsOjRbRq+Nc9JN6Yla63JrlOhOP/XnSGCrJfc2eDZrdph5Pk5iQ0vgVKC23F3QkM+r7o2Gvo+2REs2FInZYPbgJuyB6KJnmcI+eBMb+VKDh5IBVdKaaDljKvIJyfuekMpvx9YIMQjFInqqEwzQX4ZBozCsrm4pxWOE27dK+8o2oSxVL9nW2bbokWXQVKa3tLKly6wuPb5gBdZajhSEPv0/yS7N6HodVDe2yN4W1Dtg9QtPeLrTZ262NygjB/EzUBOgprGmjwuucnS6n2G7TxTTvw7UQKYpIB6d4cf0vz0DMEHqFhoj+qCodwdjYjzjAPSV2FgY6GrtNzMsCuiUKPyWEBbT61dt7vuyHMGiYOnsMTI90BH7gC5R2Fju5qzvBy9dTVfbjwevRSNH99slXm+3ahmkb9+KS58+WYmVNQS/b+uTNr+tWyi2FfsYUY6tWmOQ0MLLIvZNF/tmi6+Kw5fmKxeCeOC9xCvy3enwHJPJW7TZ1kLmg201TT6QWagy71dfP1/DgRxxaAWQ1c2VNwXJYcWyZuERMMsbZjDENNj/BvpFq7AMGLdi1JasYjy3g6PSOPMJj7+F3rPEjiljb4xufX1o9J/wD9gzRhh4qj3VSeoL/x0BYSNVZvnjVZRg2RH2f7h+rEEkPu/nhQXyvkNTo7RNQzZVjStQLTTt5Cn8V8uDaWwm/itNZyRsc3KMQ8pbFRajvJ58YTxg3nN9nHHxiz/L2pcKB0vrDQnhEivJhNolXy4jGuMk8vM5uJcxHZ8eeE2IElwWq4Ezy2P3+A2MuMtuvUgtciEtrWnqVZXwp8UcZ9yguhmYZo1oqPrQjUPyhZ+BVyyGCGw0wzxoDbb82HJYdCh8Oe8DMpDzxmVj1P2kpvKIpI1zQTn+Fc+dhtgP+yyP+Jo4QmvuJqR7Q+aTi91dDKa1pGQc/Mwr1TpdK6wW394d0pL3opDv5omdxE2V0+R+mNIk5YuGaJ9WJUh5CBb3cvLhqWeyVAR/HZSYInpRmXX7M7rkZ8rebkin5P2FgGKL9v4PtE1wpHq22VUYuer7r6ll777nUJauTRo/UbJUQIvds+Hg7bmNmsz4ecc254S+1DJU+wj8SCQIRdp7uhCNH9BKBnShATArFfSL4RSoouFbLHldk+FSQR0wkUx/byARLlmHhCLjaq8PJAA5Xxbvcv2+mc6R1u/sjeDcX+0wHzMuU9j/MrutEIkWpwKvF9YKvA0s8WHjzIsyaK5EPF28CU8T+aZKxJ4ZbfYhf+wH0iSXlSmv6K0/mXnUk3F85/2u2Uy9ZtKPAMNaPrSz2acZovKJJfBOBP88qRTcKXRTbxraamjUUWFJVfuHoCmU8y9hF538G+Xs7Jg18O0xGn2z1QWVhg8TmMQKizi9/pqIcrD+nwYMaQMXXkWQ5Aogo18pxSgFW8nRgutfKN+xU+vNeerNIiQlXSl9zanF1hYQ5QA0W7FjLG2Cs/y+GTsOopZJHvgNoZ2iFEnkcl1tucXZ7+zDUlWrLV5Rk+VcPN8lqGXqDnT1UHxgBYHMflLaM3RbEG/8ISRh2LeyLx6jxtL327j3xhXE3Fdrao/iqx94mLYWnuHVGqsqhR1ZOHPNAmxhexPjWlli4PIiIzYnWb7s4jLh/x5K7nBxyEAtxxuikv5PyEnhRoJFd8G9Ybu/rXLnBrFNTG1o6swrQEcG/YgH5dXk6gfTDf9rFXAJ48zgYZHX+5wSfeHIHln4ezxSjeMu91+4s1hyUP1oc1bIh9gATdhaqSYG74FAPeYycAAftNDTqt+kNJ0LcjAS9Hc9u7jl1cfe9wIca6gzHZzm8zW2pLWZuvj+206d7a5+B/6sK/2fHmRXwqgFo7Qw+TpLLmud2AXeaVK7C2RM+hE3ZAJR6p1q62iYaYgB1lOxJnVn4ap4sgu1c0YfJLQYh9EPGuYrVHWy0HMAWuepUt97xtQ5xh9Z6XkRSUpiHM+H7nwEfXVGrAxFo7lv/DzTvdHfEBMnUuVbiVkjlE6h7uv+Q2sqHY2QdS/9bMCn5V7ESXfLA4UIoaVFTNIfjm7iRC3zmg0hOBqzuZxZ6fTVbiDLB13ncTwR4jmtxetuIedXcyJnbLo5HnNPTAjz+AaZdJ1hYvE/aaW60kZ+a2WY1mlro3zd3jNrWnHsykC4jyUoa0WqixyZIrD3uLi2oODsj8Byu93YFKmozSnghVMK8b95qKwFzuVPlRiWkcmxdChuzuKI0fkHZ8xHN1XVaGEQwzal3kty7mvPLwnpJIoE3kK5WaSuldKzBVA4jcYA6IcR22tBsACx4Ciu2vjb5K6+mzZtObbN0EfKodCkgl9+B2y0ETEyKsCZyxIiQHYsvvRFSEmIwf6WXOZDR9o9CGyKnAj8k4v69l1RomsTiAZft96HM7Y5uTEREPI9/Qw6puw8sba7j2FAcbiem3zvbSodKgmoWZmNHeV3F96+T8ThoQ3eUoQY01Q2Pgb20izgr7yeke0cS2mBFa/aZ7f8dEARbCnKJHuyYYvGjvOvJitt5Xr9G2v6CPLUu6X+YAVsRaFfa5n5uZjMZExli4WqePfeG/wb/Y4449n4YYtaIGu3C+A73ChQDgPkTOCAAQJ7ftxx1cnYCgiBAihu1BslkcRU0rKJr+OTrBM/uzuZEW1QynizphNBbdBON9Jm03+2O9hpYnZ08z8i0RJRCpyww5TWr3HLujePq9zpgqerGjUonLkqXzzy7xq01AQa0U6UBhes9yjkNKKkVjEg3tmiq69QHAji+jtM+QslpDhkU5Gp49lD0Xys2eYyK2z6DohGSfvjsXQujvdEuvWNtPc3fk94WSTTSqPb4RRNTIxr4b4uHoRsaqGbkoyifLRU68GCf9qjAaxAuao8bi90vDhVLGvwjVBAubzxes0TZMBC71QLbvEEa/2NnGyuUCjFbETmjCC5La6JFr7wj0VNWHIWQSkNxOu3MRROixRNgvstwTOlNIDdzHtNFve69+KHkGpQlGV3wv8TNdwAL8a0ls3UHGBlORXeOxyhisRqC/jK1Qi2bH+7Vw5xGmKTPREMAjWwcvyRkr7oYY0a8NrnaYKtZRw18s5Huby0YjuryfcWJe5b3Xj1wuaA7HR2k6wc45Xd18M2NB5z2W72skn2zvy8B+dBlVCDfgr+AtVNSHNtRJ5lQudC46BBV3geoh92CPUoveubO3ww+inYFPOJR5kmPFe9lyB7U8JLUg0TaelY6tf9TPnjS7KrZOzJf24KnhCXk2M8HtUlH2ZtaqxuxLSjodzZ/cruZpIKwvOtY09MdOUNfILn3CssRHTtHhijjQCnLFAPWU5j6N+9w0uM8YDim+lL7TMLRQbaDdWKvXSHnkDlJ4ZzFs7VRTD0lv5VoKgLDQsMRsSJYELqv8H/MO8BPGsxxhRj7zfHE+gIgF1VHYpbNQEoJ3MzZwQYeuL8Xw31D/2LF2W3mrywf2QrQQpr4n4k7QaVaOoC6nuelovFlZmk0k6jcPfhtmjBl7j/bl49H/4al9X3KSVKBh2o/VF/K6wqDJIy6PRV9A6JNDNv/UAP+rIWBJyi2ETzEEabQSfqE77E+e2g6kct6D7NzQrFFVPz1H77MKuzn/OQq0NU7mVVoURvykzZLfrAbUugl1XEHcdt+rmLzbWGbSmIAaoK8ioBcTsgGOIRARM6yNj9ETcLZtf+iXxyA1zETY6OqRAewC+WyiundRdcguq2xOdWq/wc2uq4x0SzXNf/EQS7SQzc+/Z9qtk8O0E157zO5RhdkLZ3skl2Kkcg8JZyhp0LG60eJFiUfcVJmzADtM++jCP1tk729KQUlwMc+OD3jDw0tn49z95k2bo8SD5aDExc2b5bAyavPT9VRUkPIfjrs9k0egNIFZ1UjRsOAy7uiMnBJP3N4uTyfOujdGmRYt9qNVygIecSfn08igqykCLZredBzmJ3SQPSt299IPQc1KiGNuDmFRMI3lX9B86eY80SLFFphCXoDtXndMsR9ZlkTSb3QrFE0PxUu2EjEbZjWIO4yfC0DqA4Hp2N6SqSNZZGJnF9MEv58w4RcW21cYQQ8SvzUTGLCIWlt/8MZsNfJENG6SWRt9DAEYEF2djRz3VyogooPgf5YSM77bngykblHXGCLxQYpSSnDOl8QWpxBRemOYguo9MLymxtSpATpuo9Nvz/BMh7YIbolvzOrqw/DtXPXxs50lygXNYgxaW+wIOyTfsE6uTDWu4m8afpzPwi7Xvqwbdw4vQ+ekOGQ9jDInQyaIJ8EK/YewAG7lto7UT9ulAuT3yNJjV3UmYV5j7a3vDAxonbjR2w2aislr9dfVWz6yyyxZkFNKkidw/MAYMPYC75MuVgMIXZQnPo7/KrGzHqonursZsnqsF8VQuoW6L6JEHEa/suh23Te0Ci+g/fj2gbx31QRI/t2eHNi9zfVkO2RxacIrSi6SgFG1xAx3KpBlAVAFsH80XLKmMWBzo3yFea1zGMoMl0wecly7v/1ZXCoiPBTDdOwwiWYgL7d2+WdqdUsoRMcLaxMXE46EFvRE7tzQUkBAp46HlyVSwIV3QMlbv+OjDhb/m341yYg6p2ycVjjRrA3Crd5RvWgspoigyx16hpt9VMla1xDAOMxl/QJWKXLYjaCYbUKOXchtS0iVI0XCNGKwQINxDlQWE+Wyoi9wbffUaTDKl0Tw5XGxgCc32PROOblgoJZk+xoDFTDoOUBEhnQQmZ+6xtg/yPLakvFh6ST+gXHQQ3PldUgShwoIpK18VTa7V4iZqQTZ4rSWS0OOOJrZJ7Hrp6uy6PheUG/kzoOsDgFEJ1xc2UG/Bv1/Rbc5sAqEtoJWvlcF/VwwHNTiNSMpAMaDHfXTXIK8RyiXtAfqZd1Yh8FSAGyhZMyg0LvoSTRwLJkZOuaHZv0OmnwScQdTVWkwO2KoIC6HA6c8c6Qw8MZ8xm289AMSxNwwBzwu2uzw+kWuu1pkEHAELF9CZV54ZppfGJKefPiMZuphDZcTOPOjACLk6/By4zBIDGgEaLe/62oPmOCzmqjwjxnuLGD59vNeQi/loGckwLbJIn3dZpp5P1XGX7URKsllOanldQpIOPY9W2sVXZngHz+zZoGgZRdMPJsCLVMIoP8BeX/9xTJl3ew2pkZs2p+WLydDS9LqpEeV1yt7lTe7uNSxCrpAM99LhwW72dwhluvcWglIYJUmgpuA2S/NU9vjXBLRna8TpmLppWPvZbwa+Gf6cpJtAr9jrnp5UtWtHl//wCNvazgnhaRilR8P7O/gD9Qn64otZUIOlfUdqg7ArYUjaN+GTq5gieDUySNOVmHEeKUVp/ZyE5P4KSBPim833OEvwklCJeTxIydTbh1jM+W6Gsbte/TTfEkSgbE5SrPtZVduQvxHcYjMuNppb3nqTGa6O5Hc8yRZvw/K8xEuWwLZV9O15Ult22nMKGDPDGV2ruaRUG/i3FmXLjdJ8j0Oq/8wbkE/Ei1FLyIrSPnStzBPbr01o8CDKzdtConybyPNbcIB/fyd5m1+5IUwc5jMG0RetfJFpNajl2vT1oYodyPyigdixolQocogW9YKqFVVEq8pDqZu++vZB4XMBRBqKJAgkVbyYJ9y49LMTMs8dth3q+lJJ/yZnpxDwHHKXH1HHSJhyzVLd/4vgK7QB8lTpiCgk5yYYqDHNgoNqVXNGTDqTBIwvD2ankFA0Xw0qUFQtww+i8LJJSu6cbJMSwbO0hbgMl/TDKk9q0NDmzb3qipnNtjUAEjdWC2nBgCmGvDojc7r5yJWfXTtfSRO8tqdM4pdoM0Jj2lPj51BTH5+jdZhVJ7a4rbwS0Y/JIuErpRKN4mjxC9ULYXHmyHz3LQhP/W1Ew7nw8FpE4OFQ8lYCTihhRvkYcejrZX/9cvna+4mWtN1ChIMiwgu7C6ZJfxBPDEvMCDxZHcHzAQN2nBMIpKqfKTakROpmyZcd7iBqsNDLKuqdMnYAXyo6PFYcWsdj+Es7mVI57xpEFSqdBMu5X8pVnWQ1NRXyR6yrH8QcD4cibzqBnf8v72RltNIfWZfi2CQgLXj1jUYK3brodX7RZowtxsrXQV9z71W/OjEMqHDDmzn74wMwBXUoykOyZ6iWCKPGKjacwTAQYTymnpNZ6wPTV5Yixkk/zFMbNSy5kXjWdpEGy8mcYJvdIEo35/rbVha09vn0LJHUHi6H/3jo6l5Bc8l29tnVVbmggRDob40/aqELOhR3CfTkeJjaBdRUnbIAOjMuQTjKT4d0AoKnDxHKTrgYyz3SUUzhUVM3lsvnG/gSw4NrjBOOUsJPUbrvVps1HDcAfp5CRjwZ5FqWQ9QkfEE6HpJKU+Q+0IBcEk45tnVNYObvRKAjFjx271jnxB2mAG1y1y6T+2MnmKUwMabpCMwfO8AA1PFU5Rn2iQ26Iow/gF0vFgKpf6UiHp5ZR70wXmfMumIBjyPuvIXNzaP3iJxKTblb+bob2G0d4fXEpFcTuw+VwgaeDRfFh+VmQdN3XFwj3s/zw1tY7paIpaEvWGMM/6s6K0dvJSQ/A+mV92dBlgPuaE17hJakc8GsTTzZ65s0yQBP//UX9RvWS0Vw3p50cEGOhC2fDs3MdISe45pEWxcR5Wp9euR1Wbnt9Pc1+Xx5cOnUdPpBZ5u5And+G1HwTxKnc9hHuJ5nVUo3qdMOuQbXgBT2P28Dw9+H3jdX9tJWJcIhG+bT9CUBFwG0HfjvvvifzAG8RqLI9wQcTMvG1fpmF1LZqKvf3t7y3D70giHh2TCa7BEUEnoz4nkON1UQNgY9N+lGMGgyrkHN/z1JTOLVWlL8PZ1146EGOPUFvYZWKY2XBWSEsDS3dVRIcpnqvPqeHgovltF2wLx0j4/n+u0oUVWozCET8Bv7c4DH0qylxohkTp14zdC/F9qH+dAvffbDJ51uH8RbpyAi7k/oWQxIX7q3ytxxKfXSNpSZiGNDKsFFfxmM7Ngq+PX4ARBnU5ugT2tiEzsCRRhUx62LlCxieCkNSIGcJPng8/aur36f5J8SiRaLPi83NN7IkpcvC55SR+lSsNawL5II8XhtSj0sFhtRS/OzNIhvAAFuhMqKTensFCBRbBN0uVUEMuY0TFwWTf0g/oJ+1X2FUZlZDorqEq0DDsZjl04Va9mPBh8qgrJl6sshCp1jYnVtnGfZPjZXErmOu9Gc1a7ZL1cIXln9n2VfxTehXn8q4xr5Zj4p7FmnpnXqCD/NTbzvbaBw0yUxPG1C+z7lCsBwF5gLs5t+o2fimt/UVeWwIxCxbfQB38MacJ9tAFzN2a/Y9DsCULGKx1YJZ2Y7r0loX6crxKpOk+VwVxoRwZCIkXTqPdVs+kt7QYhMXdngfodxbNootJIIjbS8aXxcvSlXr+vsGJ/gZEhHgoUl4wcvghbvjaOr3VMkc41CvVxGtrGfJ8C7Aouyp9KNDHxigbAvIO2lKvl6wBvT85d4Rl0qxKxocjjzpYf08X5yZpny9+pAraC/23IbSaftUjIgYujy85ymF58liJJGxd0rt4ze/y43a9vRiq+95NXKUJDa5HyIMjABFjF0pumoCLZ5SZl/zh95wzPWukUS3DD/fECsdc5re2ThMJxNOEJNhx/wTeK3hNkp3WLqsG9EQG3zLpYDz+6ClLNKKlA45QM0Vn88REPMPu6CK6k43sstlv+WIkiFiVt+jQ6tgjn8dAcIsmsO6/5W7l5Lur/G44Z1tUyTkGT+b0TfWkt/EULSo/uYIvHiCA62Qv/Wc9OzEzS/rkvkpmu4+HXZ11fzXnUAjmyIyDnSvy6MQmei5qJXEEzKoSZL9/RmSdIze7FugO0OXw0nRJ/ds0kM8P5avlXDr2iq5NhDVBKjYgNBsIWu+wwot5uYdtdTpsMbUGA3es03DGcvk0UOfs4Y33fI3PY7VM7zufg7BeVT1xF5Eyf+QdPGVnufRk0SLMzI7xV7hHm3zff2hDaYjiGx5CLLC7A2RKHtBULZcSlBUtAAnBaKg70aDEAnyQTSGMjcJies7xpNvEBSJpCZC8OY2W2dL7rZ4fALbP9NjYCnMEu/yzaorAJcN6C1KfCqX9bdpiTKWlbA5e6BBLESYV5ckbEekjNXw3G8AqwPZhJpCUI2C4lW2NS32waVbkIw26tGXlSOFTax0B6Ej9OCknOkj1BhZCVFYajoUcv83dZ8lxHXHXl5h9CEoDKlF/ZLb3len3BLkQqSIjO69hq9T+ycteSnq2NXU/C8EmiO+rTYHFKbgwV40K3QL9tln/dyHx60uLTdOo3xuYrOkmbEMFdeiJZh9F/ZSFjzO7xVwcX2Ica9axiQraaHLhj+mr7929nZ8SK+Fe2erF9H9uAcXVAICUiqgbilav/QE+v8yzzkRj1Y1g+R6kSsBDw1HpMXxN5Nl7174lWo0OIevLwruBldDfMxpa85wOlleb6eeikok/Vqmte65kl1IAuf+AGecCZri3/sMxBkuDiDtCNZFKhBquBPEqyixkw06xDkLnHVdGP+0mL7UcQhLQkd9m246Nw/aNgzsjQ2zrReJguUsfOYrI7M1flmNHxkXXqOrkYFOl4qAy9GeFrKhPpy9FuoepEaZamlmM0nEZ192/fyPYfTo1LLy4VlbUQm9Wu6mkce0ZTjqVH6OgpM99p2thQYiMYL6CzVkG8HFNie480kkIjcJpNfJ0/pjuwCxGHWA6o93ZxIKNwW5e8nNy/5HfdxPbzI73kO4J/sWxN0LOZ+OTG40syBSnJDBcrt1CuhgjhzJXxPOkBxVTg9/ETETf3TWz91RdPNy9zujCfOS8pxBSgABFN3Fjb/1YyTrn04t8SZOgNm1moekCayZz5Ha9Y2y7+uFBD5HFD2vaNKDuFummACjr9stsx73/AE1bSdxgdLHXd6spkdK7WGiQbS9LnHQW9RmnJhR/7uGVZxWcwy/MlMd+qDUMjEHMt+KVnOEkdNNNqLNZjuPhn+TozlEINqCpIR5mMIgYc+ewqhQxZ4Qvcf3k/PaSrFedvu9CrYSqhcbruRfvsmMrbuSr0+a1R0SxMDydCo3Tqb2SkQezhtgp2zLcbcOtdnC1l0iBI5lfIO7e8KxAPZb0WpRYhTIQjlkmX8SvnZ6UCP0N0ktZtxXCuupAvW2H9CbZ93orrXjkKlFzgAfzS7UAKdwUdXghZG/yM26eEKRZHDLFSUL+lJPvFMaQSdt+HziM4hlZVJHA37lc45HbIdliTam84fsBQc/gw9A98LjSVXu6t+vLRF1NsQmKjUjOAMrz6uxP5nzECNLMv0Q4x2GbD54uUMFpPy3eZVyeOovmww9qUFyT7GRNpI9XKVKUo2Akpyum0148Ilnaeef4RqVdxDLxuC7iAYiebYV8Vj+pSohnfSD3EX7TEy8mPjFEhAMY2cqN8eTvCVuBHBouJsKGmKS7zFRoHmbbG2fRSy3b8ZbdAtL7TWWehKU+gNoNzfIfPOg7IRY88DZr5FHXlDbzSexUEYUc+BpRhvaTaqxPP65iB8DVjyOyCgg5VOd0T60Uu3YqOnCWfeR1y4Rrw4MZzAH1OKouX84zC+hKXbAlbUkCzN4sWDHemZJPfYREYrgCrstvJjogIDRLWwTuzvE3eQ0PFCH7cJHOcyRi+qhLr9tRyzvOo4uNbyJEMBP9kdKQ6N/0Wzz1scdr3GqhVJI2LnCYFrGNw2Du3NyK2UNx+29vmCC6w4V138X+C8dckWGvrn1FUKL95AvHdpOwQsUtID5rZPU3m8Ro+BszB9BOdp+8tJaOPigOiZBVaJR4n+C3zqhV1SIslrDZRMOsDZD44iKWn4Am8WhoE/uWV6OmsvzcNWpgp57o/d2kv9pz+xicNG2sa6ajlE6L1C8XUGrs5O6+k1lODtxGQIKhYx6ZcGsSpKXw5EEqSSpS9uynxytgpbxeEFp9aSfoeWMosySvgH3Go+en4sXfKLhuF22EcK/GbPV5b8iWnF9irVi/Wr9jw1ztNypfoN2efXmezluE9dDJDkt+F/J2EGZ3gzobfV2vFxmsWGQ16XI1jI13kei7dlGHMTHOLExweES8R5b5obIEQsA/sTVMiyvypT8j5amFwqycR8WFwJ4W/NubjFgQ6dDDlu9dKbklAExZoVCh4oDduOQE+yCrxYniVBdsR9ZGjl9xQLD7UVgc7C/WP0w650Lcn18NaQZ4mw6veZlGhcgNPzbKJqMWpmBfneCtxfEjUxfKoxldxpiki7SiYUBrmHCVqgmRrJ2wz88sZqGRFqZYzE7+phmRAZHRGHRNU7YaxeS52YOCrJzz7+2kmkb6fm/MQfaIy9rtribn54NXhLixq8ov8h9ZXPW2gaZiYB62o+lrrw6bXEoR8wXt1Vg8JAZFBtAykWBwHsfhC7jKsrpvHTd8HJLaQXKZlsIZB/CbjoaY3M3oC9oiefMAZFSTU5wzhSwBm0SK3wqEBhGaZTLMTJzVa9e0GX4eYZdUTx9LneG9WJ0I+PGYf1aSyGnqh7HSbV3SztJbYKYpAnmv1GLChdPOSTZrrNdAxZyOa43jYaRY45YnxFvfzMm2DIohFZtEr8vrjB5xqOv15yT+ZPsp+vLX2dUQhL2ofeuwAcTM6NaxNcmQSwkg0jCXfphgXXsMkSXnQDu9MTWLjRpvPdlv/YBxppIvhz7NrJnl1IWnZ9vm02EHf8SeCtO1FxgsEsXo5ci9vWe4diagOyqpOvdZtP1/4+8tv58+v4Vf5VB+duTjD5swnvvH1oygoatKn3asZh0Tc3+eMZraDZDobKQ9fTc8YvQokriBfDuCKJTEDv9bRheZz+oHVEyLaL9aOdpKSvHuhEt9Xua4IVONZnZkTZBXswk3DllaLeIS/1hljr8JtTbGUztBdil2LVxBaPxIsWbZTTwSaUjjjSLC+1sytYQPMV4Gnyc3WN/3/F5zs9W+xfenO2ZHzQJiEMZvldrP/mPbuoEvfrN5v5jomdctFDaEck9hwr7zfDK98Ax/3YPV4vANEn4QFhu6a+wOUs9+ih5CZgVcHTenQAru8w73F+pKEFWwzRGdN5gIVUJw0sKJttAWlY9i/DmGaN5YvsFRaRvux2NECmlqksnSJwOeZEIXe2OFsEOHRSr7FN/QJv93RmmU2sUbEvtxoB+9/IR34EvgR98J1hQ4WEi4AfBZY5b07qPY/B8FJxy3WLuWuTPO5wJSAAVvSNy0MhF60igyfSH2J8fUHN68xZGU0aBbMISa6mw2zWdB3U9krjfMnwHh4kVkfR6bURjLwjhNOb6hF64x65WnxkN7NpiEvX5SzbyqTWk2wxchZw3Wd2DiL35FBxmC6GWOHGDzZKrBlwmwGCItoNTvW4zH/+I23FWIA8UexTpfZrzAfKgX/kxSp4I/5/6SX9DcXBqhjGpY70ahBoN8FP1wMSGk8dD80Ptk92Wm/mwGnkfkESBM6wobSsVc5TttQ/yfgzRztq1blwSWfyiGGYmZtw+SRb9MsG2nOQ7zXXmT1IMeo0gm3Ya6kS7IboxhB+nmm8Bnkmu7D5xK+0YDx8sB6M5Hs2JH7NWV4ugSKyraS1gbrvb7DM7a3rj52vthurf+45T/QI9ZNUzIAbhWUd/fZtwoFGfVLdchPV+WmCKKz8y5EBVSro86S3DUNWY1BFcTnypVeWgtK0dp5jVmvhgwT/MCN1e/5ejbM7MBhmngqayrbwhyy6uN9FBgl8ySxuLxp0yI+516tX/ToxgqNfgwReWqMJlakCXJBQZoY6hPLJrkEWDm/sCWDDADdNIB3SPKhPfFbpCDd+v4SvGaTWKa84PgMdd0ROCDSDFTBsIsrFf/Hg3kHpc1gQyV6q6aCNvLYocshwYj5WivY6bp3UkPBaXpEjBqZCF9tSVyxH1juA4msJ5MpzNWEKBgpAdd+oPsj0U4WhPQVQ37I6XwCBJ0xMmMOF1qg56WaZSE4zdqcY9baMKCIfY8uPeUICw0LoM+WfgMJnEg2LWPL+mbop1jAyEkf/1TU8a0dYFWPJd4W2uL5FjW6nv2TiR0/LqpppaejyEjkZtB+3jpj1gPeNdeH7ZVHTFJxOU6EjsaNN5SkIh/iNNGt5rTPTQW8kyh5REqX+q+NaoxX32beFGAN+3kyCf7oI3beXzXRaPXyMD2q0g6bSF218FAPcyxaxWlugon0D5XoNyl8LvVswj4fEnRQlLMg5/Ld1aEQ0FA7TLPm//bOiRvaHvBSslTtF2GEhtGoqF0dVOg6m8zZz1yGkJ7qdGPYnQKnRmFQ8Fxjl4hgqsNr7yWj2NQpOj047CwA7mzutNahTJdO4hXOUFN9vTs7CUx68orwwZ5HQ+DQ2MiwRUIgV8cCFn6QDVrXVesSzbM8kxR4xXtruorGs37F1yyq3CDWvjpwSEqZ+bUpfRCN6gjXPTTIViplsFfnl5DHB+dF1V0EbeKAU8OjIbpOMVnk4ibUXxEDtwoZgA/GI9j7QcMGW5zcneOM7InVQeU5OO5hkI+YMp+aAXGbJLCZ8FsurOmRtHPtLDl6dHT4YS/o9wGCfqS+4RBAKl9TTi0sGwk+TtBrGinwc+rQgHnP6auMbBUuAn6ofQ/zs0ZA5Y8hCz+axAFyRpRKnKrE7KWIFW+Rp/3OTtFftgRgcLdnzQivino/zHLueVxL3+0jXBm+vA5+IafYYPPhYh3RHIgByXWPHIumq+0DUG6bq7o11fTxK2/k0WGDC/3OTfI56ZnMEJBMXhcpMd/GKh9r/mdWUn02ForPQMmCqv38NnsYamT4fPqbqJN1oozVboT2/HkXqEckUmri93ygCDGtTJRFAw95gyksF+QYSth73onSTYzN+vHgd5SCKmt4aKFnq0o1Hv69oB93W3qGE0soiIzBGkLvHvt7E/1MrtVKB43gJVk4X5jAPnF2nhiheGKkC5axcbKCBGjDvquRvGPKr1aYqHgIZNmrlMVDORFdKcpqLKEn8PdG5uOmJaX8gvmBC97VU39Yvu0DQCM/EXFgNSyv6wD755qcnPS9a7ZX+1tAeyqpSuUfuvDTHIx5USvysueemBQ4IIhMVLTqNyvqzL672M+/GsP4/6UeW+nFJEeVYHus7zIRufkeUNxqKwfsqyr2ISQvCFsD92h0iWJicHueCyjnCBl+KeXYcuFuyhJ9rWNu0sqfNNv96PG/bqf7GbDi+FbEiSHJnQHqq4I7KLQdSeZ1YlQ0hrqTciIbjuOSg6stqCaYEk0kqOU1ZX1wUxi6HuLpuW1uSckUEiYbpFi95JNCoEOKkes7UGW4BqHXX/S1xoXewKJdKhWbIuIJSI1dPt2c+54NVblOEWjeTinHaYu9YbkFDfJzrJtXriIogUDmhP49OSiK8y8yOmO8DwtrfmUls6fxt6R64ZSwXNiCowKWJSeAp4YEcWElHIaQbOP2H1nYRrqyVs7wK7VQJaDuWQGk9zeNGon0zQRk5y3m6C5C5FPqE4Gqh0PN1DK+NNf+ghyOFuDR07qZInOdTXrr92fe+whZnoVRPys07cs2KqgStAye7PgfaeBAgoDz+k4/+yN3ElCNaiJ2fs1iHk1xLFKy6RObbACagYjwS25P181I6JG8ofimS7TahICWGa3Vh788OrKjn4bUb+Io823+29ekIpjOCAwkX07JA39zWabkEpUMG7ZO1nG/GZCiZ/wTNk9FIxTX4aO5J5yqVIMPkvAaLVQ3GXmzHyUFFZgvMHqcJNUVPCaqMSbP79nHbqPzO2O6KWU3czbpghLObXog9vxn+XwR6tILMbI06I5dp59mqDES5FDL2T2lhQPPS4NvZYO9kGthR+UOfYQkx1nYT7O96fAd3KX2v9ivIt5ZD3r5xS/JpwLyNx0zvs+5/dfecet2EQyS2CUBUg0thlH62hbIPw4Ha+bOTvWNdPJkaE8a+Ptkfuy/vyw1X8HqEUwhC/eIdqaAecsaPwTXlOwQ3p2FvEUH9XMxUn85QbG+z5qLO5dL6ZDp78jvi3NyzKr/ghV7PxZwIPcbK/WyTkG/Z1iui5V/t/VO6o0MPH1FIJb8+dLbpnK+wmKDNijpYQ/b4eINCLb205MbWbUUn9h5idhNlJcDTgf0Ift+tS97uz1V092iKwITJKfOKB0s1fqwNf7Y/+5BV1bj0odo4nQpj2l4LwAckpa6Odt4mQL0lGaTdyPKiKMtx+px85jT2oczJF08LWBk/oAI0PwPB42t6p5keZ+WGd9fOYaK5NWOEexq6hAhlDfCBBtGH2cDDN1C18lmY16jUcwXUEZiV3PtLgKJmTs9q0W2OOBiGzgnVUBLjECqksSdEkPWNuge6adSHv7pmUfQFFliFqCHdnPzq0TELzs/Zg4dTMaYs72mTbqYf0oqBVOzO3uiLG7LNq0frOx/5QcqvZo245TQE8qsk5uFER0nu4gRw1frnePzWIrSSlh3DK2R8cwZ436SoipXar4Wts2V3nFf77LgXCuFP+4pFsgiSOXeMkJvkvl9O0Ml5nmh9bz6AkWxGy3i4NMHYf+BtohIwLls2EmxtA7+axIdJNwsf4OMF7dU9mls62832LeLRuUS+eSnXTabb9tFpOcngrvym+HVOFZ3KDsiHeWksujOu4vJBWCyZ59aykxYKPbfOACaafsayG55QQHgAIFsBSzXGNG1kI6NLZSFW30awJrb9ZkHAnUY2YKdL1ofgw42L3twAT2hJjc9LKA/34AasoHSa75fH8KidkRkYWeLxxIRuhjnuBjvLb8HeUj1hiBC7eiXSP/7paldAz43KpunZvtyAQIPNHEbTrXOjCUGWo+0zu5MJKSLmjhhJgYev158yhoe7zNyqKfgut/8cEhrat0E3betVjsCKdYCQt7GViJo47VFTk7jol2o1pONp15F2eX6fD7Y3JkdI7Z7dsPpo2+t7noG74QQ76saHBwzHOv8SHR2S8hOaGLeVYxVvzi9gDtEMB11sBIuRIinuNkG07jZghE5zdwplZDZq8Q5CD6s78JDSLlpfnnMSYsXP0o9YUCEYTyH85dqlX/TT/HRFh6akcu7Y4BRUa7+0q7+5NcTytOeK98DN449jalZJnXP1QjY1hJgqUdaGwlMv8CA0rALrUtOF4NxhGZJs7UATF1FasbKShJ4cRRO0Kq+kkDmg8bKmgzu9bEEHJZ3XFsV5EktitAIll7/tgHzCvuQnm145s0G+gcEmkiKROsbxGlUwqfDbI9OG4k7M192khekmBIma+oX2teYQ8XHCbMBVEjVkUZedyJL8lUestjfS+fhrhkTNdtGwKyRtj47Q395+fOeUPHXn0fLiv4cpK37kA6+4K9/6BHHuIsfupDELDfcLmp7RlY68IdgCGr0forej0tQJKKV3W2D0hUeqBETFpoWxkJPZ7JMKx8Dt30unCmTTRxq3jdwXXuOuyzqI6g5VK3mmd+tPnuEyZfCiIpMyYR0vYg/jXeylSHYjkxcdU6lwQzMB/7UhpD5JNaRA13NC2a4AriHcY8WoAcDvlajjZaD6yglbcmYisvEzCIUsNbifHOB7/JBGLyjVOp+hZ7iJuUQ0/xlkTnRigOQmdf+3PbDQ/d4/5bNkTYTsHfB58yPrhf0EzB9n45dFLebDpj/nrL9Te6ylPWArC91yWnP51Y6p24vNDd4xcdqU6ksUWHA3H+cRhuJ17qEGg7RgjWL9u67l3lRHuzi1Hc/mhJSdn+66TUWwzEONkpHdMwd8vZoxR7J1QBKFT+su2PZHyuetZFo1Xenm1CG1Nacsrq+0K9XlBb1zZb/PsrAn+T6IDSeOslKKuIi2o7fjWGDhHDaZTpeC88yk2CFcMx9nN6BcKUDG2DtLS6tHtz52PuljhtMoJgSUYj+4YO8NxWIarW+rK2VJX+OWZghbcmqb3EWLS937zyDGe0HJ8X9zL9GQOBEvV4x9J7g+HrafesCkRoRvnXBa/l+PyIa/1eO1W9ChpZfwKFD+zkeBYb9Fj9XU3ZJ1m+cF23adjnsofbuplG4faAXxPZTEobM0cgP541TSR+B57IC1EqDzyq/z6rD9QGh8rcXLEl+AOLKTuhH5r+XnqZxTqpqJlql67v9mZNaLEA/OJDzyCsNXeFNW6XTaKllF9queYJdLoz2BDGPrX3QsAE6dfNFcGr4ATqUqMLPggYqHbhsiKVp2MI2wcJ95xctf35JLanz0B7LFpeVIPiJEMusAXX5LE/uQKk0+PCpl5Nz46A2rL8e+H8bNdllFyszBF8LQANI6AyJEwH09v3bWzOGAglWCQfJYYzFYpwJbXU3gzSd82cujbl1ivASDRZ2qwC+DXSwz5Q388583M+McL/lq1TFZ8ANM9601OPbWrtizMNoYqPU1sfgoFnjhZTMuRKnKGu3sSlDhJadzSKo2VkLc2O0pOhZCUjuqqxtc4hBI5ILt50zWKUmyHiNQIzNQkhFjojTDg3PCTPv1c+EbPhx85+Mf5kV4YQqKdJXjHVKYKfmdEqFWWpo/CeFXOsGzAkO9WaLv1FACKJ6ZEqlo9nnDmV/ojw0fF0nXsh9hTtLQ5J357PsTQ9JxBPQRG8bYm95MWqqldoqaokLwYHG95wuEnJIab42QdpBVyDr1d525d7cs0Hvi5iodX8IjdkjzwPXnlNzqDz5rXvdTxV0MM3K6cudeeZGNxRXQV3tauNHWIkxgbct+IN/WGbBNM7GOoNZtMwI+fM6S94P+G2NNmuTQOFDdP6nhuKD+OHWWnHZ71f3nwQoTx1UzSPA/6TrHO/RaPXqyTd9J1eWTZjZmYCS4vhzNbtpG83Rmdx1VMCRW/is5UpihvSB6MXZDYm8sKgClJkreKcqQqaev7qN2+9NDnhCFiWG5PV5jpVagpM0o61amLSGCoyMXx1OJGaHcRZokTs/wyUXukTC3Vp4NeBDMBUMb5N2kCuIdA1t/rEqKQ53dPv8+qjdHD9pIci44QmQb3GAjwDmYlBEeJxiPnsh1jpq/a2hb9vP9tJB7v0naQYZMWMM44OqnEDd49ad7xn16CAlpr0t/pPP9qsk7aVSZhdv4QTQ77i0nP0eMQ6KFGFC6emw7wXhy1AX8fH2rHOIIbpNHQnNPKFSs4ulhwKqOWTR+9dwZWQtQWz8w7W1mK+A5QgRb0zoaR1AbkdVRjZOdzwjqcEsYh/7XJsqWdd/q+v9P+u2bw5OOOY1kJ/bD16J9CkAxopyJ29wW04GotSilhudDsWarpbFO7pZdvRwBpjIAUOaE7FEPHQdPDpHwfx42dE1rzKe/q/Buvjz1XohTgHEa/V0Kwc0Qeffegfj8bhij1DCXowwgqhaxYye1YOHnx60G2O2FusSeC+9nbNZg+1p7TqEIO+m2ZX62e7I/DHcUx3SLE+x1H8kL8RNidzzETaHoZoOx2axoyPmeulLpAdfT7uA+5VPKtDywk99Cq12/VeE3dAuJNHIgqU6+A5oZQqM6XU48et9yKhbDmlG4bh4ieBtuAy/XY7t/h0zN+2h0kzlOzo+4Xzn0xvTmbusaHbM2B1BDs9wnzdxaXsYGIfFL962T7wj6vg1NU0zVhzLITkWds7Bz5DZ0wlvYj8OUgqXatjx6ALwBRy8rPjVLJUnwxnr2uz63hdvUzP3RZD/Q8laUWTbdEMF/WGz8x6oIY3GVWUMxfiYkubUNi+ouLKbaiY9QXLTvodsY4DADXmhm1CQ9b+c+m6xPiuFXP7T8KKwpw9+Xi6PZBRIAPv+nJuUxfo4/0BG7vTzHkEj0JsmxkZDlxhV2ONxowVukIu1Tu1nU6z0XSHb9ac/2T16E2EagFOtyGcH2canhugT3tw4sSzJzkLWoWycNeXEttuJnlb4VB+tE9G65j+7f8a/E9WtRVgUGxrIgeIUFnxzibuqexSLhOQAKoyjz2nFFoH2dAWcFMmoo0WL6gOWCtRE49QA2+oR8WzG03aejreoRDFk/A0ii/2jJyBhM4BS7pqwEJxWqPZid02bSn7Pmq6kKiqKoKRhwzcEmwHt8DrWOP1JVe6R2ClLJkKhx7KoAFxVVyzw96dcr4gjyhI1WmJRVw+hkC5JGtkEICWHw4N9PqxqBs6j4s8z8PEMXbOVo8h8abSPZK+yG6UiQvQIVKIhb+CDmimJvsY7W9Jg1vErFix1TBZu/3j8SfW3FIoaIDFkCmN5PgcCrf49caw8XElqcbGB/zMqCO819/Yf8da9qbf1JvhWlywIZHBVAN5wI7aTgTn0nzmL+4LF7D5jmhXmjwMU6+rzY+tfw4g3PBpm2lJuzoN4xv+vJvWdl7s7Nv4TWgxjpGfuNWEdWUVps1YadBWV0kLm6jyV0OtzawXbpyUH7bwHcRa8VsjhrzumqRcNNGHgZCB7HUKABMjlYqQYg8jBNar6kBcHUkJrycuIfk+3CQCG3eqQYiKJOkW/vUoteyBlAkU8dl5n0oaO+ewrlj5/ccKqXeZjg//KCupWMdetDjwAa8OtTkRx1scjUzvUJmjyXE+47EMtvogOyRcj7NLPlvcZKmclZT5y6qNjz7cq8C1VyeuIA2kGJJ2yZTJUHCRtyQVC+yllX29knb8E46T7Ct1SM3lFhFfRuEIYf0EzCa4NKLs/xlmpaicJcoXecfQom1Q7pAwaGoy8GK4002acv0QLsqqRab/Ov2RmJsvc3mueeDL+P3IFH5PzkAw9Yv6GoNYA+TLBdLioeMd82YYzwptR6DywmcBpWjqaeJPfXuuI0s8yMN8RbwfIw4yxiVlOwHrbQX5uWGSu7AltG2P3faQt6AgzV6Ww5WH8psneUC4dR+CjkuSGkGYPbnaq73DSemqyk9N9da9yHz+/BcKTGBQ/qNAelHkyvG9hkshoaBvv7cxgxgu6O9GhdKF3pZEibVJJNLYLclPzDm9CSaYE0woEHF8K14b6FP6SOQQAEa7r4RTUQzl0Ebko8L07a6QC/8zpiqAJ4shap62iFQjVeK5FwAqr9CbCNcRt/Y96atQvdjM4xri0MIfifx70azsnD4T0GrtVn8JpFj1g9Y570aML88RYFxEE2hKpls5gJsmI5Gc7+YrhKr8iT2YKYrGNmLV8CwfnFYuRlvNtNM13GRgjgRgakzo7vY5rk7i4ISptICj3G+EH+3jy6LOpNOk0PdpwLzRPA8Fxuabov8jxxkdDiVEDnEfqBIh9GGfr7CQ8kyWcJVb2E0BIChAh0MVnvHe705j/QLv3OMheT2qU5PcRDQqrK9DEXE5J5yA0R+61WjbXeJIUNgThRK+qEkWk4Ji82XNnqY8XbWRh7l5ilgRWyiSij/n4mKDYXbjWT+KH+UDxDCepHrxFURW8/Fa1csOnZ9jroFOTwWHuFy06yXdrK/pj9dYUD9OgU7fE/YuGwvonH/lYkuzsd3rV9lrHmIcbB9AxtfP/8NUC2op+YsRbDm+fVTlkWV83ipPCXCyHJSbvc0yvzVfHYPxzJz374AuUUfQDnUaTH7dIUb9D8ekOXYUdDmUSkaiMK7HK5MescXM4NHwutYLvft5kBdaKLKVh+7V13mqUh+QQwxqROGFE3hGh64zZ2YEZlVccjqNag+5gDhZRgUwo/jTuNl+juHUF+eIJ//p4BWhupSwIt7d9t+VNlzJ9d1r5w3aLLI5BoOVEhfEb27vhWJiTNPWplnheNkTMWkkq+moYJ0D7xJ2UT8u+F8nzBWGq7dKP3LBLOAb61uB0JfKcd/J6Mz8zm4v15ct1H09vKIX5gDLItX7FErucsOBWlWiVVODo2Uje0muu4sovGMd1wBtCUrxXpRl//hceLuisTopAQe839zlGPp44eF2Pqs8bvmLPYAwYtd+55Xm/PHzfvaLm/IOXCaT3t4/T47ZzFH0m4lcFa4FAM8xYm6A/r6sTNKM5G159a32KsDnEEv8yQUeHRauFrLe9b6pHXha3FrmfeaqXiTChaXgxfzFs/ldfdBlShmpH4MmUye8yorqoNzCK0uciISJGdV8pN09SEPgC29XWJOwryyfZ5HiSj/yxcdFjSpmRnu/Fp0ZnVrnPNso0SLZZtiKx+WjG3KDEbpMGosPY5r8uKz5hLOIK71ogfiJQwuQ8+oTv7kb1AwnrU1qK5KBj25N3rqcI+A52nqxbr7ZMuogehvUb8Lvfs+tBvRZFug6tG/kWmN23AYGSlhMRA17ZZ58fyjtLhsm90tGqvNargFINqkcvQJLf83thGuHyFmmyTJeFYrQNzqLoNoO1JcFDXF3aLpZ76Muk5sVfX4j10SGwKhM2txt5748Ybd3Wa1BGPBPbsCrUqtPtp1OKzJa0Euz1JLB5eDENhvUF0fqknQjhvrxPz/U05DiZOew2Zw/eB21ywVZmfgRUOjVDWTrpc32NXISCAi6tSxAs3JPB0AkL320Yg5nMjxH8+0bj6IlnRIbifTc66OObxLTMamXKtJXJCd+JSbsUYIuQdBynwAy2PGIivneLq+UaX3lAkHOgnBkZ/5W1WzAebAqeb6ql0gL8y056jJoaZJzCqog1z1XeecMdv6geUEXf/YC0RHJbAmWtu3+DYfMqTDSI+053lqXSv3sYcrJ5B88xNzO3KRwC9uWWCIinzYNhdYld3JZr5Ik/ZyKv5Pvm5lx6SMvn3I3Kn8ry6D2bzv8z+RLuXVdpW0r/98PG/SJtI6WHYwNI4YgJSZeeqSEIqj3njRleBWhSL3aLqUHUlEGvY7XOUXCLBanPdXs0ysYjYFAPxMOp5xyCDgkslD2/rCmanfZkplhtmKZ8yVsPNjQyP+5sLvtu06HwTbPc0qyJeQ5VbR0nyvs5k2isl99VA9Bit66OVaV7IPvLxTp3yRwFCysxnDAwJOToYjimtNl372w+NrJTUR/HbLfx8aAzpWzs+MDtCOtzg11EkzktCCJeS3xB9aoADeCbXQkqnyN5akVz0PAexnt+rlYeYo7o7s6dC01xIYhO9m28MU/WZM3bQ64RYX3SArq0P2OA5ZHxhPicdGghN91GXJHByRYk7n6RGjr5aGNCdhv1d2mpmC7K8V8ukcnmbmRNz7CEc1NBHJnejYVsZR2Q+FmpRvbTX6vLo0QW1djWlegzizm9S7XEmV6mlLnVQ/svRrddJQ/g1z5vm2k/ibSu/XG3/5l/IAqfkmt7SYbeUQ8ZiVUSl6fAFgHF/+aM3CfsyHwjE74oMIY2WyZ87cDXUAOSL8piXcZUG3uxQEGX0WdfyrGrwBI6EXd5ZSxkZPaJlO+b+BUdgc1U0oRGRtBa1we/yeR/YwUq7quEOnByjmhvwYnKWBMiG+yUXKQv7aau+Ayupp/lCLI6gNv9EMM/rBczVSxASRh2zNmW1M7EFraxPkMjlVokX2kKrJg7xnEUUjw/hzqSKXbp5caocW68FwgFrQJDWNS3slRwD3tZdKqTc+Z/vjxLN9z2JLNVPqadkpks8boPRj2oRFvLyxER5T9a9wSlHdNoHccDZ4Vna7Y1VBxgTtxWQgitF+TE03MLvUqh4lagd2mwuVeiEo5jIACmhuC+ThIXcKFDi5XTBrciB9DZG0BUE6xOlQc+WJyEWNCOBA1VNe9l0HqxEOLLvcC79iq8R3v+cLEbZOqWUmzyN5QylssH0yCKiy8rqDgM3hIVMzWXqeupU7Q2IPirSzAwfHTgTJqmwNvGjODa2I/i+65HnChxilVq9ta8KE6ecFs7L34Uc+Z/qEk8ofmzMiDku3pXaDi0NggoIGtA35EE4fNiaejPzab2I/J6DvS8fK/yfQTaAUVzW7VNAKGi2SmHlyBDgFJ4wEMSGgXnowLxbu6jVmq8eYDVfv1kyDXqSZ99TTWLSQGDRn7Y4RI9k2weiEL5XABn14CjjQ5Y2EQsp6dNVDdC72ZIhaW7MkJ7nRlrb++c8ngvPHUgEyKkj2zwj+R+K9ol6lDJF+xDHtPN2IgHBIjPQRg08Be/kUItLwz9fyHMmuWdG8gt5/c9djRLgUK/fy3HtXnznJ3BKmpowK8dc9TJB8xl3C6sox6K4+TOFXR03Kz0xVhB4kqHkheBeks0PiUNrZXLS2dMOOsat/lRitgFGEwrjg+ttTJ5nrwAZ99nOW3X2MW7dAEB09VTfbKa46lRfS+nuqfinoNmg1lFhkktCadFvOwF3bD8Kj4rRgyXypse9FOb4LaE76g///+PrendhtnGkpM8ysrSanqqSkj7X3hhoNQKuWfmSrb47bksFEWnm8WaWwyqF8URGIKPMJT+mBhI/02z7FivwhsN9SUE3RJeHJPsYhpkmSmpjzFiQsMUtRdeq1NQahMwTiir7Abzu2cwHCMkj7K+CFs06MjCoNjBPh+KJkhrfQVrRq2/IJu2sV91V0WR6ssYiUXPY14gVPaz7sOEycH1P34U0reQQ1jHfZtJKxWJ37pJr05u8v/DeyRXZxFfa0vC24pd5a0BhC+QmcHFApAhjtagUR5EW+lidLO2ieVrEsGTutRtMhNIK44zpAXN67kfXYtDMKR+Is6DmqvTeXFUVF3WZj8HqUfpzzdJMDUWyD+URr8mwy8ixWURRl+BFp373b6BWgA476T7KG+a12Y2BUa8PTaaIIaln3+ASPpiJ5yoGQhTz2GtambcAa3YdRVlwGDuW/Pk2mOwccaoVtHe6zK1tdvvDDz0S8eiCQSWhER7OnSsDPDQZuiklDGawed6kR6myIecb1rnJRL8ikuikWlLVZbUIZP1NHfVpNbmN5m22xnz1FMlmy7ntj0wHr58tL131DJneDgEip65KXY9L6Tt6pOvd+H9qgvtMoT4HbIr6yrnq5/dCW+Pn6E/aYZIXrVBFiAJ2F65S1GafK/3XbVXeUHR6nGnpZxzgX5I1CqBv3VV+bgeQ8naCRXfJf02J364cZ3Cp6Qyc2R9hfNKHLUvsgNZdILhyU1PlQcqHUKM2yFOHISD3aaDuEDE2JNQhTBthyZ7neiaO0s8x6lXHln14meYo7tSRxvEu9nz4Uu1g/Ahx9rM6T2qVWI8qyMa9IH1nq8uaGErAaUPSFd8gQn/PSb48R/HCuZbnHvcR5/f9Ysm/GbdmrtD5Fwmm1pIIhob06aAP/FD4GybpOnk84wrxARDcJrahShGiQMEr82/h94EiPlpPnW0CxeC3NN7T2ciKefKTecqah6sM/RAf5RcYpTv2kwlFYT9Ryi9cDM4ZrhGI+k7xngacaRjffjECsjEKojTqrBGPxFN16rDRnQa9kGi7Y635llfRAyaHflUp9W+IE/1oorZ+URkvSbTbrXQzXKErm0vsXBi1RETM8uNtM1Obrv4ZnnEZHl9l+zoNzg9NMn8jcphVYcWWzPVm8EmdkvznR9mq7wXONcXkM3b2b+pqhmJWcMOHFjQn5KgjB1HNykzcDFYYLEZfygu+++vmDH+4ghQYyEXNBPg3AbH7Y73O3kynlQQzj+RH0Q2AvfJHQ0ogf05c+QIbc0NZXB12jfEapR2oyiMSCmiuRSauE5uzD02QQgD4q8mwMqykGZabLRPq3LUJqqLKRslsOQG1LzVR/cl+JmNXStIRbaGcm0e4KMdchjm9RqlXrDHjOJEqixXd20u9TrwQ9McH0fU4n/oUsR5Ql8ecy6tQ92K/rQIjWNr8QTde8fCK9Y78WkkkgIG201eTAJvoUa0JZYQA6vFBoea4par2mw7l53TJvq6QBOih41BLx7d8EgyL64iB21ySlipCMgxF4UBuUJg3K7qrTKEF0w5FW5zjmJcywi/eql6UL/fRzR/WnL6F1EdIxJbPhhUckDLnABQnAN3/MFCdomnZIApuM5kOzdvZUZqlN5pYopbA/G+AyBNxuMKNQ1ZHDS2XC5huvLU/CgP+vzy1+OoiqQ25QYoGlAqs2R7yp/1eEG8cMwWBzR3xtRHioygmE8soRJQY7O0SQ1/xHMsDWqH8prf+RsaRofiteHBnNym778QhKs/FFLJZxIlZu9qY3X6vmExTEAXmievN+3voj7BVVDhmFHpSoFNTzZ3J/mk/4UgoVvarE9KHomlxRky4PU4JBYwWgU76aTUPHpOJqnJXdrmJWHNMo0fhWIZhvbI1En1+Dy9Xng8atvl4cXdxAnzwmX0k8JdCkY2RbneiHOGH5O6LAHd1XQG2nscn0+b+ziAjxiUFxlhreZMl4AuB4QRafysXqxUisEx2D1BCx/QoW+uGaz5YnkOORgcITL2SidlxMYj/bcm6qHROfHaMG1IYW2OjTHl4A+mg77DL40FdalKGmbf6adSWV0v8eS/jtvfKIUq/Jbd79GbZVXiYAj0GBoVi2/7TZhETULJ0tEmrsIpI5tanlmiWyffPlKRbiuOPG/GhlZ/hbIbis5f8m+hZsLCXdmfpkZo4soZ7uLl4IWtNZebrtf0KHUT5P6qnHqRVj6yfAKhfkmWiVpt/df6HcqMEYL8xm+R/I4XV3ITYMU58keMDJrzCbhapb3dmvBOxmx5dKaMF7GjzL3Dhb7xGpiCsuwNA5exk08cMeI9XPgBOYGrlu/3i2bUjLtQsAuQ+Jk7v53MHZYjqjaWWDRSjEddV6ABk2uDqoLSUGtMJRnJVZvUtMYoYQBHwbeW1yxr4unIEzv32EGGYOFuqk62Iv18nHUofZ/pNRal5+GG9b68T/CBnz/WmZkj06podOPDPaO1UQdaxL94iY+uKG+nVFckbd4PuRwPR5pcQciSu+IgXQXNh4pNcwxzQ6l5oju+PE5QVJY6LWgt7l+HpIv+nn9bNZRAsK6ze4YEQNAFNJUvFUN4WfTWNaomV8a9LRoFswVaoELHL5TBMqhTwBIbUnbPeEnXmef5D/zXoiOHhP7HqfcJCjW7Z89BMFD+bGT7aOusgycBGdDTmSb6oOOe7ibR449TeL2WqYofNj70dLtr04HZ534rPdxHxr9EHZJHyUONei6xyX7W+762OEYRsS0CFKqpu6rBfYhqVQBGoACaGYsVe1VyzQmiHwVJMbV6FqycBVa0RL5JIemQuotPtirEXn45ychAUcBn4ff04P643esNXOXxQ5ztzpEMBuUmdZbpr651kro8tMw96BJBP12Iv8tgVCeRZ8lB9WaX8vlK7Csu+to303R4RTxvMibvriwIGD7FKfPUUdHyxrHXjk8FTCPx6boohW3rLnzruxzZaPPjybs1EDuXsJ2RXwaZLBLiFhfy6FL7mRZZunbCYlqF1varErpuETgTzgUT1nPq9F9JP57SdcTlsp+p+SEfGmSVF98rRw4ITf2lw6kXwiVBCqT5DageN/OXSAQbtkNAqE5fYel7JEukeVGfxf0gKgNiONQgCyEAWdzzdXq4qg2zDv3reX8kNQHod6hEPmSyKqznvSNRY90fo0vzwcOxlOc9rv902x7+42RHhUtu5udAQrBjxY1PxTV61MBZT/YB83OxfVyw6sSfilC2pQTkqBlRjFRTr0tASOxzmzY+CTvX2YTXpAAGa9UEETbBgDwTTZD1en6v11UCv18WpYMyR87+9G/YYLbo6y608deI+2/eCqZFtnnUXudw40TMkBASh/B9IorL86wGgZp5KyK9XL1HTebjk1waKFgVQ5YzrrL9GkPrm0OtTqbo7es3m/LUKu/AMN9627YGFhTuyr6TVXdDFa/ngh1J+mLLdlAJg5hDpT0Di70cECNUSP5GNTnDru5br7vXlV9ZPATgbtSa+Us+kD6DzdqxvuAFBmX5WRLtwIaX5WgXUym9NSKdhdy2/zXk0x19/5sEm9n5uKFM/uXcdvSo9FafXQFyKK5sQvz+ocaK4nAtL9cvEN3/n689AivlSX57dyblVdu9wyCzeRmGXAENlZS5FXUqU3gkqPi/yAhxtE8sXAflAbsjOi4//xsCt6fZ3RE9Dt6YZNVgoA5JSfT097+VtpNBSX6ivDrIgciKBNn8kBIJ6WKgdPJ1ic2W4SmPrPwiDi80AKDEup4cdgKPG89zbynwPPtRh9v3GVwWroG1hSmx2gLg5qK1luFBIY6C1BeUFyAZbRQI0dmKeyAUYB2odS49MgF0XME743pa09CEhKM+5XyazC1x1Sq5pVzXNdjBZN8o+PoVlPgr36sNuAVDWY6SCgWHdpxomIxq3yt+kTzO8xTpLeBRVQA9sHCMlHHff0fsgzZonGYKRIfguQD+28CQumnoDQBPeXA5/JnS06jAEMwKRe82L97NGL7RmG/CYpGOIiVFjRgB0am6RVGT/bP/eYFe5K59WjgwitbQnqkx5x06czRb31wiUkQQGcl27PcD42f4FpTez0vRXZ29nQSbJ8oq06yTOP9paUp5K6Dlew6HrPzOClmjkSesnLQv0E4//SHZMrYuuVz6BmoqWZ3LentO8OSC6jrmOOebLMH0RJ2JUseglz4d+OzaUjywhSOBsgPalc//txgkbnJFktOjjcArdevWVqgiBHcKdM37KXhdUe2O8Nt5reuD/wo/mzlcKLz+GcJW7H74IaGKqLL67oFJnJuOrjohiOHGcr/7pf5kYnjgcdvY+CpuEfiGwaYGI39zWNkyEXC93hS6Y4AYQTx7FBIBmI4DWdAF13JQlNeFClJRdJWoPWeEyCGIjJp8e2McEXGSEXRQpRDnUckhjQGwf3o3EvgtKkVjYG7nYyMtTmsumlZMi8MCLnstQ8yRztX78HijoC5Ton7j+8Rj1pp0uH7CqkfbBeUlMpQkHyypytF3WaQl9Zolz4gldD8WeRNgQx2xNsJfkk6Jh3oSoBuNYLmrI0sRxlC/1dlBt5/bCOFPXDi5B4wU5NkiEsVpyeoKBsLCDfbXf53hq+26Hgp9YSuoFEEc8yTjmYpUGlvRWGSc7Pn4PiFqSLxKV1BKlcK5DqcWj9mHoWFzlJ+E9bxDb2FjiCl+OF8bRB9NMFP5Cg2MbypEAqTo2+DUKhYZr+aTpQ3LrrbIM2ggANdv5eEVVoqICG2ClkUt5NlRiYJ/IkfMSYzKo2//WWWe2OahY6YZVbpK70gsyy1pXT8s5SdMehlchMjzh2rWGSoz81KXLGZTGwiXFK/4m5fBazYptxHmV84YsIgk2mIJNbFbFRjttUi8czibFksDP9Zg6XnjOlEEs6VeuykRoxhlr17bT/1JYm82mo357DSyi0qoXTtxWF8fVyw5RMz+1rvY4fSV6vn6KaO6cNv63C2MpvaTLdyuLhBu9shPZ5bQMytasM/MGsBMGJeUrAq1wkvdu/SFLzRIqFReYG7p49CVTiXGEs0VVTuO+5Jmn1eJRM4DfvxlGtaZdBkPmpgGPBR4CuNlfLLxl7FQ52Daz5kh5ngoGsH8k9MLO/6H2WNYk/Vi3iNIj+9F+yp0jAhwdK7dylbzPx+I01rgEN/k8t4f2tF7CV5tQtHDPxg3+PoQ/XNaYO2b2XdrqW2BoJ3gntKxvSxctlN3BXFWfsM4FcsamvzRhXkq50a8JB/4zWE53ejXbwrafCd4nlXRky6xJwRZ+7M6wEk+sZvULcC0bKmVUv1WgQI4gUWnCDFHkYtjwR/T5CErJB1yqlMZADprz+9+mv8CuMZhS4GIKJEPZ4uIxiYbBLPZQocqmqxhbZpbdL26J6V8Kp52IMAO7TXdz9KGo1s2ZPfiWwp9hZUPwupqcGHSz6VGseoB7UXcPemaqnQJFv1UKiURKJbcNp3wSf4pVGtIQnyEn67KpW1KE0RoFzYiYX9fOM7ZDEC7BVoMpVhApDXZcBiTvGRtYnoL5+8sQALeTAGS8OI/Amos3n0KPfotfAjjq0oX4HmkkOncxcyTDYixRsplFITHnRWuWM1IlVX6LUPLge5AOZ3K+fFmS5L7gk6frE++dqkeAv5j/UVkxUFZtUSoTMTLxhQEfyL69zbDvT7YuvkSlhob5BoVDLuD3dwgUCQnts3V1b05Y1sVsd5/yYK3UzqUlFN0DhcyWlMZEGtSiv8Q/Wd/OFntr5Q/mFPOm2gTHm18yVhqM6qeZKdkHyJoVtynNm++xQCvez2fZbEoCCa4XE9tUEcV9u7cbqz6XZYhYbxwhKGOjiaaw8MP0ufPjKydU/LtWu8e4oa6ABHoLyun8uSOFz9tUWf66v+a1CXHxQtYI3Ut90ZB6AL+FlcA03ipw68zKGb/reLj4BHIo6gp9wW5nrXWJi7xPZrS1lUUzdbLli9C7SJJfVaPAMSdoyylvWZwALkF3PK2oveVLGieMGf7yFmcK4LbCqU1Y2AHZjR4FcqFzQ3fFpnxZrfe1T5376pfbhTxSvAhBwV5HMVscw45C2BBKpsTkjtTKrhQujNrLkffmrfjiDNXVeXIdYlzROhnMXjnZy4ufkphhM2W/rO6g9aywibewOhU2tQtnV37AIRbRAj5pScf3bcdx19L7vQyARUMwR5KXd60IOJ7NIuhnDJDKkG3o6q1tSVXO3XyLzUHGCdw94mkydVgf6nyGJrng/noIwQ8VpMihyWOxgiWHHq1F+KuYeYnlLkG5WqnGT/anoFy9Rm+zg5OF8MWmzwn3dtt+lYHzztJ7p439/bqSR3G1iiOAohokL/26gmQy+AdDuNbJyN0vZJ5t+vXil/GBloqeAVPg3rEWBTFnicIK+EnImiUi5Q/9BlveFJ7kxXEsAs2RKoLdLU2sh/p0+3iPtICOKd+W93q5q+RThYgyMqBfIr63iZli9rG7tXyYPXjxpkhK0vsCrdl/jOQ96oaqA9IFXtu8m/p9Sx03qvThxSnW8YgkEt7a3Z9qMmM7GtaHcq5rpyJkt6CXrUTxmtl8RNEXM4uj+/H3YnkxpBLLFnYFtnx/qW0rw/07fqbHF0Btqhcoz2Ktnaw5SvXDkmwTNzKZLKItf+lDYqAxtaL+3t3qtByb5rIYOs4ubNI7D524zEC5iBvFDDa5Jq7kgRRp1DTB2e3Xtu14XwZmoN7bR+I4Wqb9/mMSqnf2bWzJ5zwpRQD8VPkGaTrJXWVI45gWsKoJkcFtNpJt+Bcwlu/LEZkbVGqcNTS0A8/KgZ8XSAbKhsmuKW0r5vzhqDwQDAjiLHU0eUgIAQHQhFoKN/Bigncw5p6KZ/kO4JsILOMFUDqF0t6PhQ9uW9KWjJs2SQe0pOclpNRmxgvsT7uZ1HRmIw8/FvbiFk6fulp08gySn74TFXwYMZKcwr2KZ9dUhfiMN4gLTtOrtFf+7XgMbab5+cgFE16SGQOAsXywf5Ygv/3lF/vw9uV3qcKCWrbt0IuawEJhiykJV2fRuiEZ8pcrwHG73MRKRrA/GzDk0cv9I1P9/OeuVmWFGiaTjKhrKduTpPTll7KM8N8DtnvLbd+idGeKIpdnTMjxwS5iM90JJktmOhq9c1uyS1E5OmbCypwje97YMmEF6ZUGJcwbgZXotJq+4IWcFbxpKveLE+3ltlNmjgYhclOGvCibogwcw09xoZYcIeVXNB9cj5MkeUgpXOp+MXikuGOGP6BalJmr4KLWxs6Y6VyxnGoSW9Omq7wiutE6+PUrWBJt7bGjrWMWFt1OmDxSCsYEmcQPMH61+ofWzUQYrhRmVx03QfJZ7Bl8LYBEsdypVo4TunLkIuqciQQZJsAveT7de4CpB2dsmA33+qhCOByXZQa6ksSrQCxR5YSu3edIHcKkRyHDycrsLs6YSjiaKskws8iPVN15AGKyjtqz6RySsr8IJLFIlXqCJ1Mn0v2583aIDGwihL6BjHEoVlJd1mMqBE+oiNw5iNqvFnXrJzYre7szbcfy4JZStrvK0TGdSBKZJmxRUZtNElIp3Uu5hzn8RBX/mumvuiXjU/vtJ4KquIav1jMUiHu6c5K0v6qtuLAep/ZutfvFsozykyZjDcVAyV3f+tNyAcgPfMIN0dMKR9E37JMxIBkXCXe6f03n53Gzf1ZEOuxTtqODIjirmYqAVechHsZOGAySCtOOiUFAqFNpm214s7DHEkF2NXoYEdBhPfV/HcFk6/gkgPlHZmY+1IjRpZj/1Oc91iWd+rdM+dlRkozFgizDRAvC0GpGHFU/W/KhUYZnwxfmRuL1BlL6XTlPM9CKzlLtnDN5Dod10r5lNrwPGm+caoAb0Kg98kaFhzxKm1JRCt6+r6KluQq9ae1NnmSngaWh1v2asKrjUU6EIMU7C9vERGG4CDiLjHsSOJN0luTsLLixOVg+fR0TAFuvzZAKzRjWNf/qC7RkcfWdylD4wu5ap8WUis1DrnwtxzxAgvG5Y9tqu/8yj3jN+EvDBxrd8Bv5W5T1lEmfiZp/HcD/cQT+rBz1Jyc8BNsVx/pTTS77RKCXwJEIhdf22EPNwrDPYB1nTCLzg+5d+FaxZyMfM8v5p7LVRARc+OyngctmWtaajla+WUcn9sXu6G+ybMziyn0D05NUxgq8YMNA1Trwm64JM3Vbpi+q21xRXZ9PF8t3eTiI0Em5uygDRsO8tOxAvCRZjUGD7fjb71NrokjBghD50PqHIfNDk28iwUNLe6W0YiFAe0tB4dukjN3YArYhRcQ6TCl6qwrdB2j3n1InWLIFKZVktcbXatryDEQgwZJFDirIH5/V2rxd5p3dPefpCH159v0NPpAMQKNuPaG9Lyx99ruiA+rQmnt9fLiJCqRS9jTf6jVdIOPSbI2znkvyMoCFWGxsP3jM776rGJ/L5q9DL8C6ixFg6TzNLTUjtjwsJfnoZ2e2fRDHAm42fnhqZJ2gcbVVrDYNo7vmg/5+9DoOAtiqOwDPYZdaDhzj30AH3O8tZJO4ceN4FgbHaLApbpyEolwXTvqsW2FRa6Ku0ac33Df5788qhPWehe20E3Z+CsyNy9gIKkwggEtD8oBMrOxsjiqhcvBmf+mdqnva8E06aPyttKz1AgYDpr2NXavurtYZ9VyMiILUJv5z9gLfClBE6WVI/8bAFO8mdjE0OMyVIJ5r+nCKXsV0thrG99Kf0qp0IQSctuLd8M1W9EcdGFJDuNKXb+l7nC+a7C0TQzk2RtPN/rJss8GW3vovU4DU6kl7IMRVQYUQzXZoGsVM6I5aaGXNJGbRAKYN9TKRm7qZNC4/naPGTFZywA+p7xuSIi7/d6GVdmhBBbRMNLZkBuLj8b6ve/T1TirqF0E2fXvDAQ8xzqlDeAsIgXYUYewEHycj2/23vyw1u7wye75k5Q+HIyHB5hcGQxMJL8je9bKDs27fqUiUIsOzDmEHH5m2+9gur7LjJKt7t0ThfFri3+xc7kXW+BX0pha85+bdYxhy3oCrbF0NwjTSopQtcxpOgeOXdCYPKLOgdBvuK6+3IUWVdu219I1OVGjsk7RfrPTMRn6XBRL6F2zLr8dHc1adMePhIY+Zu2ivbTTdOumKTsyooZjpAYVrSg4VbRuEChdtZoEPjzrtCS3Rz/NdP2A9OC3jt2g2rH/jktv+0hJUQ7Nb+XGMPmJ+wdzeoH+sbRefLCKojZuNgtXf84UrifhRkBIblqOg28zMiPpEYHQiKpExvuO5lsLQZyKrC4S1bOXPpWSyuwcLylCTwqQvCMBW+so7/qgtWScq5nfdyLWPdemsc7ENRCys6LtD4hLqFSqwe5TdVU1ZawJDIf75I595XrnbqgmVGViqbSH1jYfb62bucIOMLBpN5Jg4Zg5YLFmm6LoZDsGaKRP3UqjOpdzoQxZsd44JPcAsPqBt/JUlQRFhuXPEJF/zVcH3sqoouAZApa1/YuB9wpEMpyCxwAp5srtLhBDoYzkZbzkWRyhSmSAgWmDJeKBsBnLszBjpto/8yeL6g+uAvppItwiwD4Bh2Me9ZH9zLrTZI639xKgdXG8kk3RRUXhNftm3LeBVkS0yGXHFc7yUSmorgQPLcyf2PsoXqK0I3E1VqB01lifDInBYCOzHzYrQAVStprRO4xNFZH9EyycQGMTjVQebAtftjgd3ZR/gWg+KXmBHE+scNnNW/c7BpnCd7hPRLF0sJqPcoLOom2byDoNF1ZANaxzUGB/eSd9qSqLbUr9QmsfOiI3UTkDd0hpthWJjhV/BamRM7bRzBrdYWDh78TQKLj983SgLJrS7TXLnWJPzMMYgbuf4CEw9PfsifL/W7dkGkNguCqtVehb86XFCan2Bs9v61mxb/A/yUglZfFZcDxSdwP+sgAw46CcLIX0vRwCE7HA1a5mnXrDV0jwPBMGyOrWAP9/zSp50uD8U9lpF5FbBGGf5cgRkrI/pW7wAeYSbRT5deLMEsPoecZ47R7PXiXRelupB4F5g7kgwgiPdboI4XMFgInuYs3uHUrFsFwH6wygUNwz8hJBXDrCV2yyKIypOqJihVF9s3J73G53Oncm9eXJAY1CCy34cqupbHb8cFcn+CbZGry2nOUn+k0o2qQBRcrJaRO23flEuka/veVaxyPOhtcznHfRB+HCToWGEwHSzE4LBBYxkIhQCwNKXK7Nfz47D5e2ldjk3RF8Cy7KJU1FClF3jmGcMOlNBJt2LruApL7eU4xY65kI+E3q2O44v+NMt3gUZSTYRaVnJlVIHkLmz4P2p25x6GAznIXc3a2tUZQSpFAgU55AVouvZmLk0rciLiv4gvnXDof5VEsU4WBYfKxvshmJ9+E8gBwFZX8RiHu3TEy7mwaPk82JAHd0dcp2E9G95XaPzKAXIbbz+NneEEebtEDTXZq72ZwGkQbA2Gj3mMCmFpv5uXXQ25vtcFXgm7QaeGmzPubzBzn4uFp3iEIXwsXIitlbM2nANzt4mi8FIno8I7V29v/O46eQM/X0j3abyY22zAXKLyhzVpl06cjs6cwHr9JWNaWTzMsllkbSAbS/ANhpFIIvDy65FbXZZLw2o9WbzPVyhteNEOQ18wz99a+RO3CJOHJvPH4mRGd3kivTRTCwEF/MkfmDumzCbseyQLBstgCMUbDGyhrwS7VCIASjE5qSafKDl9Cb04aTZLYn8Pvpt56e/+PgLkhlkLa5HiCKHlNlhmcxJjQWyfiEd3kyuzoDeZ5Z1Q6YIBSVtQb/N1qLhLOLzaU5F8+rglVfqbQYIxIaxSDioHJ8lxG1ff5VNhaNc8HGq7Nlr9mv9yscJBktkG2COFU+BYjGmwABHgQIzOPkQMoJps6owRU2AwQr6XVx2vP1gObkX71W+rDVG1z81V3cK3iHW2OsPKAZoES64Pa9oQ5g+p+miCJazEH1gIEgWqJWxKcqexHGLMcuQUIu75u12meTeiipGLY0n6JlFpDPdC3weDezAstpvYjCyz72ORt2RgrXXMz6PN1BLgzboJf2OtPt9hkuyFwM2KovfolqCSs4fTxWODLYDXpYSwOJpcQZRB0onAfz65oaylL7aLwkHI7X9C8Oblstjiw1ngD0KcCt6UcW6VtUVV2oh6n8QocB/pd5mm/axoKMXkrSJ6hGVgPPYJjWCkoO/oukY49vffgELEXvu3Lk4vnFjgYQHXm7XItAwqObexfOln1MFZafzwYZ7HaPTJDNFSBhZMTaYhlJpFshh490+rAR8f4oJPle7BsBt9rzdETGTv4U2yoGNTbsi9GvVglJn0hbmdhyFrApciaAnW7XsM0jajHk4bLOB3Zbxl/XtWnEf4gpGtG169oKS+sHgFTt7hzZ7dlp0Q1WlkSPkjr/KqLgHw+yexXrVByOgSpOq20VZiAg0ndY0bytArCzpppQtDsUqYPbTLluXISs6bXG2Zd6zHIr9TGXBbIOmQ6Lc72wYl+Xg5+CTvlzutrELReSlcwalPfBtK8UgBmDHoCOIombRixZ65aHgekeuuvpTAtZunkwCJNN9WTt/SoqLkGTMx6sTacUx6HVzxCZz2S5txBdeUKs426LYXMGaR4ZVFvZL2zyXsTm6X4xo8/5nz+rYTB6Z0GWO7wH8NMjfwXZECR9pbRBXb5vDsRUodFp8VXyAY5I7Ypytfl7gZ7kdoosHspf6g/ouqBeYoBSXuEwgpOV5S7qiEMOfsWULHSPjxLVsu3MdnTSLZ8QcYaIA6NNQ6s0j28ck+b6Ob+NZFI6iYrwtQVb2X5wXxz3rBBA2dtuQXiqywINaraXQIW5eZCkiFjIvDRKZV8AJb2dEMi4mm1MmBwFgkU1JgoGiI/lzGUNnAwOYtm7k5MaLRozLpciN1KBVQd+8VWR9lRjhUpUGrNO8ClHASvAzckiRxpU1fmY7nl88Ybc2wd4gzOto5g4aWaFard+gS+o2n0EvqTn9W94MVsRatudBDBySUjL7SJgyf0Oj1ON/OvLQj6dp7UNnDIzw+hHDHXLWdU0ETt4FmnK59OJy39k9PwXUVPCFX8hCQJpKK3Sf/CdcHPVUF8lLZiz/usDBr8EWZLX6HaJ5JL4r6gyTt1Wdau74Qwpd/6mMpfMIsB/5J+hw/uaeE/nObAlgVDsUa/z4NZZ6q7epgYsK4cuWsoO8Nq1gLHeSRTo+3M0rhHNmD/cscjWpFcig+FxgIH9upcHz9FddOP9JtgAnPPETO9Du854PLTbZZFVkOp0W45WRJ3qwHvY33kJQfYmm7fHHl93zDTCYQKSb43QJtzOMxmX7OoJPMF7RJattnMeMybFzJobbKYUZpC6Jmrxs7hQbTHSv37gzhVHPy6O1mXi/h23Gld7oIUzuGzeWboS2s964Odim84/PzonVb4ywn0HYkCMkQi7ora2h5UuU9p19Q5y5wnEfXBGFz0PiOyG0KjSaWBogRAoGhJSHcAaqJayRRBvBO31lRTZDOolMvXqdiqG4ZIfWHUJMzIYzm2+GVwnNmCruE7t1mqJ7uiXPFTHsAbmiDT4PwTO94s5BWYM1FyjSFzbTe47eoPr/nuxilyQ0l3loIVdw87zo7AFbhkPZhuP5z4TtNhZ/fG3af/nde0Z2AHbEfxIijmfIUGSZR3f6hS1UxpzQJKVQcYBztIUe4Tlx32sgfzt0KiZrVvVAEzwP/A3DW/k2FS2oHfnMWtYpN+JTBNhgV11e88YFj5S/bFlCpcJAFXSDyi/YdYBReFnFhAxmtUSOjeEqPq8jALtCRZZPB5UiVRDzz31MjLQ4biQo/lJIw0dfdU2wiotf3Oy3dIJLBzPHhehr5oOhBSM/m6zl9fCr4JTAxnDHV8hnfNu9Mf5cJy7cckNTvm/aLLRakC8pPEz4PDg+CcQ2K6ByAUkGsmW0Z7hjugN16JkSzMY0FPlySSsWXSIV3bvkfyPP+AzRQdmmCst8bi9xZDEm/CDUuiPAwUQ6uC/WgJa0CJFo3w1eEMTYNcnLbnE0KlQsKfPE8WVI3Wv0w7rWtVAY02VUgQto5Meg5U59n4s5924ZlHr1NFiABh2IUQ/qwlwWQ+hxQMS2j7cv8U4xMr22vUk3Xujjmjo1xmBavCjAMTWhz37oE6SbrSD9Jh2/UOb3zy0z61Ga/Tnsezy/jXhUXJaGzlFvUaRoy30fTWDUZsTREi8Lgab4445mfM31BpKl36wnfpNfT4jNDTyXgH+rp0ZYqY4GY0YWUXswo1TVIv/jLXaovBdoKxhnhxUy+eSacgLWk5q0kp0Cq+XmrkGbr84OO+yT9UEMwnu+ZBJv0DD9OytdOeEHsfvDolb8NjDlZVf1solvNDs4HPlDFm2Ypc+DF2f2CBCuvh5bQUsXsrcshovc0v1nSTH1lK19XG0W5pFPOz8rcjicOTkCkRlcn4BGoW3AQCHU0JQjEeGnL3/KO85N2lMYx+xUkJYEfSp3SdRsir/rXvvwEp1fuY6aImcnFt4ffkRhHpm02YifOneOF4xI6Wjn6sVGxxEhz70wIrkSVaLm6KV/4WlnstTOrBvW2PM6CcWrlUtovGvGi4PXaKR+PyoMoXdaWFHE7eRrp+h6onYsgSCbI0Kz2O3L2pAw+RolEdFxwLX7m0PfO+rfOHLn/iSwIbZdoXzcrzhKFbVrS4mSBDZfDXuecDfCQduLfyd6d0y2QKqgM5fV+6fpz0AM00iZhiaPL5nm3iD1v5/g6W1AbhEnDN4HcioAZwL8l9PebgZNzkL8NV3wiP3XpbrcpW45M2Itu5DnM0zTPg6aiV1iXuznQieOxyPMdoWt2rD4qiBzuq+HRXmDLn+7VOGYNegr0i20/3dlDs0ioiPBffE4mH0ZXyq+VzK52mqDfiZYHprDlHKExOPs3YsdZYPqqxN5d3TrCMWJnk22cXECJnVHnvsHAsYfQ3JxKfIiMiL3vFWCUKkvG14SC80YmWpO+3iFYCsEHAdYxs+8oAUVKqCPfWBXhow7xo9YUB6F87aBgS5curJTaFoGZlq4ZlIX328O8nDEDvpq7NsPBRdaw7sn/pqwtghuDusUF1TKZ9SAYQM6JMIwpHOXO6wcLZBzRgbBeXp0k9ttNbIMOacfbdi4ldC58rEUsF4BsvCZtev76o7gEPCRPO/1MBKaiPixfkUPL3hvn4VAjAhBzg1ZblliTf9dw0CPGkiopAxxI6AeIfDo5Y4HhvywaPCr6M1CZ7NbJvJM8L7afxh4A3EDAlQM0HONz//EcyxLua+25qxU1mc2EydINuOjH3a+uh7MkjS8fRCvhqVYP8FlFTD7AWXQxIxlYUTPfBcWQ7lMIrtIFN2F2Mxfd8eY6YxkOiXXAXfoSCBVhtwJYzskJY515PPx4fd0AQEa1vADTjGXDVT92gbXkFDU5mYjDNhI03IoKji7D6VGOIGf/gT50fAdW0uMjEudZ7XQzQYCtWYVlMdUNrR0CEAdb5fNUq+dQd7n8CZwOyqnBbMS0MSdTk72RcgRfVjb6k9QDGIO/syAxcfdaJ9c3DwD6puCXlc0M1oS9MRWcSIBDCNTxiFyLAAL4rIW+DDWKtIeFFamrV5HKxmSfhFBBODcyVnOHz7IOI3MYE4oG145wMiaqum/9v8Ue+2QeWMjL0QyAbv8E9fOKF1wJBpa37cP8rYUkDqikmTs+a1gjs//wSqyND5HWo8NsNXs3RPi+j7Km85eStyxe/zoAdkYeaYGB/jgYPG7ZS6T0fNY9b4MUQrFIFxvHrPLRophXJULnGCmpBPbcVjfcseTS8Qd8XFyNFmDfnS2GNRHgoQNm8kO2maqAHnoDFLBXpFemdgz6DRK1xpNKUDNLAxAlMIIRQRg7gDq24PcArpC7G8jG8axEqYMVtld92r7rzgQ3YMyU/WPLuov/OyPtpOLtifwuODzRLPfjYPegcTupMFt4KCfgwY6jR2KWMXfN9os0RRug4ZCHq5mEpzFPVWAeP9CWlbcLiSNg5az1zEBmjkJZscn7uvWQiRXt9WlqsPq0e3W1xXiii+8YqVRd0hlUiLWFYHhgFd3lvwLVdONos4SioPH0f482DR9B9pOgqmhrhsBMGpm435FtZ9axE7axvIMXtG33wKvmCfSe8zGnHSKskRujU8WWq0EwgtwSVqSX0wdI5IxEgWqWBV2lh4aMFWqrZEHIAVXrCQ85EnIeb0aUQIW0A+djY/VYYtY8JQqkkF4TUIb56G9sixhwXue8IBWf1Tk2YobsUlA1/yYLAtFdDuCKl6984w2pklvCF8hc1qKbHBEtrl9Un1gy2uUzMpQJa9jdzWAvCzYXmQBYl/M6IX7VyEczlWXoqGdo0tibYAZhgtsyy6k2pgo551+IaAjlx7HLKbu5vamKC37bZnZfEhb2QiVW/cenjP2xLCe7L3OgP6+wg2G3ovnvYHzIBQ2mNMdG2G0z3soBB8zosfUNGUPQrwvpnBbldDnGT7AoGNe/s/bIFieHOvqxOXQoF0BvVlEK2vjAuGa7hf9nxd7ISzR5XzjwJSMhEtU1366ZRDs6c6D1cHwCfgYM31p8gSPk3yOhVW763vaMtfiVI9/WRoYhKiPiIQu/1GaqQosvNSB2LTJOiPq+DHStStAaKujNQoN3IpifHEDKAWUmxjIGwPgeDvKpECUs1xnLW4kkFsZog9ZeWOdRVWEv62qhb7/YemXfU62Qw++wU3S38+CKi11nd1AhNcsyJpymOJCJdoKlPI7xQTjeEFy0MdYa3QuV6JH4N9eYlvyy1W9m6yOOE0M3yWA+dFRw+zp1OMXoYElsaMcTs0yQOWGwbFMnNhmzjBXWfAcKvvb9VJ0QIRyxaRgX1GyLo6kUOo0uOhCA6UUcpYL0uo7XWQvb7eNZCQHGjn5IFyjze0lcSpOQaMTSw5rNKXatw5fJTLcAEBWm5TquTYqdwyUwdLX/+mkL4XYEHIwPftur5Vv9ZL2vROmBso4ttn/apfJL+ieJe0BajzAaJJIxFIL9Pw2fk64Rl/Maess5AepxpNRGJ1VeH3HDrArTZH3MSv+jrAlN5s84+NxfRP9RwwCB2WUD4XeN0nVDtsOWbwMSfbbrBf024n0++aRQ3nYQKWQXNPActCR5g4xTmF39SR5R+gF9fIlg/Y6u8kXbGv5/6DSh98KzAmisSuRgyqQA5WRgb12XEQzzfr9J0keyg8OwpDSF0PFfv9/OpHnhPs0d1J/Pjwvq4ovOxYBzRv0FLgwqyk47kNU0sAeO48mZXxt6U9uTg+oHLEsDEIwOn+4PG0LbTKQDdsx/I32pco7Lv6FlERjT5le/zHTdWNxpbfC+B9RqdRb3xYkBnSmnNmUdnzgN5SmGinUhs1B2HLbHae/KRHv7kcsmug6uegR575iGNEpYquqHLaeUz3OdVbTBxV0Nx5f8KWW909fgHsbaJHCVNsLQV3UwfOW8mZqT4soe1puRfRlzBQhjryfD6s2AzAZPRPbIVClTbStqdnXp1toQdeKb35Ha1lPMchyjpVGJq1DhKMEAcsISjTXayt0/tbVAqrjLagrBH0ZeuMQvKui6hLHt1DUSdTyVNN0oSnOdByt3DtlsjDEF0Sgi2QV9jsx4M7iUg7QR3SV/st03QjL8K86KAbbkUIl2yIOmfOPYyjSLFOhhoDU/3TnzER6E0aaHusHqLEYyh37Bb6q21Pt2cXgeBshBWmYBP4eQ7k7de6JEIUFoi6leB9SVzLSy/eXWS5yoCnxzcKHRI4UXvxzTSyiuPQVQlWFZaIcZy3AqnJPApu4JIe4IQQu2skCRQGEhuQsJqyTAQBYaNvgh9fTfBirekygaSYybiPrhrWZ59HCvt/6q5cllQ5G7hXn548lkdIY6Sw3D6+xTkMlK2PoqU9HFEheDlGr8a8zEuWiva24OInwWylEbDbgCTlZcSpuF27S6/K78f00okLI9k7/Otzs8DlKjcy1IOQpkFFOfQCLIe+Ef4g5Wht25Zx7lCvfekPbwDpQqStyQDUhHFrL+RVsBBt7ur4SOCLQ/O5xVTmh56l7iPVuyUzVy5AEPtsg0tdTMleXzH2yXXvIbLDDD2bj4q+HTEQy9dkFf5MDfUk+lmbFbc7vm8YmfadoFUTZokBet+9Iw1OdcN51fpcIKXmLsRDmQ6XtLZi/Xa4q/iTxEG5OFwOILfEU55cYVrUIZDG7OK8JoZO91Lr+xc4PwubqJKbAc5ftHJiVttqVD96QEjuRM+t4y7B6vVPZ1xHKaTIE3w8kFwA22Kr1Kv+ivokHHm0TjL5+tooLYMK+lnIXbQ3d8imraPTVNRuVhrscTBRTzBNIkVQxXyJX1uqIQisr1zpFvuxwP4k4HXjwkhwAzSaHgls2xm/amMe6tknXJbaGslnv4HCr/b0wmQ+jQZs40t0zsPaaZyZ2hVXgYN2inUDh8Kb8BMGxnlutep+LmQLpBMB733+fyWVAaKbrvWtQXFSP1TZvyzHHRC4eElv1H+alr4KWfkklhT7wqukn636jWHL4faWJdQj4PMrIVxVIoMek0nG9Mnrc+yEXDCqqlXL3/mh3V6UtMtD6aPRw+ERlz1xEnA7kDWhewq6O60NHblZjBUrEc/fZVprXqavzmQYVUW9g0zzVr785tyPsFLOm5a74NM2RvWlr0o2ZcwEitnpiyKFnUpssLxo+ct0LDMHJMMA4yI6he5AkGSYTa0hsAFYZwevhqceNiFy8cShicUSahvKmEYuNWSbrpqKXSQj821A9RwRDLqjazswrDXH75eOJGBLA/ThK6/7X2PVBsvBfMbmg98JLwpA/Knm3OJTfB8Hvnm/L4gU5RkUWPTiJJRwcO7k82NJgRpUgoJutZp4hYG+Ciy340dxo6xGAt1/j6hJlwsa2LRpAtIrblakvvuxal2YNhGZQcRuKRY3f/cn+vil86rhPEF0SHq7w5bgOUblKSJ+Zjm1g9evSboMpqM+rljb89uZ6iBxSnVh5AMiQhWzzbiJvFtzikRfawlpi92Y/rACi0KrZtdCG/PQTu62fYzF4eHEQ2kXtYizVlUvrZoOhzRDyEoF0uuX7GUseloYQBpzx408sNtUzprorvOxvPytXhbeJKetA1XKzS7VvvkFOc798Fhlj1Bq36VUravsvcGuua4TSyIEBaUko9fSF3FKC1WEDOxdRI57RDUs0oxbECX4Q0tIsXf1+CxuhUxaCUj4mqUN1NuQrJOABTKreoiuWGFAijgqP2giTBX09n/mgqOv4ABaFrPnDGVQX8G+lM6E5ZrTPTLa+vwJmRsAXhV7DjARnp+3TUGOj7Q4sWJP66SNICDJV4IGwDx3Z/A0WwFFFsAKBKerod075YGHBQLcQXrs0u00PNIPPRxvh1OsX9eThHnmz59cg1mkv8VqTQdlif0W6XT8oK1ownOAXsZkaIHZsKVI1L/w3XhTwTdZz6mzJv8BC/b0OuCyhHOrOh8UfEdburXlvgqIG4gBrKTSCg4SXT0pEVif9WLL66fpOVNOpm7lv15OJR1l9yveHJElYwBgxVfRL/oZrjyIWW4u1wCcWvIwaDPNlVHDIH4q62QaLxbrxr28reWrngvZg1Z5ZJ9aY0Eja3LpQNZWuwLXW9RE5hdId24MZYFPoGU4+e6i4mu6AEBnG1W97HEcZzkq4LxeQLMV0elFXIis+DIkM2mtsPNJ2ukaDmisivVyI3eF50say/3p50mqXCIGbypJZkktXA4GVx3x7Lu7/yiWP2TVW9rGqjZW4xnW8qCgdf3N0i3P/j99hCgz1UPntGe4w7bZNo5EVnxLCNlHA3mr7hvGSwyBZGrCYnhmO0WOEkeOXkmcvXGHeYnvXZRVmgoDtx3BIhGcAOdTmqCi5iI1ULQ5n63+LUMONzkRj04RtyLUSwO9StIA7T0acwU2h5SDGH+OnOoiGBk/16SekYdMwOqlEB53P6GnAkxT/GVEZn9evxOVF8zU9BG41iYHzLmXMgOMpNdIfICY3cZocqmHWvexu6SyVTwyY/FEkZi3P+LekvR3lTnrnB5LJ/lxk3PeL7KwHtaFdKtshvh+nEIGKiF55VmEoO36C1yv1DLMR3zWE/lC4Oq7DoGb2TYBTK0rlfzV8roTReunvDQjzitm7Jgz5yUkZQsWiKZkSvChBgkI2jeU9SEX1V2yyg17KSzaeqCUTSktDFSCPpGKhSqFwm3+92bcJKFXnMt4PrJKg+5iOjl3qF6Sd1QwF8N6xZROLLuL/Z63lg0ZPqKj+H83PiLltYqYcvua28Wz6JPWH89d3NgOe4+dhStKr65wGyTaBIcxvhDltORu/r450T5T7/6s1c5qQnAOzwXAxfv66FrINSVJ23JIMC7GAk01k0p3EkjrIZi8MWmo9vagLQ2OZpVHss43cbvVw5qmIZYibzEI2tlGslJTDUB3rkffChWfKeqOvjSPkPXXU/ofbINBxQmoRMJ/8fHbQg8r4CFsn6ssy0HWhmIHizKEhnPRa1lvwmKWVmcQ2V+H5+8M0AZT48ejJ+GNb28SVGaoZY/c9Gb4xZY3S0ooC4ApMjSvHWEH8HenHAuI0DTj+ynAImY6jRRsNwYw/aQDEyjPZuiia0wHjGaVqUZAgbf61NoXdCSQSoKoJsNswAro1ZdWq960w0QTRB6db1G3C9juChBhemg3GrcWMEkSmZNpU5X1bPg5micqCuq3bdF5o9e4TMI0RtJOBK5Jpyi48hnItZXFFsyFc+JrnBcgaPL4pT/pCsTK03Ltvib5060uvxOnXfn2l4cnBpjeDEbtNDCmiyU/lVp5irNZP+2qNLpDynCsUfNvWMmpIKT8E9eyOhPbbXtkMAsULT4PHoAp1Oj9G766iHFIC5B7aN7mHUZdbO9DeAIjBZbIE+C6GYKfYKbtwM6T+rZWTT2gOkBe9MNG73aFHq9epKDiq7utmz4dLVYrq8NhuH8z9GVxsQLAoMe/BwzVs12uY5LiV9O0NXfHcGCO4mniIzQesrUAKdS3L2+/v4/lJc5lX/Zz4Qp85VEreQSLZ6N77SUFJmfS+OLARSiusdUwFSMtFuX3kOOXbP73LuNOeOn3TaeTUEq9S+G/v4tHQJ0uEqi+Rv1UVQdBgylwu0LqQ7B62C9GiMPFfGw4i0QpUGE2fTMVR4/iAf7xMH9E1ZEny6PWwqN3Et9kOlfFRn00NxzPfo+l8RkG0mU8plkGRT/yy9uR7qQc78CgiyF/R6UQ/a6lUIC4CTbfJU1zuu2riVA5jzHnCPJ4zn8zKUee4Hq9sWfK56J2KSI9XouE39Ge2BfddF/tQv1duLNuzPkZt/b67RdSs4PTU9rAT7/YBRIlbtEEG4gMHHjNzt0S7yhl9DK+TDVHG0dstir7VGyYXWDUjZifPIQ2iDQPMyXupyKofVtiCKbgk3kfDcelT6Vfi+QfHqBsV/iO+TL9kw+fPMNLR10SNZtmfukfF8GF8rLivkyDP+VIoeFwhP0aQRveJvMAKCb4U7/hGTzIbyYOShFSl3oavNZweNaedrw+jMzbkli+5irFeWrTJy2n8o+9chhUY8XWXPrwG72Jm+hYSfiGnFeupZe7inftfQLe35JQB8mE5vimw2ktqGXTRl1w6KsQC7iwMtRoDQGFfiffdJzBFewTTsN6bsXI/YWAj0AVFbp2cIFQAgUZ+C/d2tHpjJYCQL6pTOJfMrzMt2JUGey+M6ErQiCUWWXLNai6h8zp1iktzM1c8wbCLrb4RhOPu6d8Cnpy/jdi0gv1n8CnESdHHryHAyyUWxPK1hZ7FovI62ehpxQ0YtF/xv7sfqTmQC7zu9D2b7H8nL3QdwX0JAUouvZpbcl5lXuF8UsznN+yhsSBu1RTXO82HslkV21INIH6Y0wHxqIWq6xWgVqlXFRnZUX6Jr6lIZvA9CSbxKwE4pkavOlvPH/Ef9Kr0OI2b8dDBELGDl5CYNornTRYhGL5zsEqVBDOo1q8e7vX4FYPAZR5wIgSCI3Zuk+w4qS0iBVOcmiuEelC9XktzFzN0YerfTAqb413v5XPiC7U2vAihxMecS0o6UagRq+CP/cP40KJUhtw5PE8zIA0DKLX1yNVZ3rKKa3uTo9SgtG91swdK3Jw2RlL9H5mj2U5kjtvGGScoCspNY9atU4EFE7jqxMSOXEOXQIbgwTpmZkGWXgX1FVJ6HPKs2xhzoTUBDiaQoRo87BzWVL9e9Diu9q+l4hgw+IadSxZ3wwjy7k9HQjrmBVRHFgNNcsspr4QjCtLstyTbV8sekcaIogjp05y+ScTebi2BfjHsJVUgutBGR5u54wNu27ift2vdrbr3aivBlJfKjX4HaQRW+dqtNkW0uLcIRf3Z53yz79zMG/oguc/HbjpQV8UIeitqztlLfSTT2+94uOrzVQZ3xl+q/vFx4FMe2DvHmi8EmbhEis7bRZQ+7QniLYjOGfXZ5az2zaL/2ekCG444bkvvCaC+19f0mQk31uSLL66NxYtHIRhzVCDXlF40TafL6c0p6ZO+K0IzSQJaprcZGfWeW7+A+Of9I9fIvxCHyp6bkubb3RrvIuFEsG1e7HWkklWtGdPLyuLuprjMn6u/QrPtiIuFmSXyThtw2WVjv1KAFXqcAhR2Kmx0VyDX3GuD0IRZknn1ujqeu3AgLk/vOMUtZdPHD+n22Ydtmwi+xChg5GcoPX2fjGWGqZSc2Q/ndL+YZjb2Jy5L+X4oyOjGRs8TdSEWg5h9gxGNbr4wOfshloCnhCSr9eY4x72Og7xwkDYqPnHSlT1An1bqFjonxMRU99Rax9QGrWMuHqLMQIKiEm1aUCNgKdI4maovlX3Gfk5TKgciL+UzKhrqG77b2/Fn+fP22HO8+4E8QP1SV6QlRpoBdjU91eZFVn4+Cqtrk+tZKtN6Xu4mcdy2SQ1P+87PDzPItScleAleW+44vhEsoXMMITbiOn13PN9b79zKHCe47x1eOEOJArsRONfr0WsQfbx+JPHxCi+qOdH7XhPhYAO21sltnf5AZTyAdT/2tmtqBD9ikAilzxHZ5YKAZ04R5UCaTH0a2L4D+qjkfChuB9+1e7nHlbl+f7KSwd/GCUAYFbvGHMTa0coBtF1Y8N2yBcZirzlkx7x5O5GQUTdj8BlUhwJIaz4KKU5Y7UEdVUm7ZRETopArDKSMAFRqx/qmthjY4aIcupInPKJP5zaRL8orwFDKotm9CTo/wmphLn2rCR3OoNcR6hEn8h2T4GNYMDdhNL7mW1RtUvBwK3vikbd8ZqRH/sbB+OzDiJugpl718MNtgNKmIgEAVM1i3TKiqyMnmYmPku6G2Q336MEPD4RIyTB2mZaEDCqmjLFhQvE53CopI4jY83nJucCfVeYLJdVWqgOAGwknpjTmUUnrowkhAjU1uRdYyyp0kZQtkvc+R9oOs+tTum3rzI3TroG52MgoFkCB2IaoVcpYGEmnQHXgqjtQH+ctIa4h2fyq6m6Qf6lsJ4MG4XF+7lXIqNbmztGM1XgsxX7RVWWobxl3JJyx4okmpGrTMhCSTwIQz6uBROcky5c+2+YBYvg5l0MziYU3bGwFE9ujs7SidOlQspkz/qjyJERyit8Bv6vYL7t+jr5mA8lqXdhbiCKv5wdMdbo8CVHx/zIGoKOWzsHigQjEt5ca5+Dv+OWY5YVe4fMuqJLv/ty6O9UhynNsWmz5m93zRbWTMO1TAmLDTs3vaM+/6G6HjqQTbHaQpq3Z6adCxmcydO0y6t3z+YAF3YTcKzMo/Vhp8soa/jpYVz3Ax6NADJLhPHhfQf7VKBvRaIJCWalg1omLAb7yAcza6y0+wzdVvZaxHt59lM2rssyh6XjJf8zuwVHLmSgTglNupRRZJ3JTJWzFNtL5RvRLsbHaVkNcm2QKpg/h35If/KDqX+1VRPBUaH8BhA9WsqwiIO/n0JYjZCaZc+oDUmflh++CbaUDY7wcpdMZjJasrbdsGKtIW1HxExD31d/ZkyloUhvshAV2nT7k7jtmSeO17kU5VJFpjIm7Cgt42B1jFaQYoOIMT8YFS+OrndecAyPmzdWITIkK8X4zdzISYieZKjoM064rAfVkYQOaLcPfqG6Pb3p8bSHijCfUnVcTLBLPMyU+icbjj9D1EnMfNZs6zn0/Sgfb4f+c9JqVUmO+m1tHe3jKyHoNClkhjdTNnKmasSVnasMxlyVxN9ici4e4aFDmL8tgYb4H75OH6BT7170N6ulqlgzGHNh/zW51wRzTLGJh0wndO7Dk8a5GABr1uDStBKhWwP0FPrAbejVdS2cKY88CHgP7LGcrgTEkN5v1rIoqfCMdKEkABoZ61ee34VeKvcgUvEpHLl6Jbkpam6jdlZ/D0knhiAa0aXM13RsdzPwb9qU6VyQ3ObvvDLO6muorQsBUotz/uzKhTj9zgs+OfAD4U0FmDatkZQbADTlt+GkyNppYX+Y+B80iJ3GWGzQ2R3gWJcdErgdVEBSC+id7hmIwNARXt3B4iVpdLc1Qsap5qymG1QCMbzhQHg+pPijgOLiD/G9zItn1D9k8nyzT7zEVJ47FKfSow3tuu32d1aX4xKXfbHJhHQfGqyzhYLSMILx/l2sawa18sH0mvu+ILFr3X5d1MIF5TtD8iszNWYNJqRHeE5Spj40Mb2AOe9DL0gEZgikvYKXQtgF9VTdxorJbDyxx2izX2RQ1rdMvwAJRhT7lhWb8Jtk5C1AXjwM1hY66YfhRMHgdUNI5fB7Q78ExquYa7aSEz0QjlbPkZhun7fEd0kc+bPQ9gjBOmpLx9GGHDjygSILT3eI5sYVc7OaWPGPz5KtQJArStoNU1ACzMS1gsjVg8Jx1aHtVqENv4GyBNbzpz2VU6huGpjnm7Jv8pqYxncTn6ruYGuyOKEzwwkeC0q5Q+v9mmjDEu26J5/yZ4GZ8I7ZNYSkU+vc1v02Q57+SckZXiwtfSfilAc+WwSe8JNUCLrv4JSVujOlPKplJ+OzaSF21HWB/G/QCb6LbFfZejXhxESiAyuFaZa+3QQankU1h8xv1taGiehfxRdAY0s8eIxE1eYPbaGIu7OpAQKu8Ys30l1VIHc6kiaMJVb0+tqsWSdXOigpeSG/mnlCd/M2lycuFSszeilOyoD6w+D3zOXB5oejJNkOThaBaYaVZxFK9vn4MNVJIjBxgRkSUhqUW7nV4cwUxut/5SUOnEKDt9jslOUShlGooRFdzPL5CmdXaRbXhNRgrx2tZl17bpABtGdKScOZyL0ZkmGu6whiKclLjp3f2HalYY/dnYYSrOsAIcQPcpcNTyFN9UPRnpQTIv+B+nCO5c7pZ/TF7CVetSVNGwh7QMhC9vevd5PSFJXCyYr3MMBS17UQdFiJnvIkIqSKJr+WiparsrnJcU+aSuM5ri1toRTvwHWp/4BbSKqTxY9N361uDqAFFeKqZR79tExExOKp8bxL1r80+x9D7ZPSVNlOkMTkO0Sr27xAEmFjnhrk1VpV48I103hkqJEfNbbtgj/5vcPrHb0KKIFQzQ1UbnKSq55hF+N1368D9MyUm7mbTXWyyVi8nmgzQ0959Fa85/qje7jO8KqxcXZ24d52qirr29JHVc5v8oZ4eBFJNKqBYZtHo7kvJW2TwxX1xQQ9io578/htCwnebJYIlj5RHRIEhme6vTh3nKrpCft7cF+208/ueXShPmHfk4KtKuPgiJWGH5+ChIRNHOtSgIwRB5KakUDxr8pVrc8NSBx9hSxEu80C2ngUvJmBihVgweqVxNXH0uBDs5c2fWEd8pQMGSzhSy5t+kk/l9Q/PHfDUy0EOua8w+pM7ZBaoJilhvCKSR+Adb1vl6B6i7+AMnXwhcu5ej0wTPbbsPtLBMmYZCAPjysyXtBhuYDzRmGUjZJOmpEKmJfbl+Qwcgv2U5M6cDeuU75W3VCTP+1XrIrvcruMk7e7KG8AjZpyJOoIqwWJTWkl9WMx6uZL6Cjs6DIMjoKlrQSVvtE3RDZtPYKgh0/6wqjonet2wDjz/zVGS7pQrROaIGm+ix0ilHVBZ1P90rqdevJJHnspSCKhzonE2gwiTBAKtChXfCbD7hihUOjDOdCsNPCJ17s3MbtUxNt+8596Z2nWJHJn6LVwyF0y7C37UXTBVy9QJaTLu5EeUGaJ9MsZjz96rDGb55vWAXMw5XfircYkgFqYTxiNiJt4laAB9SS2o6ejwyUpuC7znqvakZh84h0TSqLrNQaRznyIotkVmXSlE40CMUARTH7Vi9ZD+7QgSbPQqz8SBywpjmwJ9MiSvLz+1PQ0/E96wojiMUjkFl4p2Vb8QYDm3R0pQGDccDulUqiOzQs+mAC25rf+OxslFeF8mCpZfWJXKgbtrHEQW6XLsX0HxMxn38dpfVvZ2NEHmixu0TcwV6pbdI205sjTszFoXI8OQV2dDkT/0QE0818XlJIdHVnDwDLf7aAxO7hd7EVPVIWAsmnTWNAdPnIDZv0igOeKfmwKMW7rzKppNWu4E30Rakgy+GJON9AWIcRgv3qFJVGVonlY7rlEHucZWMp6cZzr43V2HhE5rq8yQt5SK5I6n1GIv8sqn48ocg0Oyh7gEz3A4lAXohO2uzITUQyjKvQJb5WXqPcDKjaCMM/tj11nqogsRjVYgZtzqrmxxqzgvmLXHFzddGdQm6YmMmgPC9P7eSw/iUMY8ooilSERXH3lYzYHAvbFDb4O4vBOFc45Xvd5wHK/2LPFd5iBg611DSFregfma8nFBFkhs+psPLsQhk9dwWV8r53dlMEnrbXEGF1WhcZgguwewed3+UBTcGEU/j5Hv8+FZMZmneVQHmHZsqEygRG/pG7BInrGbONQp/vTLUN12Cunze1LL4AEytTHYxGoC3vvrPBszO1DvT2xXd9BLWI5IEsYu+TJyyAftVhrY8UBTOpbdJavylN9Uj7JEUJ893r4ka7oWGRrnoRqS5LLAlxq7srjq0xfSeNrUsTRZtbwz2E3hL2JFJjdIDEWvPR9GdV6B05MII+8CQyW0lIO1OWCdJS6uTBsuNtKZSE4qwVfv6gAjXg2SnE9YonUb31Jgx2rYwiGmHjR6IyxQRUXBgnCbrfx9e4hIIMcK+1D2eEQdtePSra1wEH23w/3kxCTJ9padlABYgG4xtbreX1CqiyAFVOMS1aZGjN/Q2hM58Sm1aPPj4M5dt91WCM29ZwgiLzCZE/4koBlzPIw5q2r65THcqPDM8WDFgdO2ZYDckSXDSxRM1thgGXFobvgDOY/UEg2MUwoyxzoLK8XwRyPdTH9+082VvW+8klsbSLPaCvkjm/bOdNImmK3QL0IRkQ4feJ2l3BkA7jjPDRdlLiaRwn7tb9iw+aHaVhbO1ASr1minJxNvon69zTJO3EPFvaF1JAsvlBdV313bm77WqcihYZWtUCck73l3Nh8+YfYf6L1FjTPOVgJv7WBwSmk7KxBtLvxtJHdeeOf4sv43N1vXUrSYBrU3oYqbLVbC6RauXoM2JObHwvNGsPQ7sOzP3yYYQFM0vzwpMTy3zlfjzaX8v4vDx4zjIzZAjRPRT2evEPmFsoeIQUHxLmWU9CCnY3BpNxCYOZyE9XMbF1oA0+kPFi43cqf1qu+Ccfi6ZQ2XN7anTzJxBAp4P4aLteQtdrzTjuv0EUATvUosgCkGHJ/FN0MwQu1yKZnrPf+/u57ZZ9t7XcsI73JwGgUYKaehC9K5J8+JdySnOXhazPdMQyyRMSmK1E2MLLRwp6qjBnE3GnXC+uVJGgbhxOjTvwPS64qUrXUb9NhCW8BA18FIiE9b30VbSlM3Muqp2k5IVvY0BI4Yt8t1YdomVQ50tRGJdW3GYpiz14pRYHcTWQni+8uGey438o+B0HSaKQhttSUaGq9ZIKZcu07eoTYeJT53NZq11py/so3nU2ld7mHvfGoUFHi7hk0PXRv/ygQfSlfvSud7U2ISWWgNJQ0Gxy2wgmogyQMDlL6b62cqRXCYMQHhrk8PVMA/YX3UzhAwc47ejBk7MBcEPetwf10PGBDOIf+WEHI5UwIave8x9Gr4LDURd/oKZ5nKhblcIcMsWRG7KfkootfQ0/X2XaEoSiCNnqhUbn9uEuQKHs9pItbF7Uh69wsDXC9sF0Fsc+ZUNzAxVW1UKAaHwjNVL6xTcH6VXiL5Hkc+RglCBVrgnBTTXEF7soJj0CKgu1MFdluhGDWMKQOdc/GD8XM05XjN0b88HKAJrNT/qqE6hnD828Q4qzyOBw3W02uqHFPzYANXS3TOLLbTRuJ9XHyuFF3QtDXzfxC45ph6ndtUJzjAQ7iOFKuKCzhN0xtjbPyV0GI0pEOQZAHUzMKtyO/zvxoCN71hV2iCAgeH0soXE4P+aoubT1PyaxVcsmcSTHKzY/Z7xqHGa/CFF/ZmxFTkgfuIOj6bY20ZEv/+elarDhckJwQxS0NiUTG7yFEzZcGUmRek2qEK9qdBmxOO2AK/fRBe+OSYfCDvJc3EQEVp6Vxhg6hHcLDiscXatIApsou+KIeSiM8mFcU+LgtBNCidR0dbVwzMo0XmyV6X2p3RkR8HuRUkSEzgHPufhFp0g2I9Fk7oBSRb49B2xnZvS/Tl7EmzekcFdxf8j1AnBZwd/ls8cKrcyhsxPXIW40L+zIVabVqJke5orNDdiVY+AbFhn38xeLj72d7gzPjIyTeLzpAWRRaHB863/qfLA7Jed6W95U6n05hftsfA7SoeD6BL8Z1UiD/D/Qukq+mTzqkM9WHrSk1PmcHUSo8ZvCWaab5+GYFVGareeiGoRpNlMnIWXrzZwOGnfhO6uIduCuzh/Qj3PTSD+CAiUfJtqecnppZ8nryt8QO60UDMUfjtkzVleXVetE+4bXdxCn67TmwN0VNBvIMYplzsTlmxDrbLDt/8lacyXjO9tyAsj/zGwAkmTkJa3on8C3tl1jaTpBf42k3fyQTbkd9cjAJSH193GyhU+eqO6UMhZSGdwYl1nqbiT4nLR8jHrOiaOE/m/aemli9kua2e1zvm6KPyphJ+dg2hFoshBk8ydk+gAieKF79OLx8HRvho7WfMTztEd3Xvrd2f5/NYrugtErSiKrG/ilvguQRDR9MsTErllHXovXXPeBLZkitm+AX5ILW7DkFlXIsdqnT+RFS1Dx6euNdaXzhTXxPResH1mBkO/WJznJtW1c2RG4HDSmC6cQcaAMo6urIbozWA/pcwQ+cUdPusbpIJy+MBXXFlsHJKLAacFz72q9mgA/mnq9hQ3UJ03FPcBZHraX2v8ha7CGFLfnBl9eoDqnYrCCZL2qBbpRxvBjiI5mtwm29Ls6FLAwHI2OutSvfl2HAaPn9Ydq19/z6gTdCY/LQbo+4gF4kki9raw1zEtGs0d5x1s+ImP9pl/LOU9ICeFHlpbssqEqwqiVRNb2Jvxgi+jqtyS3KpSMbw2JlXd9O95bYMniI+f9TAygwJPhuiiScIdyDslajOZSoO2w1+ZUxROwqysKw7tA07zOycNuhH8i8mapFMnKhwbREHnlMgmXkCVM0W9oOA0peoi481FYtq7AWxGPKtCoyaAFlW6VScQ/LdP0/PFctOU/yc/BxtxqjAqHRmvuC3nvzPWVhPkb6ZL/KjD08dBKSvjegygsXdIHOm0fGVA5Qb7lV3u5naRR5pcSvVhF6LylJvJxGzXExbcEn5luXgjx3zJZDn2992ZCLCNfFoH/I9vwar9YpyRSy7uFC1XLImRZN254d6WwVgGHPtFe/ywfasiYAlP9ii+qa4Y6YdcxNL4O0L6+9ekQ9CHSUq1Dt4/opcCfIfmFYBtn+COK9VTlYHRq/6lrsysSHQPqsPrhEOsJW6hzco/iSxspVvj8yJLWOo6jwRhI0wzUKbeJUY5ik8CiT8Hp0VjBlYE4sTpKZp4Zz13BnPczqgmB6TjNrGgmWZjMQH3udxAKW5ji6DlLggPq9Pm3qzkCG8obwOf39wCjrv/1lrpyy+SEJRlvqaC9TZAcPtKPXU6GX5gdH8IMxIbgmL8cLk96bheuRDwbOc0gcuf3pxF2WxFzymNG30/miGmFu2ZEtcd0ad9PEn8nx4SFu9oMeSnjR3uHTrBPBkS7p3dse+Rwxm3OKpBTj66PpujSLXP+67au7G2vSN3CSlhZq3x4xYNX7ScOilL+oPxSt92ZjSQ6PXwnS7J+DZdmGIq57GXT1klH2UAhg2BP/TcAS7B8e+MWXBxQ915lN3E7UhEGfu4G3Ps6Uw0Jx3xNfjkuI6Pg79UlfocCi1ry/NtMvFjhcApn6KT+Huc1mHhjZuNl4d0ldAQGg3T+xTCrZIasR3AxRbpgl5+PFNOEFLyYXlbaxX5DuvQwdw5eE+zWXx+FJOIC83LVC61iNg9hQTwuEz8kRaDjQ8QylRfnCPQKstQwaX1tVC6nQJcHRXrlVHQ0MqhoAX2xuIqXLNMap9WBtQY2pLvxynFZsUD1pW5oj1u4QryzngMyXK53RWfnzczo+hrC9ZraZk7lj00PGJI72MuBsacWCpBDP+FJKhq5mJOe4v9S6zbpUmjKBpo9HYSH2FFA8WDG1pPb0kt9qP/jD9pbbOtVYoMk695ez0EcnPAsYUC1q/X5O+hsC4tZpDYaWVAQvV+T56pH5gFh3y6IM+r/WZ+Kvpb02IFSNT9pN22OOydFhq+LTaYlnkukeJXecF3IvsAsLJuKSUiADHZqUwd4RJ74jzaXFgi+Qjm5QP7zLh8ablgZ8veXoBG12rNkSLC6L08zIDM5277L62iTghX9xi8HZp+y+S80C06kHcrSplnHop6fh2rBYvtyQjjFgigCnfZN753TRuFQ36nuhegbbw3bW5MrrEpZdhMLeyj3m9VFx23UaHnVxEEJiXvUArdv4NtQufKo5sBeXQ+vGCCIjQ+7LsOK5+2ghka1BKwY5DWkX0twlNSvZ422/FRObOeUkLRL/MO7mBfQRZzGjBGtqkpFyT9Gj3mt3jeSEMKU6BFJYecEb/0QHP+H88ik5MgfzdYAq+FdN/wNLeRAIubm1UVMka1ZRmsjl6DBUn7uv/7D44NT0XjJg1xfvGDjJW1fOK/9tZ31c0WJeuoQMtBomLp4T+2o+2E7WwHShtg8D+ZXfeG9zXnDbJlBRK6teItYP86xWTkfe5wWNlK1A/Vu3RbmYnl/eIT3n5lbZYDYtiUtG2k2wmEuEb5nYA4dErip6FIYduAdpZoGlZh2zQNnHk/PMHpIvue2NAaML1QgRqUs9t+tMoF+croxsCAoGNMN6UaIafDXcL+tMbYLo73Ys/Zm7dJM0qo2TxGirQhMBL/qeGdZG1PgzCAY9ub1SmAE0Ep43RUtMXOYeqBy8mO+xzOLZaIv/RmgOrJq4WZgUCy6H1DCQJWAIh/VItc8KBm1HeLItLfjz5YDOODvgqiXirEkQwpK7ykf3sjtQMSBh1Upw7OIKVHTR+v9sDkA8mkYCLx6Hi21AswVBctVbWbhEBFSo5iVF7gO4HQrRx5uqvbJa6y1Oxpm2QoMMpvZLK5t7DPA+f7ZoYE8Bc06vfJ01EpSUj92tDNptaGM4A/gg9XVVdpXKfu31S7BJnkh6M4HPnF3FoFqAPmKaRGILbXtDQl9pQ6QpmYhiXWLU2wyGzrkMFL3ZaheNgxfUpbdtWF1SJlsLsd+YSP1XOAtEmYHHNlaV5nA8mkWbMJL2kf0pO8LISTgxT2tfUeY9tSaneoRvPdokkM0tskPT1rZdgWEmmeG2MHtRLOf9rEAjD+upkH5PSsFOltJVVbIOPpbn+9+pY01CUnjx8Y1mszTb2QJCwHtcDKmykuvR162iLtawKfRcv91VZvjkHM/84+3A+fpO5wHmbRzBtaQrJOE2l7rUy4D54NxeVa6p4OC5kjdQjcYfbaP5bRkVTxzqXkiomK9HryuhxB3bx3qwAqo2YCxZo/I5Cxvyy2gmRwHTGQ8BQEMCIYgk6kmaNI8yuNQaQOdgAbrFhp/ud1Yfcf7fx9IhjInj7jXHdH3ebD9xg35M3rZFljaF42dCqRm0kwdB2/h5NtAL8J4rV8OvmerGPhlM8TNYvVrSVqwsEgicq/V7PO+VWw2fdiuuMvz3hKUSxAAO0Jpoq5cdS1UOOVHAyM1pvkZE/Z1KUCQ4qeMp9l4zCNINZ68B/PhXVQs73hECoKhx58QtM88GO3e3MzJ1RVnpLFWPpqRsQO6FjeYVrzc19O6CkLdPpvNfNbZ7qKRCkRpH4BUVDUCScjiizmF74dQqamc+UqWwQxApHWCmFRzhPhtYRUfrF+l+EwB7kcZJaf2WY/5hQt4STDR+e3+p//drNtYvj8A/ExwAcbCviSRmpx/HvFI0Dzh/knl4vcI9jXE2CeBzuIFI4S4QSGhJZGO7TPFxVc4m3jcKCZXYbbl+hQVN0KdA6JccBwlYVm20aLhd9bTlgaQ4AkQyJcCTEtS9wzYwPtyxe+f4zkNU1bjMR4lF3/Ch+GXvL6RBMWekZx8pPyM7DXZr9gUR1PjGPdoOrEryWCdyqhr0/6l155Xmm2/9lQ1/eT0iXui1qPPkVH1TL5jF9aKAeQoLYqwcjZUDoruGEXrb5JYMYeKD0MZV1baUXVJY55O7Ct3fDhDcZpTJR2QUvgKAzTzlfNd6a8bOsNMlSdqr7oSZeMhtjV01Ia1R/VsTWDcdPrupiA/Etjjr1oturDGteEvfMKvFzrMhBpzjDZobCojDK6J8e2WKLTuJCSyw8oCAPeLuBO/+Qc/SdUctqlJXL8MUXs7FbMv9LKXJQVgNXD2zrRWOJThhplK26PPtiR/ifqqEuDX2Y6uK2CAfNeR3awmoqGopz08cthmrGdJqkLJLumOZaQIQ9APxOVSXjui51jytMiTmk92wZRbSPGGc6kZFQKoMlr1atvpTOlZS4g/vQ871U7gSnouh5okpaPfJQ1pyaK+3tEfMW+hwp13l95CoXZgyNBOTzQ4gOE0aRM5RxgtmA78M2/6Q5AGIiH1taEm62vl86i3/IgtDl95Y4IX7sA0vjA8Cz3zU/z8FwVYM1JfZgcLknoKdzys8BtRwIR9YI1QUbcIDEunTT+Y1sAT5gvBE+p4KyEr9YtIEZnYKb8pGjHOlI/PDGeGNJ9BoyU6Ln1EqTrCTMa+LkXt3ozqTiSY692RjKfWo0oZ62XffN6iQdp6y+qrjji/TsLp+9+pOpCt7Na1VRo5SezT92UVIIuz0lR/7GpoCgeHnmsrAqYJNHn+RNd8eONQzunvaZfoYQ++f3o224IPs7tDTTvM1SFgTTEsPnls2qtMsnKDP51NUAx7gAHn4/qL9a3OmF9fKkizUC+SnENTPslmMT85hP62uuYkTS26hqat7VdUo3mLhf6BGIeCqyWkG6sH1XyaZiWcI2Pk21eakWzo9nnfZz5kuMOGL/hhP9b95vD0wJb7k1MnaulmchiMsT1KPhy9STdi3M4ZVHd09c8H6bH37VuTXTyfjwyRfvUF5xBWwgscH22L0opvS0DIC0OyghrZD44z7/XHcS94nNVSdKIJyy5MYdOD0AW+urDgppDFulxbtTm0ZBRdRSKIfgqVlNGrX6IbkMsWYHDJIUuZcrbMayDctD0VEP6rD/KFaBUo5KS/ngwalOErvjQdBViq7E5ZK2jvXwyu/s2m48u4dEjiSnPEVM9oKnncGkczS18MYlnXmB8sOHQesGdfODx2lXa218iJNn6Umf4MIxggmv6cDTkyfqlbG05sd10NL+JtudEmznbyOEFeZOpMirm84UO964oniQliHCDwjTFXZnOak0yjfhBJ7GVvM4gh18zlU92OMxpBxOiQNZuTbh84ZVtOiMMXFdp2MJ4PpugJHmHa7BTRnyPqME0t62lIcFs+2hISlkINn0iVepyQw6TaVwcvyCF+6+UUxyWuVgi0axtz9lOGvKnIeKiMS926Xa4GNKQSeBMYczxxN7WZ8SoQy6qC7C8bL9SU2K984smlGHKbRnwqpuAqns0wL07T+l4hKl7okJJcFqRVQFST5EytAUo+Is1Pi8DlvzzYcTOh3Gu+uDCOS4BdofItTkHsUoVuO76expQmxP0VD8Q4iv8O6FIgWDUv/XhTO8H/Tf4QoO3B+v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3165" y="1633817"/>
            <a:ext cx="11528635" cy="4928591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330200" y="1280004"/>
            <a:ext cx="11526837" cy="353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Earlier you estimated you spent about &lt;</a:t>
            </a:r>
            <a:r>
              <a:rPr kumimoji="0" lang="en-GB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nd_on_self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over the last 12 months. Approximately,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were those dollars split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ong th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ing brand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 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Over the last 12 months,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much have you spen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makeup for yourself?</a:t>
            </a:r>
          </a:p>
        </p:txBody>
      </p:sp>
      <p:sp>
        <p:nvSpPr>
          <p:cNvPr id="33" name="btfpNotesBox251361">
            <a:extLst>
              <a:ext uri="{FF2B5EF4-FFF2-40B4-BE49-F238E27FC236}">
                <a16:creationId xmlns:a16="http://schemas.microsoft.com/office/drawing/2014/main" id="{3E0A1ADC-2A0F-4FD4-86C7-688D6F69D4C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SOW calculated based on weighted average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1" name="btfpRunningAgenda1Level418601"/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066097" cy="257442"/>
            <a:chOff x="0" y="876300"/>
            <a:chExt cx="3066097" cy="257442"/>
          </a:xfrm>
        </p:grpSpPr>
        <p:sp>
          <p:nvSpPr>
            <p:cNvPr id="60" name="btfpRunningAgenda1LevelBarLeft418601"/>
            <p:cNvSpPr/>
            <p:nvPr/>
          </p:nvSpPr>
          <p:spPr bwMode="gray">
            <a:xfrm>
              <a:off x="0" y="876300"/>
              <a:ext cx="296853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1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0 w 1447732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1 w 1447733"/>
                <a:gd name="connsiteY2" fmla="*/ 257442 h 257442"/>
                <a:gd name="connsiteX3" fmla="*/ 0 w 1447733"/>
                <a:gd name="connsiteY3" fmla="*/ 0 h 257442"/>
                <a:gd name="connsiteX0" fmla="*/ 1608033 w 1608033"/>
                <a:gd name="connsiteY0" fmla="*/ 0 h 257442"/>
                <a:gd name="connsiteX1" fmla="*/ 13930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3 w 1608033"/>
                <a:gd name="connsiteY0" fmla="*/ 0 h 257442"/>
                <a:gd name="connsiteX1" fmla="*/ 1553312 w 1608033"/>
                <a:gd name="connsiteY1" fmla="*/ 257442 h 257442"/>
                <a:gd name="connsiteX2" fmla="*/ 1 w 1608033"/>
                <a:gd name="connsiteY2" fmla="*/ 257442 h 257442"/>
                <a:gd name="connsiteX3" fmla="*/ 0 w 1608033"/>
                <a:gd name="connsiteY3" fmla="*/ 0 h 257442"/>
                <a:gd name="connsiteX0" fmla="*/ 1608032 w 1608032"/>
                <a:gd name="connsiteY0" fmla="*/ 0 h 257442"/>
                <a:gd name="connsiteX1" fmla="*/ 1553311 w 1608032"/>
                <a:gd name="connsiteY1" fmla="*/ 257442 h 257442"/>
                <a:gd name="connsiteX2" fmla="*/ 0 w 1608032"/>
                <a:gd name="connsiteY2" fmla="*/ 257442 h 257442"/>
                <a:gd name="connsiteX3" fmla="*/ 0 w 1608032"/>
                <a:gd name="connsiteY3" fmla="*/ 0 h 257442"/>
                <a:gd name="connsiteX0" fmla="*/ 1886954 w 1886954"/>
                <a:gd name="connsiteY0" fmla="*/ 0 h 257442"/>
                <a:gd name="connsiteX1" fmla="*/ 1553311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140230 w 2140230"/>
                <a:gd name="connsiteY0" fmla="*/ 0 h 257442"/>
                <a:gd name="connsiteX1" fmla="*/ 1832234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1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0 w 2140230"/>
                <a:gd name="connsiteY3" fmla="*/ 0 h 257442"/>
                <a:gd name="connsiteX0" fmla="*/ 2343810 w 2343810"/>
                <a:gd name="connsiteY0" fmla="*/ 0 h 257442"/>
                <a:gd name="connsiteX1" fmla="*/ 2085508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343810 w 2343810"/>
                <a:gd name="connsiteY0" fmla="*/ 0 h 257442"/>
                <a:gd name="connsiteX1" fmla="*/ 2289089 w 2343810"/>
                <a:gd name="connsiteY1" fmla="*/ 257442 h 257442"/>
                <a:gd name="connsiteX2" fmla="*/ 0 w 2343810"/>
                <a:gd name="connsiteY2" fmla="*/ 257442 h 257442"/>
                <a:gd name="connsiteX3" fmla="*/ 0 w 2343810"/>
                <a:gd name="connsiteY3" fmla="*/ 0 h 257442"/>
                <a:gd name="connsiteX0" fmla="*/ 2655947 w 2655947"/>
                <a:gd name="connsiteY0" fmla="*/ 0 h 257442"/>
                <a:gd name="connsiteX1" fmla="*/ 2289089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655947 w 2655947"/>
                <a:gd name="connsiteY0" fmla="*/ 0 h 257442"/>
                <a:gd name="connsiteX1" fmla="*/ 2601226 w 2655947"/>
                <a:gd name="connsiteY1" fmla="*/ 257442 h 257442"/>
                <a:gd name="connsiteX2" fmla="*/ 0 w 2655947"/>
                <a:gd name="connsiteY2" fmla="*/ 257442 h 257442"/>
                <a:gd name="connsiteX3" fmla="*/ 0 w 2655947"/>
                <a:gd name="connsiteY3" fmla="*/ 0 h 257442"/>
                <a:gd name="connsiteX0" fmla="*/ 2968533 w 2968533"/>
                <a:gd name="connsiteY0" fmla="*/ 0 h 257442"/>
                <a:gd name="connsiteX1" fmla="*/ 2601226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  <a:gd name="connsiteX0" fmla="*/ 2968533 w 2968533"/>
                <a:gd name="connsiteY0" fmla="*/ 0 h 257442"/>
                <a:gd name="connsiteX1" fmla="*/ 2913812 w 2968533"/>
                <a:gd name="connsiteY1" fmla="*/ 257442 h 257442"/>
                <a:gd name="connsiteX2" fmla="*/ 0 w 2968533"/>
                <a:gd name="connsiteY2" fmla="*/ 257442 h 257442"/>
                <a:gd name="connsiteX3" fmla="*/ 0 w 296853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8533" h="257442">
                  <a:moveTo>
                    <a:pt x="2968533" y="0"/>
                  </a:moveTo>
                  <a:lnTo>
                    <a:pt x="291381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btfpRunningAgenda1LevelTextLeft418601"/>
            <p:cNvSpPr txBox="1"/>
            <p:nvPr/>
          </p:nvSpPr>
          <p:spPr bwMode="gray">
            <a:xfrm>
              <a:off x="0" y="876300"/>
              <a:ext cx="306609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are of wallet</a:t>
              </a:r>
            </a:p>
          </p:txBody>
        </p:sp>
      </p:grpSp>
      <p:grpSp>
        <p:nvGrpSpPr>
          <p:cNvPr id="5" name="btfpStatusSticker298252"/>
          <p:cNvGrpSpPr/>
          <p:nvPr>
            <p:custDataLst>
              <p:tags r:id="rId6"/>
            </p:custDataLst>
          </p:nvPr>
        </p:nvGrpSpPr>
        <p:grpSpPr>
          <a:xfrm>
            <a:off x="8746415" y="955344"/>
            <a:ext cx="1226940" cy="235611"/>
            <a:chOff x="-1737657" y="876300"/>
            <a:chExt cx="1226940" cy="235611"/>
          </a:xfrm>
        </p:grpSpPr>
        <p:sp>
          <p:nvSpPr>
            <p:cNvPr id="3" name="btfpStatusStickerText298252"/>
            <p:cNvSpPr txBox="1"/>
            <p:nvPr/>
          </p:nvSpPr>
          <p:spPr bwMode="gray">
            <a:xfrm>
              <a:off x="-1737657" y="876300"/>
              <a:ext cx="122694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</a:t>
              </a:r>
            </a:p>
          </p:txBody>
        </p:sp>
        <p:cxnSp>
          <p:nvCxnSpPr>
            <p:cNvPr id="4" name="btfpStatusStickerLine298252"/>
            <p:cNvCxnSpPr/>
            <p:nvPr/>
          </p:nvCxnSpPr>
          <p:spPr bwMode="gray">
            <a:xfrm rot="720000">
              <a:off x="-173765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ounded Rectangle 21">
            <a:extLst>
              <a:ext uri="{FF2B5EF4-FFF2-40B4-BE49-F238E27FC236}">
                <a16:creationId xmlns:a16="http://schemas.microsoft.com/office/drawing/2014/main" id="{1EB3923C-83A3-4B0A-BD9A-9ABBAF875EA9}"/>
              </a:ext>
            </a:extLst>
          </p:cNvPr>
          <p:cNvSpPr/>
          <p:nvPr/>
        </p:nvSpPr>
        <p:spPr bwMode="gray">
          <a:xfrm>
            <a:off x="5446583" y="939222"/>
            <a:ext cx="3183122" cy="235611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: 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ighted SOW by L12M spend (mid point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9743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btfpColumnIndicatorGroup2">
            <a:extLst>
              <a:ext uri="{FF2B5EF4-FFF2-40B4-BE49-F238E27FC236}">
                <a16:creationId xmlns:a16="http://schemas.microsoft.com/office/drawing/2014/main" id="{DBF1A105-E283-A30A-26E0-03017CE7693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6" name="btfpColumnGapBlocker856041">
              <a:extLst>
                <a:ext uri="{FF2B5EF4-FFF2-40B4-BE49-F238E27FC236}">
                  <a16:creationId xmlns:a16="http://schemas.microsoft.com/office/drawing/2014/main" id="{5BB2D76A-5A1B-7E3C-088D-0FBA717B95A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770641">
              <a:extLst>
                <a:ext uri="{FF2B5EF4-FFF2-40B4-BE49-F238E27FC236}">
                  <a16:creationId xmlns:a16="http://schemas.microsoft.com/office/drawing/2014/main" id="{D0E0DA4B-E763-4A91-1D5D-445703181C17}"/>
                </a:ext>
              </a:extLst>
            </p:cNvPr>
            <p:cNvSpPr/>
            <p:nvPr/>
          </p:nvSpPr>
          <p:spPr bwMode="gray">
            <a:xfrm>
              <a:off x="9447371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801535">
              <a:extLst>
                <a:ext uri="{FF2B5EF4-FFF2-40B4-BE49-F238E27FC236}">
                  <a16:creationId xmlns:a16="http://schemas.microsoft.com/office/drawing/2014/main" id="{EDABB311-DA3B-84E9-1F36-AC98E7400FE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888836">
              <a:extLst>
                <a:ext uri="{FF2B5EF4-FFF2-40B4-BE49-F238E27FC236}">
                  <a16:creationId xmlns:a16="http://schemas.microsoft.com/office/drawing/2014/main" id="{58BB5B27-B869-7873-4374-373AC5185752}"/>
                </a:ext>
              </a:extLst>
            </p:cNvPr>
            <p:cNvCxnSpPr/>
            <p:nvPr/>
          </p:nvCxnSpPr>
          <p:spPr bwMode="gray">
            <a:xfrm flipV="1">
              <a:off x="99879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591710">
              <a:extLst>
                <a:ext uri="{FF2B5EF4-FFF2-40B4-BE49-F238E27FC236}">
                  <a16:creationId xmlns:a16="http://schemas.microsoft.com/office/drawing/2014/main" id="{388DEACC-652C-A568-AAF7-29D0ED237A13}"/>
                </a:ext>
              </a:extLst>
            </p:cNvPr>
            <p:cNvSpPr/>
            <p:nvPr/>
          </p:nvSpPr>
          <p:spPr bwMode="gray">
            <a:xfrm>
              <a:off x="7032943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518263">
              <a:extLst>
                <a:ext uri="{FF2B5EF4-FFF2-40B4-BE49-F238E27FC236}">
                  <a16:creationId xmlns:a16="http://schemas.microsoft.com/office/drawing/2014/main" id="{C357D642-30B5-8BC3-2FF2-4F169C392D0B}"/>
                </a:ext>
              </a:extLst>
            </p:cNvPr>
            <p:cNvCxnSpPr/>
            <p:nvPr/>
          </p:nvCxnSpPr>
          <p:spPr bwMode="gray">
            <a:xfrm flipV="1">
              <a:off x="944737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576738">
              <a:extLst>
                <a:ext uri="{FF2B5EF4-FFF2-40B4-BE49-F238E27FC236}">
                  <a16:creationId xmlns:a16="http://schemas.microsoft.com/office/drawing/2014/main" id="{300E2697-6C36-3ACF-10EF-662578E586AB}"/>
                </a:ext>
              </a:extLst>
            </p:cNvPr>
            <p:cNvCxnSpPr/>
            <p:nvPr/>
          </p:nvCxnSpPr>
          <p:spPr bwMode="gray">
            <a:xfrm flipV="1">
              <a:off x="7573487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btfpColumnGapBlocker580700">
              <a:extLst>
                <a:ext uri="{FF2B5EF4-FFF2-40B4-BE49-F238E27FC236}">
                  <a16:creationId xmlns:a16="http://schemas.microsoft.com/office/drawing/2014/main" id="{5E240BB1-B2E0-B4A8-5166-FDB16ADDC8B3}"/>
                </a:ext>
              </a:extLst>
            </p:cNvPr>
            <p:cNvSpPr/>
            <p:nvPr/>
          </p:nvSpPr>
          <p:spPr bwMode="gray">
            <a:xfrm>
              <a:off x="461851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862639">
              <a:extLst>
                <a:ext uri="{FF2B5EF4-FFF2-40B4-BE49-F238E27FC236}">
                  <a16:creationId xmlns:a16="http://schemas.microsoft.com/office/drawing/2014/main" id="{724589C2-C26E-6D48-E876-D73044B5C46E}"/>
                </a:ext>
              </a:extLst>
            </p:cNvPr>
            <p:cNvCxnSpPr/>
            <p:nvPr/>
          </p:nvCxnSpPr>
          <p:spPr bwMode="gray">
            <a:xfrm flipV="1">
              <a:off x="70329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714164">
              <a:extLst>
                <a:ext uri="{FF2B5EF4-FFF2-40B4-BE49-F238E27FC236}">
                  <a16:creationId xmlns:a16="http://schemas.microsoft.com/office/drawing/2014/main" id="{46D9F9A3-3451-8A37-29B1-8FBD07CFBEB1}"/>
                </a:ext>
              </a:extLst>
            </p:cNvPr>
            <p:cNvCxnSpPr/>
            <p:nvPr/>
          </p:nvCxnSpPr>
          <p:spPr bwMode="gray">
            <a:xfrm flipV="1">
              <a:off x="51590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786243">
              <a:extLst>
                <a:ext uri="{FF2B5EF4-FFF2-40B4-BE49-F238E27FC236}">
                  <a16:creationId xmlns:a16="http://schemas.microsoft.com/office/drawing/2014/main" id="{58768458-835F-9A37-DDFE-CA9E4620A3B8}"/>
                </a:ext>
              </a:extLst>
            </p:cNvPr>
            <p:cNvSpPr/>
            <p:nvPr/>
          </p:nvSpPr>
          <p:spPr bwMode="gray">
            <a:xfrm>
              <a:off x="2204085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956761">
              <a:extLst>
                <a:ext uri="{FF2B5EF4-FFF2-40B4-BE49-F238E27FC236}">
                  <a16:creationId xmlns:a16="http://schemas.microsoft.com/office/drawing/2014/main" id="{B9B181AD-856D-A129-80AC-11DDA708A240}"/>
                </a:ext>
              </a:extLst>
            </p:cNvPr>
            <p:cNvCxnSpPr/>
            <p:nvPr/>
          </p:nvCxnSpPr>
          <p:spPr bwMode="gray">
            <a:xfrm flipV="1">
              <a:off x="461851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832362">
              <a:extLst>
                <a:ext uri="{FF2B5EF4-FFF2-40B4-BE49-F238E27FC236}">
                  <a16:creationId xmlns:a16="http://schemas.microsoft.com/office/drawing/2014/main" id="{D1B86ABC-3C70-1974-8D8C-693A998B073E}"/>
                </a:ext>
              </a:extLst>
            </p:cNvPr>
            <p:cNvCxnSpPr/>
            <p:nvPr/>
          </p:nvCxnSpPr>
          <p:spPr bwMode="gray">
            <a:xfrm flipV="1">
              <a:off x="27446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560634">
              <a:extLst>
                <a:ext uri="{FF2B5EF4-FFF2-40B4-BE49-F238E27FC236}">
                  <a16:creationId xmlns:a16="http://schemas.microsoft.com/office/drawing/2014/main" id="{7523309F-4C2A-F71F-418B-4847FCAC794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587369">
              <a:extLst>
                <a:ext uri="{FF2B5EF4-FFF2-40B4-BE49-F238E27FC236}">
                  <a16:creationId xmlns:a16="http://schemas.microsoft.com/office/drawing/2014/main" id="{AD8BB6E7-52E0-2E15-D698-CADC8B0DAEE7}"/>
                </a:ext>
              </a:extLst>
            </p:cNvPr>
            <p:cNvCxnSpPr/>
            <p:nvPr/>
          </p:nvCxnSpPr>
          <p:spPr bwMode="gray">
            <a:xfrm flipV="1">
              <a:off x="220408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194871">
              <a:extLst>
                <a:ext uri="{FF2B5EF4-FFF2-40B4-BE49-F238E27FC236}">
                  <a16:creationId xmlns:a16="http://schemas.microsoft.com/office/drawing/2014/main" id="{27F2FBA2-5828-A7A9-4020-D33DBCFF3D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btfpColumnIndicatorGroup1">
            <a:extLst>
              <a:ext uri="{FF2B5EF4-FFF2-40B4-BE49-F238E27FC236}">
                <a16:creationId xmlns:a16="http://schemas.microsoft.com/office/drawing/2014/main" id="{74E906E7-9EF8-F513-AE06-0C649E4F628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5" name="btfpColumnGapBlocker867059">
              <a:extLst>
                <a:ext uri="{FF2B5EF4-FFF2-40B4-BE49-F238E27FC236}">
                  <a16:creationId xmlns:a16="http://schemas.microsoft.com/office/drawing/2014/main" id="{170DF2C7-11E1-51F4-6CDE-DDC01FBE20C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370797">
              <a:extLst>
                <a:ext uri="{FF2B5EF4-FFF2-40B4-BE49-F238E27FC236}">
                  <a16:creationId xmlns:a16="http://schemas.microsoft.com/office/drawing/2014/main" id="{14352301-C135-C9CE-268B-A24EAE74B970}"/>
                </a:ext>
              </a:extLst>
            </p:cNvPr>
            <p:cNvSpPr/>
            <p:nvPr/>
          </p:nvSpPr>
          <p:spPr bwMode="gray">
            <a:xfrm>
              <a:off x="9447371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255564">
              <a:extLst>
                <a:ext uri="{FF2B5EF4-FFF2-40B4-BE49-F238E27FC236}">
                  <a16:creationId xmlns:a16="http://schemas.microsoft.com/office/drawing/2014/main" id="{576D335F-4A1F-3252-91E3-14D65E777F5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457654">
              <a:extLst>
                <a:ext uri="{FF2B5EF4-FFF2-40B4-BE49-F238E27FC236}">
                  <a16:creationId xmlns:a16="http://schemas.microsoft.com/office/drawing/2014/main" id="{BD76DC79-7F5B-BF83-8624-C8803FCB3104}"/>
                </a:ext>
              </a:extLst>
            </p:cNvPr>
            <p:cNvCxnSpPr/>
            <p:nvPr/>
          </p:nvCxnSpPr>
          <p:spPr bwMode="gray">
            <a:xfrm flipV="1">
              <a:off x="99879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114513">
              <a:extLst>
                <a:ext uri="{FF2B5EF4-FFF2-40B4-BE49-F238E27FC236}">
                  <a16:creationId xmlns:a16="http://schemas.microsoft.com/office/drawing/2014/main" id="{8C6B455E-089F-CF83-CED9-AE1AE2E3771E}"/>
                </a:ext>
              </a:extLst>
            </p:cNvPr>
            <p:cNvSpPr/>
            <p:nvPr/>
          </p:nvSpPr>
          <p:spPr bwMode="gray">
            <a:xfrm>
              <a:off x="7032943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414829">
              <a:extLst>
                <a:ext uri="{FF2B5EF4-FFF2-40B4-BE49-F238E27FC236}">
                  <a16:creationId xmlns:a16="http://schemas.microsoft.com/office/drawing/2014/main" id="{1D1ABAAB-6AF6-D228-CCF5-B9B57FB80430}"/>
                </a:ext>
              </a:extLst>
            </p:cNvPr>
            <p:cNvCxnSpPr/>
            <p:nvPr/>
          </p:nvCxnSpPr>
          <p:spPr bwMode="gray">
            <a:xfrm flipV="1">
              <a:off x="944737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267476">
              <a:extLst>
                <a:ext uri="{FF2B5EF4-FFF2-40B4-BE49-F238E27FC236}">
                  <a16:creationId xmlns:a16="http://schemas.microsoft.com/office/drawing/2014/main" id="{68B3E52D-CED1-8017-8B3F-6C0A38FD9A56}"/>
                </a:ext>
              </a:extLst>
            </p:cNvPr>
            <p:cNvCxnSpPr/>
            <p:nvPr/>
          </p:nvCxnSpPr>
          <p:spPr bwMode="gray">
            <a:xfrm flipV="1">
              <a:off x="7573487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582029">
              <a:extLst>
                <a:ext uri="{FF2B5EF4-FFF2-40B4-BE49-F238E27FC236}">
                  <a16:creationId xmlns:a16="http://schemas.microsoft.com/office/drawing/2014/main" id="{2873FDE2-2875-692D-8EFA-50279A802AAE}"/>
                </a:ext>
              </a:extLst>
            </p:cNvPr>
            <p:cNvSpPr/>
            <p:nvPr/>
          </p:nvSpPr>
          <p:spPr bwMode="gray">
            <a:xfrm>
              <a:off x="461851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470652">
              <a:extLst>
                <a:ext uri="{FF2B5EF4-FFF2-40B4-BE49-F238E27FC236}">
                  <a16:creationId xmlns:a16="http://schemas.microsoft.com/office/drawing/2014/main" id="{48D42072-504F-7734-056D-CD80D16395EC}"/>
                </a:ext>
              </a:extLst>
            </p:cNvPr>
            <p:cNvCxnSpPr/>
            <p:nvPr/>
          </p:nvCxnSpPr>
          <p:spPr bwMode="gray">
            <a:xfrm flipV="1">
              <a:off x="70329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619297">
              <a:extLst>
                <a:ext uri="{FF2B5EF4-FFF2-40B4-BE49-F238E27FC236}">
                  <a16:creationId xmlns:a16="http://schemas.microsoft.com/office/drawing/2014/main" id="{F8E7D56B-ECEA-C051-EC0B-952765F99A6D}"/>
                </a:ext>
              </a:extLst>
            </p:cNvPr>
            <p:cNvCxnSpPr/>
            <p:nvPr/>
          </p:nvCxnSpPr>
          <p:spPr bwMode="gray">
            <a:xfrm flipV="1">
              <a:off x="51590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845377">
              <a:extLst>
                <a:ext uri="{FF2B5EF4-FFF2-40B4-BE49-F238E27FC236}">
                  <a16:creationId xmlns:a16="http://schemas.microsoft.com/office/drawing/2014/main" id="{B129DD42-C20F-B385-4A9E-0A5DA37EA5C0}"/>
                </a:ext>
              </a:extLst>
            </p:cNvPr>
            <p:cNvSpPr/>
            <p:nvPr/>
          </p:nvSpPr>
          <p:spPr bwMode="gray">
            <a:xfrm>
              <a:off x="2204085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860802">
              <a:extLst>
                <a:ext uri="{FF2B5EF4-FFF2-40B4-BE49-F238E27FC236}">
                  <a16:creationId xmlns:a16="http://schemas.microsoft.com/office/drawing/2014/main" id="{B567FF44-94DA-80AE-4D3C-515AB5B214CC}"/>
                </a:ext>
              </a:extLst>
            </p:cNvPr>
            <p:cNvCxnSpPr/>
            <p:nvPr/>
          </p:nvCxnSpPr>
          <p:spPr bwMode="gray">
            <a:xfrm flipV="1">
              <a:off x="461851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13340">
              <a:extLst>
                <a:ext uri="{FF2B5EF4-FFF2-40B4-BE49-F238E27FC236}">
                  <a16:creationId xmlns:a16="http://schemas.microsoft.com/office/drawing/2014/main" id="{13F2F77C-802C-0E6F-BEFF-E04C821F5830}"/>
                </a:ext>
              </a:extLst>
            </p:cNvPr>
            <p:cNvCxnSpPr/>
            <p:nvPr/>
          </p:nvCxnSpPr>
          <p:spPr bwMode="gray">
            <a:xfrm flipV="1">
              <a:off x="27446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258551">
              <a:extLst>
                <a:ext uri="{FF2B5EF4-FFF2-40B4-BE49-F238E27FC236}">
                  <a16:creationId xmlns:a16="http://schemas.microsoft.com/office/drawing/2014/main" id="{519046FD-5434-4F8D-05D1-AC3F93F72BF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236730">
              <a:extLst>
                <a:ext uri="{FF2B5EF4-FFF2-40B4-BE49-F238E27FC236}">
                  <a16:creationId xmlns:a16="http://schemas.microsoft.com/office/drawing/2014/main" id="{CA1BE41A-E2A7-432C-1B90-58F38F7457FE}"/>
                </a:ext>
              </a:extLst>
            </p:cNvPr>
            <p:cNvCxnSpPr/>
            <p:nvPr/>
          </p:nvCxnSpPr>
          <p:spPr bwMode="gray">
            <a:xfrm flipV="1">
              <a:off x="220408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38009">
              <a:extLst>
                <a:ext uri="{FF2B5EF4-FFF2-40B4-BE49-F238E27FC236}">
                  <a16:creationId xmlns:a16="http://schemas.microsoft.com/office/drawing/2014/main" id="{72D0B7EF-C141-BD71-17FB-2B26CDDFE6A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20EB189-1634-437B-9E3D-004B88524D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5" imgW="384" imgH="384" progId="TCLayout.ActiveDocument.1">
                  <p:embed/>
                </p:oleObj>
              </mc:Choice>
              <mc:Fallback>
                <p:oleObj name="think-cell Slide" r:id="rId95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0EB189-1634-437B-9E3D-004B88524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5BB85-BF4D-486E-B995-D7B4C97D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000000"/>
                </a:solidFill>
              </a:rPr>
              <a:t>Survey Demographics</a:t>
            </a:r>
            <a:endParaRPr lang="en-US" dirty="0"/>
          </a:p>
        </p:txBody>
      </p:sp>
      <p:grpSp>
        <p:nvGrpSpPr>
          <p:cNvPr id="121" name="btfpColumnHeaderBox587463">
            <a:extLst>
              <a:ext uri="{FF2B5EF4-FFF2-40B4-BE49-F238E27FC236}">
                <a16:creationId xmlns:a16="http://schemas.microsoft.com/office/drawing/2014/main" id="{271FD1FB-E88C-44DC-8B6B-21300EC14A6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92678" y="1270000"/>
            <a:ext cx="1869122" cy="291303"/>
            <a:chOff x="9987915" y="1297694"/>
            <a:chExt cx="1873885" cy="291303"/>
          </a:xfrm>
        </p:grpSpPr>
        <p:sp>
          <p:nvSpPr>
            <p:cNvPr id="119" name="btfpColumnHeaderBoxText587463">
              <a:extLst>
                <a:ext uri="{FF2B5EF4-FFF2-40B4-BE49-F238E27FC236}">
                  <a16:creationId xmlns:a16="http://schemas.microsoft.com/office/drawing/2014/main" id="{99C91028-1F67-427A-8020-CC7284455DE6}"/>
                </a:ext>
              </a:extLst>
            </p:cNvPr>
            <p:cNvSpPr txBox="1"/>
            <p:nvPr/>
          </p:nvSpPr>
          <p:spPr bwMode="gray">
            <a:xfrm>
              <a:off x="9987915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le</a:t>
              </a:r>
            </a:p>
          </p:txBody>
        </p:sp>
        <p:cxnSp>
          <p:nvCxnSpPr>
            <p:cNvPr id="120" name="btfpColumnHeaderBoxLine587463">
              <a:extLst>
                <a:ext uri="{FF2B5EF4-FFF2-40B4-BE49-F238E27FC236}">
                  <a16:creationId xmlns:a16="http://schemas.microsoft.com/office/drawing/2014/main" id="{17F79414-F855-49FA-80CA-C13478C038D4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btfpColumnHeaderBox164498">
            <a:extLst>
              <a:ext uri="{FF2B5EF4-FFF2-40B4-BE49-F238E27FC236}">
                <a16:creationId xmlns:a16="http://schemas.microsoft.com/office/drawing/2014/main" id="{13F00A99-73C5-45D4-9756-EAFC95CD969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578250" y="1270000"/>
            <a:ext cx="1869122" cy="291303"/>
            <a:chOff x="7573487" y="1297694"/>
            <a:chExt cx="1873885" cy="291303"/>
          </a:xfrm>
        </p:grpSpPr>
        <p:sp>
          <p:nvSpPr>
            <p:cNvPr id="122" name="btfpColumnHeaderBoxText164498">
              <a:extLst>
                <a:ext uri="{FF2B5EF4-FFF2-40B4-BE49-F238E27FC236}">
                  <a16:creationId xmlns:a16="http://schemas.microsoft.com/office/drawing/2014/main" id="{1225F934-7D97-43AA-A406-E42BFE4445C0}"/>
                </a:ext>
              </a:extLst>
            </p:cNvPr>
            <p:cNvSpPr txBox="1"/>
            <p:nvPr/>
          </p:nvSpPr>
          <p:spPr bwMode="gray">
            <a:xfrm>
              <a:off x="7573487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</a:p>
          </p:txBody>
        </p:sp>
        <p:cxnSp>
          <p:nvCxnSpPr>
            <p:cNvPr id="123" name="btfpColumnHeaderBoxLine164498">
              <a:extLst>
                <a:ext uri="{FF2B5EF4-FFF2-40B4-BE49-F238E27FC236}">
                  <a16:creationId xmlns:a16="http://schemas.microsoft.com/office/drawing/2014/main" id="{B3761324-1721-41BE-BF3E-355026157FCF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HeaderBox610456">
            <a:extLst>
              <a:ext uri="{FF2B5EF4-FFF2-40B4-BE49-F238E27FC236}">
                <a16:creationId xmlns:a16="http://schemas.microsoft.com/office/drawing/2014/main" id="{B909E665-CE78-4FFF-8E4D-FBF9A20E7E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63821" y="1273084"/>
            <a:ext cx="1869122" cy="288219"/>
            <a:chOff x="5159058" y="1292230"/>
            <a:chExt cx="1873885" cy="288219"/>
          </a:xfrm>
        </p:grpSpPr>
        <p:sp>
          <p:nvSpPr>
            <p:cNvPr id="125" name="btfpColumnHeaderBoxText610456">
              <a:extLst>
                <a:ext uri="{FF2B5EF4-FFF2-40B4-BE49-F238E27FC236}">
                  <a16:creationId xmlns:a16="http://schemas.microsoft.com/office/drawing/2014/main" id="{C99CA549-0DD3-49EA-A240-71C4694C0072}"/>
                </a:ext>
              </a:extLst>
            </p:cNvPr>
            <p:cNvSpPr txBox="1"/>
            <p:nvPr/>
          </p:nvSpPr>
          <p:spPr bwMode="gray">
            <a:xfrm>
              <a:off x="5159058" y="1292230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</a:t>
              </a:r>
            </a:p>
          </p:txBody>
        </p:sp>
        <p:cxnSp>
          <p:nvCxnSpPr>
            <p:cNvPr id="126" name="btfpColumnHeaderBoxLine610456">
              <a:extLst>
                <a:ext uri="{FF2B5EF4-FFF2-40B4-BE49-F238E27FC236}">
                  <a16:creationId xmlns:a16="http://schemas.microsoft.com/office/drawing/2014/main" id="{7BCB958B-97B5-4F55-828C-626F576FC492}"/>
                </a:ext>
              </a:extLst>
            </p:cNvPr>
            <p:cNvCxnSpPr/>
            <p:nvPr/>
          </p:nvCxnSpPr>
          <p:spPr bwMode="gray">
            <a:xfrm>
              <a:off x="5159058" y="1580449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btfpColumnHeaderBox481559">
            <a:extLst>
              <a:ext uri="{FF2B5EF4-FFF2-40B4-BE49-F238E27FC236}">
                <a16:creationId xmlns:a16="http://schemas.microsoft.com/office/drawing/2014/main" id="{AFD9952C-DB97-41D5-9CD4-0A68CC748F1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749392" y="1270000"/>
            <a:ext cx="1869122" cy="291303"/>
            <a:chOff x="2744629" y="1297694"/>
            <a:chExt cx="1873885" cy="291303"/>
          </a:xfrm>
        </p:grpSpPr>
        <p:sp>
          <p:nvSpPr>
            <p:cNvPr id="128" name="btfpColumnHeaderBoxText481559">
              <a:extLst>
                <a:ext uri="{FF2B5EF4-FFF2-40B4-BE49-F238E27FC236}">
                  <a16:creationId xmlns:a16="http://schemas.microsoft.com/office/drawing/2014/main" id="{6D6B9DF2-F1AB-4B39-96B5-22C830C0E240}"/>
                </a:ext>
              </a:extLst>
            </p:cNvPr>
            <p:cNvSpPr txBox="1"/>
            <p:nvPr/>
          </p:nvSpPr>
          <p:spPr bwMode="gray">
            <a:xfrm>
              <a:off x="2744629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der</a:t>
              </a:r>
            </a:p>
          </p:txBody>
        </p:sp>
        <p:cxnSp>
          <p:nvCxnSpPr>
            <p:cNvPr id="129" name="btfpColumnHeaderBoxLine481559">
              <a:extLst>
                <a:ext uri="{FF2B5EF4-FFF2-40B4-BE49-F238E27FC236}">
                  <a16:creationId xmlns:a16="http://schemas.microsoft.com/office/drawing/2014/main" id="{D26F6349-0568-49E4-9072-D9619E31AA27}"/>
                </a:ext>
              </a:extLst>
            </p:cNvPr>
            <p:cNvCxnSpPr/>
            <p:nvPr/>
          </p:nvCxnSpPr>
          <p:spPr bwMode="gray">
            <a:xfrm>
              <a:off x="2744629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btfpColumnHeaderBox961069">
            <a:extLst>
              <a:ext uri="{FF2B5EF4-FFF2-40B4-BE49-F238E27FC236}">
                <a16:creationId xmlns:a16="http://schemas.microsoft.com/office/drawing/2014/main" id="{4BB8BCB6-E0D0-411C-8BE5-A1F3FBB518F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4964" y="1270000"/>
            <a:ext cx="1869122" cy="291303"/>
            <a:chOff x="330200" y="1297694"/>
            <a:chExt cx="1873885" cy="291303"/>
          </a:xfrm>
        </p:grpSpPr>
        <p:sp>
          <p:nvSpPr>
            <p:cNvPr id="131" name="btfpColumnHeaderBoxText961069">
              <a:extLst>
                <a:ext uri="{FF2B5EF4-FFF2-40B4-BE49-F238E27FC236}">
                  <a16:creationId xmlns:a16="http://schemas.microsoft.com/office/drawing/2014/main" id="{4A747C9A-5698-4A9A-9EFD-DA4372D881A9}"/>
                </a:ext>
              </a:extLst>
            </p:cNvPr>
            <p:cNvSpPr txBox="1"/>
            <p:nvPr/>
          </p:nvSpPr>
          <p:spPr bwMode="gray">
            <a:xfrm>
              <a:off x="330200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</a:t>
              </a:r>
            </a:p>
          </p:txBody>
        </p:sp>
        <p:cxnSp>
          <p:nvCxnSpPr>
            <p:cNvPr id="132" name="btfpColumnHeaderBoxLine961069">
              <a:extLst>
                <a:ext uri="{FF2B5EF4-FFF2-40B4-BE49-F238E27FC236}">
                  <a16:creationId xmlns:a16="http://schemas.microsoft.com/office/drawing/2014/main" id="{C23BCF52-9662-40F7-BF34-186A8D2A336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btfpNotesBox350040">
            <a:extLst>
              <a:ext uri="{FF2B5EF4-FFF2-40B4-BE49-F238E27FC236}">
                <a16:creationId xmlns:a16="http://schemas.microsoft.com/office/drawing/2014/main" id="{A408CD3E-4A1B-4FF6-8FE6-2831516FE5F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</a:p>
          <a:p>
            <a:pPr marL="0" marR="0" lvl="0" indent="0" algn="l" defTabSz="711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134" name="btfpRunningAgenda1Level432015">
            <a:extLst>
              <a:ext uri="{FF2B5EF4-FFF2-40B4-BE49-F238E27FC236}">
                <a16:creationId xmlns:a16="http://schemas.microsoft.com/office/drawing/2014/main" id="{BC6ABEDA-38A6-4C50-8C33-63C4E41F922C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" y="944429"/>
            <a:ext cx="2747767" cy="257442"/>
            <a:chOff x="0" y="944429"/>
            <a:chExt cx="2747767" cy="257442"/>
          </a:xfrm>
        </p:grpSpPr>
        <p:sp>
          <p:nvSpPr>
            <p:cNvPr id="135" name="btfpRunningAgenda1LevelBarLeft432015">
              <a:extLst>
                <a:ext uri="{FF2B5EF4-FFF2-40B4-BE49-F238E27FC236}">
                  <a16:creationId xmlns:a16="http://schemas.microsoft.com/office/drawing/2014/main" id="{20FACBF6-5305-462C-A1AB-E40032577C46}"/>
                </a:ext>
              </a:extLst>
            </p:cNvPr>
            <p:cNvSpPr/>
            <p:nvPr/>
          </p:nvSpPr>
          <p:spPr bwMode="gray">
            <a:xfrm>
              <a:off x="0" y="944429"/>
              <a:ext cx="2747767" cy="257442"/>
            </a:xfrm>
            <a:custGeom>
              <a:avLst/>
              <a:gdLst>
                <a:gd name="connsiteX0" fmla="*/ 968434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8434 w 1816204"/>
                <a:gd name="connsiteY0" fmla="*/ 0 h 257442"/>
                <a:gd name="connsiteX1" fmla="*/ 913714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558339 w 1558339"/>
                <a:gd name="connsiteY0" fmla="*/ 0 h 257442"/>
                <a:gd name="connsiteX1" fmla="*/ 1250343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26655 w 1726655"/>
                <a:gd name="connsiteY0" fmla="*/ 0 h 257442"/>
                <a:gd name="connsiteX1" fmla="*/ 1503618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726655 w 1832234"/>
                <a:gd name="connsiteY0" fmla="*/ 0 h 257442"/>
                <a:gd name="connsiteX1" fmla="*/ 1832234 w 1832234"/>
                <a:gd name="connsiteY1" fmla="*/ 257442 h 257442"/>
                <a:gd name="connsiteX2" fmla="*/ 0 w 1832234"/>
                <a:gd name="connsiteY2" fmla="*/ 257442 h 257442"/>
                <a:gd name="connsiteX3" fmla="*/ 0 w 1832234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1 w 1726655"/>
                <a:gd name="connsiteY2" fmla="*/ 257442 h 257442"/>
                <a:gd name="connsiteX3" fmla="*/ 0 w 1726655"/>
                <a:gd name="connsiteY3" fmla="*/ 0 h 257442"/>
                <a:gd name="connsiteX0" fmla="*/ 1726654 w 1726654"/>
                <a:gd name="connsiteY0" fmla="*/ 0 h 257442"/>
                <a:gd name="connsiteX1" fmla="*/ 1671933 w 1726654"/>
                <a:gd name="connsiteY1" fmla="*/ 257442 h 257442"/>
                <a:gd name="connsiteX2" fmla="*/ 0 w 1726654"/>
                <a:gd name="connsiteY2" fmla="*/ 257442 h 257442"/>
                <a:gd name="connsiteX3" fmla="*/ 0 w 1726654"/>
                <a:gd name="connsiteY3" fmla="*/ 0 h 257442"/>
                <a:gd name="connsiteX0" fmla="*/ 1987944 w 1987944"/>
                <a:gd name="connsiteY0" fmla="*/ 0 h 257442"/>
                <a:gd name="connsiteX1" fmla="*/ 167193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2257248 w 2257248"/>
                <a:gd name="connsiteY0" fmla="*/ 0 h 257442"/>
                <a:gd name="connsiteX1" fmla="*/ 1933223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435182 w 2435182"/>
                <a:gd name="connsiteY0" fmla="*/ 0 h 257442"/>
                <a:gd name="connsiteX1" fmla="*/ 2202527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763797 w 2763797"/>
                <a:gd name="connsiteY0" fmla="*/ 0 h 257442"/>
                <a:gd name="connsiteX1" fmla="*/ 25487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950801 w 2709076"/>
                <a:gd name="connsiteY0" fmla="*/ 0 h 257442"/>
                <a:gd name="connsiteX1" fmla="*/ 2709076 w 2709076"/>
                <a:gd name="connsiteY1" fmla="*/ 257442 h 257442"/>
                <a:gd name="connsiteX2" fmla="*/ 0 w 2709076"/>
                <a:gd name="connsiteY2" fmla="*/ 257442 h 257442"/>
                <a:gd name="connsiteX3" fmla="*/ 0 w 270907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4 w 1128734"/>
                <a:gd name="connsiteY0" fmla="*/ 0 h 257442"/>
                <a:gd name="connsiteX1" fmla="*/ 896079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720947 w 1720947"/>
                <a:gd name="connsiteY0" fmla="*/ 0 h 257442"/>
                <a:gd name="connsiteX1" fmla="*/ 1402629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881248 w 1881248"/>
                <a:gd name="connsiteY0" fmla="*/ 0 h 257442"/>
                <a:gd name="connsiteX1" fmla="*/ 16662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8 w 1881248"/>
                <a:gd name="connsiteY0" fmla="*/ 0 h 257442"/>
                <a:gd name="connsiteX1" fmla="*/ 18265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2041548 w 2041548"/>
                <a:gd name="connsiteY0" fmla="*/ 0 h 257442"/>
                <a:gd name="connsiteX1" fmla="*/ 1826527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8 w 2041548"/>
                <a:gd name="connsiteY0" fmla="*/ 0 h 257442"/>
                <a:gd name="connsiteX1" fmla="*/ 1986826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2 w 2041549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1 w 2041549"/>
                <a:gd name="connsiteY3" fmla="*/ 0 h 257442"/>
                <a:gd name="connsiteX0" fmla="*/ 2294822 w 2294822"/>
                <a:gd name="connsiteY0" fmla="*/ 0 h 257442"/>
                <a:gd name="connsiteX1" fmla="*/ 1986827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2 w 2294822"/>
                <a:gd name="connsiteY0" fmla="*/ 0 h 257442"/>
                <a:gd name="connsiteX1" fmla="*/ 2240100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2 w 2294823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1 w 2294823"/>
                <a:gd name="connsiteY3" fmla="*/ 0 h 257442"/>
                <a:gd name="connsiteX0" fmla="*/ 2463138 w 2463138"/>
                <a:gd name="connsiteY0" fmla="*/ 0 h 257442"/>
                <a:gd name="connsiteX1" fmla="*/ 2240101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8 w 2463138"/>
                <a:gd name="connsiteY0" fmla="*/ 0 h 257442"/>
                <a:gd name="connsiteX1" fmla="*/ 2408416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2 w 2463139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1 w 2463139"/>
                <a:gd name="connsiteY3" fmla="*/ 0 h 257442"/>
                <a:gd name="connsiteX0" fmla="*/ 2631453 w 2631453"/>
                <a:gd name="connsiteY0" fmla="*/ 0 h 257442"/>
                <a:gd name="connsiteX1" fmla="*/ 2408417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873314 w 2873314"/>
                <a:gd name="connsiteY0" fmla="*/ 0 h 257442"/>
                <a:gd name="connsiteX1" fmla="*/ 257673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4 w 2873314"/>
                <a:gd name="connsiteY0" fmla="*/ 0 h 257442"/>
                <a:gd name="connsiteX1" fmla="*/ 281859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3051248 w 3051248"/>
                <a:gd name="connsiteY0" fmla="*/ 0 h 257442"/>
                <a:gd name="connsiteX1" fmla="*/ 2818593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8 w 3051248"/>
                <a:gd name="connsiteY0" fmla="*/ 0 h 257442"/>
                <a:gd name="connsiteX1" fmla="*/ 2996526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2 w 3051249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1 w 3051249"/>
                <a:gd name="connsiteY3" fmla="*/ 0 h 257442"/>
                <a:gd name="connsiteX0" fmla="*/ 3219563 w 3219563"/>
                <a:gd name="connsiteY0" fmla="*/ 0 h 257442"/>
                <a:gd name="connsiteX1" fmla="*/ 2996527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0 w 3219563"/>
                <a:gd name="connsiteY3" fmla="*/ 0 h 257442"/>
                <a:gd name="connsiteX0" fmla="*/ 3379863 w 3379863"/>
                <a:gd name="connsiteY0" fmla="*/ 0 h 257442"/>
                <a:gd name="connsiteX1" fmla="*/ 31648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950801 w 3325142"/>
                <a:gd name="connsiteY0" fmla="*/ 0 h 257442"/>
                <a:gd name="connsiteX1" fmla="*/ 3325142 w 3325142"/>
                <a:gd name="connsiteY1" fmla="*/ 257442 h 257442"/>
                <a:gd name="connsiteX2" fmla="*/ 0 w 3325142"/>
                <a:gd name="connsiteY2" fmla="*/ 257442 h 257442"/>
                <a:gd name="connsiteX3" fmla="*/ 0 w 332514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16047 w 1616047"/>
                <a:gd name="connsiteY0" fmla="*/ 0 h 257442"/>
                <a:gd name="connsiteX1" fmla="*/ 14010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7637 w 2037637"/>
                <a:gd name="connsiteY0" fmla="*/ 0 h 257442"/>
                <a:gd name="connsiteX1" fmla="*/ 1729642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205952 w 2205952"/>
                <a:gd name="connsiteY0" fmla="*/ 0 h 257442"/>
                <a:gd name="connsiteX1" fmla="*/ 1982916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2 w 2205952"/>
                <a:gd name="connsiteY0" fmla="*/ 0 h 257442"/>
                <a:gd name="connsiteX1" fmla="*/ 2151230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374268 w 2374268"/>
                <a:gd name="connsiteY0" fmla="*/ 0 h 257442"/>
                <a:gd name="connsiteX1" fmla="*/ 2151231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8 w 2374268"/>
                <a:gd name="connsiteY0" fmla="*/ 0 h 257442"/>
                <a:gd name="connsiteX1" fmla="*/ 2319546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2 w 2374269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1 w 2374269"/>
                <a:gd name="connsiteY3" fmla="*/ 0 h 257442"/>
                <a:gd name="connsiteX0" fmla="*/ 2534568 w 2534568"/>
                <a:gd name="connsiteY0" fmla="*/ 0 h 257442"/>
                <a:gd name="connsiteX1" fmla="*/ 2319547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8 w 2534568"/>
                <a:gd name="connsiteY0" fmla="*/ 0 h 257442"/>
                <a:gd name="connsiteX1" fmla="*/ 2479846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2 w 2534569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1 w 2534569"/>
                <a:gd name="connsiteY3" fmla="*/ 0 h 257442"/>
                <a:gd name="connsiteX0" fmla="*/ 2862029 w 2862029"/>
                <a:gd name="connsiteY0" fmla="*/ 0 h 257442"/>
                <a:gd name="connsiteX1" fmla="*/ 2479847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0 w 2862029"/>
                <a:gd name="connsiteY3" fmla="*/ 0 h 257442"/>
                <a:gd name="connsiteX0" fmla="*/ 3047977 w 3047977"/>
                <a:gd name="connsiteY0" fmla="*/ 0 h 257442"/>
                <a:gd name="connsiteX1" fmla="*/ 2807308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208278 w 3208278"/>
                <a:gd name="connsiteY0" fmla="*/ 0 h 257442"/>
                <a:gd name="connsiteX1" fmla="*/ 29932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8 w 3208278"/>
                <a:gd name="connsiteY0" fmla="*/ 0 h 257442"/>
                <a:gd name="connsiteX1" fmla="*/ 31535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376593 w 3376593"/>
                <a:gd name="connsiteY0" fmla="*/ 0 h 257442"/>
                <a:gd name="connsiteX1" fmla="*/ 3153557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0 w 3376593"/>
                <a:gd name="connsiteY3" fmla="*/ 0 h 257442"/>
                <a:gd name="connsiteX0" fmla="*/ 3536894 w 3536894"/>
                <a:gd name="connsiteY0" fmla="*/ 0 h 257442"/>
                <a:gd name="connsiteX1" fmla="*/ 33218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4 w 3536894"/>
                <a:gd name="connsiteY0" fmla="*/ 0 h 257442"/>
                <a:gd name="connsiteX1" fmla="*/ 34821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950801 w 3482173"/>
                <a:gd name="connsiteY0" fmla="*/ 0 h 257442"/>
                <a:gd name="connsiteX1" fmla="*/ 3482173 w 3482173"/>
                <a:gd name="connsiteY1" fmla="*/ 257442 h 257442"/>
                <a:gd name="connsiteX2" fmla="*/ 0 w 3482173"/>
                <a:gd name="connsiteY2" fmla="*/ 257442 h 257442"/>
                <a:gd name="connsiteX3" fmla="*/ 1 w 3482173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8 w 1606878"/>
                <a:gd name="connsiteY0" fmla="*/ 0 h 257442"/>
                <a:gd name="connsiteX1" fmla="*/ 1552156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2 w 1606879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1 w 1606879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5040 w 2385040"/>
                <a:gd name="connsiteY0" fmla="*/ 0 h 257442"/>
                <a:gd name="connsiteX1" fmla="*/ 2066721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0 w 2385040"/>
                <a:gd name="connsiteY0" fmla="*/ 0 h 257442"/>
                <a:gd name="connsiteX1" fmla="*/ 2330318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2 w 2385041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678197 w 2678197"/>
                <a:gd name="connsiteY0" fmla="*/ 0 h 257442"/>
                <a:gd name="connsiteX1" fmla="*/ 2330319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0 w 2678197"/>
                <a:gd name="connsiteY3" fmla="*/ 0 h 257442"/>
                <a:gd name="connsiteX0" fmla="*/ 2846512 w 2846512"/>
                <a:gd name="connsiteY0" fmla="*/ 0 h 257442"/>
                <a:gd name="connsiteX1" fmla="*/ 2623476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2 w 2846512"/>
                <a:gd name="connsiteY0" fmla="*/ 0 h 257442"/>
                <a:gd name="connsiteX1" fmla="*/ 2791790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3099786 w 3099786"/>
                <a:gd name="connsiteY0" fmla="*/ 0 h 257442"/>
                <a:gd name="connsiteX1" fmla="*/ 2791791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6 w 3099786"/>
                <a:gd name="connsiteY0" fmla="*/ 0 h 257442"/>
                <a:gd name="connsiteX1" fmla="*/ 3045064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2 w 3099787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1 w 3099787"/>
                <a:gd name="connsiteY3" fmla="*/ 0 h 257442"/>
                <a:gd name="connsiteX0" fmla="*/ 3378709 w 3378709"/>
                <a:gd name="connsiteY0" fmla="*/ 0 h 257442"/>
                <a:gd name="connsiteX1" fmla="*/ 3045065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0 w 3378709"/>
                <a:gd name="connsiteY3" fmla="*/ 0 h 257442"/>
                <a:gd name="connsiteX0" fmla="*/ 3547025 w 3547025"/>
                <a:gd name="connsiteY0" fmla="*/ 0 h 257442"/>
                <a:gd name="connsiteX1" fmla="*/ 3323988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950801 w 3492304"/>
                <a:gd name="connsiteY0" fmla="*/ 0 h 257442"/>
                <a:gd name="connsiteX1" fmla="*/ 3492304 w 3492304"/>
                <a:gd name="connsiteY1" fmla="*/ 257442 h 257442"/>
                <a:gd name="connsiteX2" fmla="*/ 0 w 3492304"/>
                <a:gd name="connsiteY2" fmla="*/ 257442 h 257442"/>
                <a:gd name="connsiteX3" fmla="*/ 0 w 349230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950801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1 w 2067875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74984 w 1474984"/>
                <a:gd name="connsiteY0" fmla="*/ 0 h 257442"/>
                <a:gd name="connsiteX1" fmla="*/ 1242329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79453 w 2579453"/>
                <a:gd name="connsiteY0" fmla="*/ 0 h 257442"/>
                <a:gd name="connsiteX1" fmla="*/ 2263441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0 w 2579452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1 w 2579453"/>
                <a:gd name="connsiteY2" fmla="*/ 257442 h 257442"/>
                <a:gd name="connsiteX3" fmla="*/ 0 w 2579453"/>
                <a:gd name="connsiteY3" fmla="*/ 0 h 257442"/>
                <a:gd name="connsiteX0" fmla="*/ 2747768 w 2747768"/>
                <a:gd name="connsiteY0" fmla="*/ 0 h 257442"/>
                <a:gd name="connsiteX1" fmla="*/ 2524732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908067 w 2908067"/>
                <a:gd name="connsiteY0" fmla="*/ 0 h 257442"/>
                <a:gd name="connsiteX1" fmla="*/ 26930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747767 w 2853346"/>
                <a:gd name="connsiteY0" fmla="*/ 0 h 257442"/>
                <a:gd name="connsiteX1" fmla="*/ 2853346 w 2853346"/>
                <a:gd name="connsiteY1" fmla="*/ 257442 h 257442"/>
                <a:gd name="connsiteX2" fmla="*/ 0 w 2853346"/>
                <a:gd name="connsiteY2" fmla="*/ 257442 h 257442"/>
                <a:gd name="connsiteX3" fmla="*/ 0 w 2853346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1 w 2747767"/>
                <a:gd name="connsiteY2" fmla="*/ 257442 h 257442"/>
                <a:gd name="connsiteX3" fmla="*/ 0 w 2747767"/>
                <a:gd name="connsiteY3" fmla="*/ 0 h 257442"/>
                <a:gd name="connsiteX0" fmla="*/ 2747766 w 2747766"/>
                <a:gd name="connsiteY0" fmla="*/ 0 h 257442"/>
                <a:gd name="connsiteX1" fmla="*/ 2693045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579451 w 2693045"/>
                <a:gd name="connsiteY0" fmla="*/ 0 h 257442"/>
                <a:gd name="connsiteX1" fmla="*/ 2693045 w 2693045"/>
                <a:gd name="connsiteY1" fmla="*/ 257442 h 257442"/>
                <a:gd name="connsiteX2" fmla="*/ 0 w 2693045"/>
                <a:gd name="connsiteY2" fmla="*/ 257442 h 257442"/>
                <a:gd name="connsiteX3" fmla="*/ 0 w 2693045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419152 w 2524731"/>
                <a:gd name="connsiteY0" fmla="*/ 0 h 257442"/>
                <a:gd name="connsiteX1" fmla="*/ 2524731 w 2524731"/>
                <a:gd name="connsiteY1" fmla="*/ 257442 h 257442"/>
                <a:gd name="connsiteX2" fmla="*/ 0 w 2524731"/>
                <a:gd name="connsiteY2" fmla="*/ 257442 h 257442"/>
                <a:gd name="connsiteX3" fmla="*/ 0 w 2524731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680441 w 2680441"/>
                <a:gd name="connsiteY0" fmla="*/ 0 h 257442"/>
                <a:gd name="connsiteX1" fmla="*/ 2364431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520141 w 2625720"/>
                <a:gd name="connsiteY0" fmla="*/ 0 h 257442"/>
                <a:gd name="connsiteX1" fmla="*/ 2625720 w 2625720"/>
                <a:gd name="connsiteY1" fmla="*/ 257442 h 257442"/>
                <a:gd name="connsiteX2" fmla="*/ 0 w 2625720"/>
                <a:gd name="connsiteY2" fmla="*/ 257442 h 257442"/>
                <a:gd name="connsiteX3" fmla="*/ 0 w 2625720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1 w 2520141"/>
                <a:gd name="connsiteY2" fmla="*/ 257442 h 257442"/>
                <a:gd name="connsiteX3" fmla="*/ 0 w 2520141"/>
                <a:gd name="connsiteY3" fmla="*/ 0 h 257442"/>
                <a:gd name="connsiteX0" fmla="*/ 2520140 w 2520140"/>
                <a:gd name="connsiteY0" fmla="*/ 0 h 257442"/>
                <a:gd name="connsiteX1" fmla="*/ 2465419 w 2520140"/>
                <a:gd name="connsiteY1" fmla="*/ 257442 h 257442"/>
                <a:gd name="connsiteX2" fmla="*/ 0 w 2520140"/>
                <a:gd name="connsiteY2" fmla="*/ 257442 h 257442"/>
                <a:gd name="connsiteX3" fmla="*/ 0 w 2520140"/>
                <a:gd name="connsiteY3" fmla="*/ 0 h 257442"/>
                <a:gd name="connsiteX0" fmla="*/ 2419151 w 2465419"/>
                <a:gd name="connsiteY0" fmla="*/ 0 h 257442"/>
                <a:gd name="connsiteX1" fmla="*/ 2465419 w 2465419"/>
                <a:gd name="connsiteY1" fmla="*/ 257442 h 257442"/>
                <a:gd name="connsiteX2" fmla="*/ 0 w 2465419"/>
                <a:gd name="connsiteY2" fmla="*/ 257442 h 257442"/>
                <a:gd name="connsiteX3" fmla="*/ 0 w 2465419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587467 w 2587467"/>
                <a:gd name="connsiteY0" fmla="*/ 0 h 257442"/>
                <a:gd name="connsiteX1" fmla="*/ 2364431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0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597261 w 1597261"/>
                <a:gd name="connsiteY0" fmla="*/ 0 h 257442"/>
                <a:gd name="connsiteX1" fmla="*/ 1224695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0 w 1597260"/>
                <a:gd name="connsiteY0" fmla="*/ 0 h 257442"/>
                <a:gd name="connsiteX1" fmla="*/ 1542539 w 1597260"/>
                <a:gd name="connsiteY1" fmla="*/ 257442 h 257442"/>
                <a:gd name="connsiteX2" fmla="*/ 0 w 1597260"/>
                <a:gd name="connsiteY2" fmla="*/ 257442 h 257442"/>
                <a:gd name="connsiteX3" fmla="*/ 0 w 1597260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1 w 1597261"/>
                <a:gd name="connsiteY2" fmla="*/ 257442 h 257442"/>
                <a:gd name="connsiteX3" fmla="*/ 0 w 1597261"/>
                <a:gd name="connsiteY3" fmla="*/ 0 h 257442"/>
                <a:gd name="connsiteX0" fmla="*/ 1757561 w 1757561"/>
                <a:gd name="connsiteY0" fmla="*/ 0 h 257442"/>
                <a:gd name="connsiteX1" fmla="*/ 15425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0 w 1757560"/>
                <a:gd name="connsiteY0" fmla="*/ 0 h 257442"/>
                <a:gd name="connsiteX1" fmla="*/ 1702839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2018400 w 2018400"/>
                <a:gd name="connsiteY0" fmla="*/ 0 h 257442"/>
                <a:gd name="connsiteX1" fmla="*/ 170283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0 w 2018400"/>
                <a:gd name="connsiteY0" fmla="*/ 0 h 257442"/>
                <a:gd name="connsiteX1" fmla="*/ 196367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186717 w 2186717"/>
                <a:gd name="connsiteY0" fmla="*/ 0 h 257442"/>
                <a:gd name="connsiteX1" fmla="*/ 1963680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6 w 2186716"/>
                <a:gd name="connsiteY0" fmla="*/ 0 h 257442"/>
                <a:gd name="connsiteX1" fmla="*/ 2131995 w 2186716"/>
                <a:gd name="connsiteY1" fmla="*/ 257442 h 257442"/>
                <a:gd name="connsiteX2" fmla="*/ 0 w 2186716"/>
                <a:gd name="connsiteY2" fmla="*/ 257442 h 257442"/>
                <a:gd name="connsiteX3" fmla="*/ 0 w 2186716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1 w 2186717"/>
                <a:gd name="connsiteY2" fmla="*/ 257442 h 257442"/>
                <a:gd name="connsiteX3" fmla="*/ 0 w 2186717"/>
                <a:gd name="connsiteY3" fmla="*/ 0 h 257442"/>
                <a:gd name="connsiteX0" fmla="*/ 2355033 w 2355033"/>
                <a:gd name="connsiteY0" fmla="*/ 0 h 257442"/>
                <a:gd name="connsiteX1" fmla="*/ 2131996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2 w 2355032"/>
                <a:gd name="connsiteY0" fmla="*/ 0 h 257442"/>
                <a:gd name="connsiteX1" fmla="*/ 2300311 w 2355032"/>
                <a:gd name="connsiteY1" fmla="*/ 257442 h 257442"/>
                <a:gd name="connsiteX2" fmla="*/ 0 w 2355032"/>
                <a:gd name="connsiteY2" fmla="*/ 257442 h 257442"/>
                <a:gd name="connsiteX3" fmla="*/ 0 w 2355032"/>
                <a:gd name="connsiteY3" fmla="*/ 0 h 257442"/>
                <a:gd name="connsiteX0" fmla="*/ 2186715 w 2300311"/>
                <a:gd name="connsiteY0" fmla="*/ 0 h 257442"/>
                <a:gd name="connsiteX1" fmla="*/ 2300311 w 2300311"/>
                <a:gd name="connsiteY1" fmla="*/ 257442 h 257442"/>
                <a:gd name="connsiteX2" fmla="*/ 0 w 2300311"/>
                <a:gd name="connsiteY2" fmla="*/ 257442 h 257442"/>
                <a:gd name="connsiteX3" fmla="*/ 0 w 2300311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018401 w 2131995"/>
                <a:gd name="connsiteY0" fmla="*/ 0 h 257442"/>
                <a:gd name="connsiteX1" fmla="*/ 2131995 w 2131995"/>
                <a:gd name="connsiteY1" fmla="*/ 257442 h 257442"/>
                <a:gd name="connsiteX2" fmla="*/ 0 w 2131995"/>
                <a:gd name="connsiteY2" fmla="*/ 257442 h 257442"/>
                <a:gd name="connsiteX3" fmla="*/ 0 w 2131995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1855792 w 1963680"/>
                <a:gd name="connsiteY0" fmla="*/ 0 h 257442"/>
                <a:gd name="connsiteX1" fmla="*/ 1963680 w 1963680"/>
                <a:gd name="connsiteY1" fmla="*/ 257442 h 257442"/>
                <a:gd name="connsiteX2" fmla="*/ 0 w 1963680"/>
                <a:gd name="connsiteY2" fmla="*/ 257442 h 257442"/>
                <a:gd name="connsiteX3" fmla="*/ 0 w 1963680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757560 w 1801071"/>
                <a:gd name="connsiteY0" fmla="*/ 0 h 257442"/>
                <a:gd name="connsiteX1" fmla="*/ 1801071 w 1801071"/>
                <a:gd name="connsiteY1" fmla="*/ 257442 h 257442"/>
                <a:gd name="connsiteX2" fmla="*/ 0 w 1801071"/>
                <a:gd name="connsiteY2" fmla="*/ 257442 h 257442"/>
                <a:gd name="connsiteX3" fmla="*/ 0 w 1801071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1 w 1757560"/>
                <a:gd name="connsiteY2" fmla="*/ 257442 h 257442"/>
                <a:gd name="connsiteX3" fmla="*/ 0 w 1757560"/>
                <a:gd name="connsiteY3" fmla="*/ 0 h 257442"/>
                <a:gd name="connsiteX0" fmla="*/ 1757559 w 1757559"/>
                <a:gd name="connsiteY0" fmla="*/ 0 h 257442"/>
                <a:gd name="connsiteX1" fmla="*/ 1702839 w 1757559"/>
                <a:gd name="connsiteY1" fmla="*/ 257442 h 257442"/>
                <a:gd name="connsiteX2" fmla="*/ 0 w 1757559"/>
                <a:gd name="connsiteY2" fmla="*/ 257442 h 257442"/>
                <a:gd name="connsiteX3" fmla="*/ 0 w 1757559"/>
                <a:gd name="connsiteY3" fmla="*/ 0 h 257442"/>
                <a:gd name="connsiteX0" fmla="*/ 2024107 w 2024107"/>
                <a:gd name="connsiteY0" fmla="*/ 0 h 257442"/>
                <a:gd name="connsiteX1" fmla="*/ 1702839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184408 w 2184408"/>
                <a:gd name="connsiteY0" fmla="*/ 0 h 257442"/>
                <a:gd name="connsiteX1" fmla="*/ 19693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8 w 2184408"/>
                <a:gd name="connsiteY0" fmla="*/ 0 h 257442"/>
                <a:gd name="connsiteX1" fmla="*/ 21296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370357 w 2370357"/>
                <a:gd name="connsiteY0" fmla="*/ 0 h 257442"/>
                <a:gd name="connsiteX1" fmla="*/ 2129687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6 w 2370356"/>
                <a:gd name="connsiteY0" fmla="*/ 0 h 257442"/>
                <a:gd name="connsiteX1" fmla="*/ 2315635 w 2370356"/>
                <a:gd name="connsiteY1" fmla="*/ 257442 h 257442"/>
                <a:gd name="connsiteX2" fmla="*/ 0 w 2370356"/>
                <a:gd name="connsiteY2" fmla="*/ 257442 h 257442"/>
                <a:gd name="connsiteX3" fmla="*/ 0 w 2370356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1 w 2370357"/>
                <a:gd name="connsiteY2" fmla="*/ 257442 h 257442"/>
                <a:gd name="connsiteX3" fmla="*/ 0 w 2370357"/>
                <a:gd name="connsiteY3" fmla="*/ 0 h 257442"/>
                <a:gd name="connsiteX0" fmla="*/ 2548291 w 2548291"/>
                <a:gd name="connsiteY0" fmla="*/ 0 h 257442"/>
                <a:gd name="connsiteX1" fmla="*/ 2315636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0 w 2548290"/>
                <a:gd name="connsiteY0" fmla="*/ 0 h 257442"/>
                <a:gd name="connsiteX1" fmla="*/ 2493569 w 2548290"/>
                <a:gd name="connsiteY1" fmla="*/ 257442 h 257442"/>
                <a:gd name="connsiteX2" fmla="*/ 0 w 2548290"/>
                <a:gd name="connsiteY2" fmla="*/ 257442 h 257442"/>
                <a:gd name="connsiteX3" fmla="*/ 0 w 2548290"/>
                <a:gd name="connsiteY3" fmla="*/ 0 h 257442"/>
                <a:gd name="connsiteX0" fmla="*/ 2726222 w 2726222"/>
                <a:gd name="connsiteY0" fmla="*/ 0 h 257442"/>
                <a:gd name="connsiteX1" fmla="*/ 2493569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2 w 2726222"/>
                <a:gd name="connsiteY0" fmla="*/ 0 h 257442"/>
                <a:gd name="connsiteX1" fmla="*/ 2671501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894539 w 2894539"/>
                <a:gd name="connsiteY0" fmla="*/ 0 h 257442"/>
                <a:gd name="connsiteX1" fmla="*/ 2671502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8 w 2894538"/>
                <a:gd name="connsiteY0" fmla="*/ 0 h 257442"/>
                <a:gd name="connsiteX1" fmla="*/ 2839817 w 2894538"/>
                <a:gd name="connsiteY1" fmla="*/ 257442 h 257442"/>
                <a:gd name="connsiteX2" fmla="*/ 0 w 2894538"/>
                <a:gd name="connsiteY2" fmla="*/ 257442 h 257442"/>
                <a:gd name="connsiteX3" fmla="*/ 0 w 2894538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1 w 2894539"/>
                <a:gd name="connsiteY2" fmla="*/ 257442 h 257442"/>
                <a:gd name="connsiteX3" fmla="*/ 0 w 2894539"/>
                <a:gd name="connsiteY3" fmla="*/ 0 h 257442"/>
                <a:gd name="connsiteX0" fmla="*/ 3062854 w 3062854"/>
                <a:gd name="connsiteY0" fmla="*/ 0 h 257442"/>
                <a:gd name="connsiteX1" fmla="*/ 2839818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223153 w 3223153"/>
                <a:gd name="connsiteY0" fmla="*/ 0 h 257442"/>
                <a:gd name="connsiteX1" fmla="*/ 30081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391469 w 3391469"/>
                <a:gd name="connsiteY0" fmla="*/ 0 h 257442"/>
                <a:gd name="connsiteX1" fmla="*/ 3168432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660774 w 3660774"/>
                <a:gd name="connsiteY0" fmla="*/ 0 h 257442"/>
                <a:gd name="connsiteX1" fmla="*/ 3336748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4 w 3660774"/>
                <a:gd name="connsiteY0" fmla="*/ 0 h 257442"/>
                <a:gd name="connsiteX1" fmla="*/ 3606052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821075 w 3821075"/>
                <a:gd name="connsiteY0" fmla="*/ 0 h 257442"/>
                <a:gd name="connsiteX1" fmla="*/ 3606053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4 w 3821074"/>
                <a:gd name="connsiteY0" fmla="*/ 0 h 257442"/>
                <a:gd name="connsiteX1" fmla="*/ 3766353 w 3821074"/>
                <a:gd name="connsiteY1" fmla="*/ 257442 h 257442"/>
                <a:gd name="connsiteX2" fmla="*/ 0 w 3821074"/>
                <a:gd name="connsiteY2" fmla="*/ 257442 h 257442"/>
                <a:gd name="connsiteX3" fmla="*/ 0 w 3821074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1 w 3821075"/>
                <a:gd name="connsiteY2" fmla="*/ 257442 h 257442"/>
                <a:gd name="connsiteX3" fmla="*/ 0 w 3821075"/>
                <a:gd name="connsiteY3" fmla="*/ 0 h 257442"/>
                <a:gd name="connsiteX0" fmla="*/ 3562543 w 3766354"/>
                <a:gd name="connsiteY0" fmla="*/ 0 h 257442"/>
                <a:gd name="connsiteX1" fmla="*/ 3766354 w 3766354"/>
                <a:gd name="connsiteY1" fmla="*/ 257442 h 257442"/>
                <a:gd name="connsiteX2" fmla="*/ 1 w 3766354"/>
                <a:gd name="connsiteY2" fmla="*/ 257442 h 257442"/>
                <a:gd name="connsiteX3" fmla="*/ 0 w 3766354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1 w 3562543"/>
                <a:gd name="connsiteY2" fmla="*/ 257442 h 257442"/>
                <a:gd name="connsiteX3" fmla="*/ 0 w 3562543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2 w 3562543"/>
                <a:gd name="connsiteY2" fmla="*/ 257442 h 257442"/>
                <a:gd name="connsiteX3" fmla="*/ 0 w 3562543"/>
                <a:gd name="connsiteY3" fmla="*/ 0 h 257442"/>
                <a:gd name="connsiteX0" fmla="*/ 3562541 w 3562541"/>
                <a:gd name="connsiteY0" fmla="*/ 0 h 257442"/>
                <a:gd name="connsiteX1" fmla="*/ 3507820 w 3562541"/>
                <a:gd name="connsiteY1" fmla="*/ 257442 h 257442"/>
                <a:gd name="connsiteX2" fmla="*/ 0 w 3562541"/>
                <a:gd name="connsiteY2" fmla="*/ 257442 h 257442"/>
                <a:gd name="connsiteX3" fmla="*/ 0 w 3562541"/>
                <a:gd name="connsiteY3" fmla="*/ 0 h 257442"/>
                <a:gd name="connsiteX0" fmla="*/ 3402241 w 3507820"/>
                <a:gd name="connsiteY0" fmla="*/ 0 h 257442"/>
                <a:gd name="connsiteX1" fmla="*/ 3507820 w 3507820"/>
                <a:gd name="connsiteY1" fmla="*/ 257442 h 257442"/>
                <a:gd name="connsiteX2" fmla="*/ 0 w 3507820"/>
                <a:gd name="connsiteY2" fmla="*/ 257442 h 257442"/>
                <a:gd name="connsiteX3" fmla="*/ 0 w 3507820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0 w 3402241"/>
                <a:gd name="connsiteY2" fmla="*/ 257442 h 257442"/>
                <a:gd name="connsiteX3" fmla="*/ 0 w 3402241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1 w 3402241"/>
                <a:gd name="connsiteY2" fmla="*/ 257442 h 257442"/>
                <a:gd name="connsiteX3" fmla="*/ 0 w 3402241"/>
                <a:gd name="connsiteY3" fmla="*/ 0 h 257442"/>
                <a:gd name="connsiteX0" fmla="*/ 3402240 w 3402240"/>
                <a:gd name="connsiteY0" fmla="*/ 0 h 257442"/>
                <a:gd name="connsiteX1" fmla="*/ 3347519 w 3402240"/>
                <a:gd name="connsiteY1" fmla="*/ 257442 h 257442"/>
                <a:gd name="connsiteX2" fmla="*/ 0 w 3402240"/>
                <a:gd name="connsiteY2" fmla="*/ 257442 h 257442"/>
                <a:gd name="connsiteX3" fmla="*/ 0 w 3402240"/>
                <a:gd name="connsiteY3" fmla="*/ 0 h 257442"/>
                <a:gd name="connsiteX0" fmla="*/ 3244697 w 3347519"/>
                <a:gd name="connsiteY0" fmla="*/ 0 h 257442"/>
                <a:gd name="connsiteX1" fmla="*/ 3347519 w 3347519"/>
                <a:gd name="connsiteY1" fmla="*/ 257442 h 257442"/>
                <a:gd name="connsiteX2" fmla="*/ 0 w 3347519"/>
                <a:gd name="connsiteY2" fmla="*/ 257442 h 257442"/>
                <a:gd name="connsiteX3" fmla="*/ 0 w 3347519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076383 w 3189977"/>
                <a:gd name="connsiteY0" fmla="*/ 0 h 257442"/>
                <a:gd name="connsiteX1" fmla="*/ 3189977 w 3189977"/>
                <a:gd name="connsiteY1" fmla="*/ 257442 h 257442"/>
                <a:gd name="connsiteX2" fmla="*/ 0 w 3189977"/>
                <a:gd name="connsiteY2" fmla="*/ 257442 h 257442"/>
                <a:gd name="connsiteX3" fmla="*/ 0 w 3189977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2908067 w 3021662"/>
                <a:gd name="connsiteY0" fmla="*/ 0 h 257442"/>
                <a:gd name="connsiteX1" fmla="*/ 3021662 w 3021662"/>
                <a:gd name="connsiteY1" fmla="*/ 257442 h 257442"/>
                <a:gd name="connsiteX2" fmla="*/ 0 w 3021662"/>
                <a:gd name="connsiteY2" fmla="*/ 257442 h 257442"/>
                <a:gd name="connsiteX3" fmla="*/ 0 w 3021662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1 w 2908067"/>
                <a:gd name="connsiteY2" fmla="*/ 257442 h 257442"/>
                <a:gd name="connsiteX3" fmla="*/ 0 w 2908067"/>
                <a:gd name="connsiteY3" fmla="*/ 0 h 257442"/>
                <a:gd name="connsiteX0" fmla="*/ 2908066 w 2908066"/>
                <a:gd name="connsiteY0" fmla="*/ 0 h 257442"/>
                <a:gd name="connsiteX1" fmla="*/ 2853345 w 2908066"/>
                <a:gd name="connsiteY1" fmla="*/ 257442 h 257442"/>
                <a:gd name="connsiteX2" fmla="*/ 0 w 2908066"/>
                <a:gd name="connsiteY2" fmla="*/ 257442 h 257442"/>
                <a:gd name="connsiteX3" fmla="*/ 0 w 2908066"/>
                <a:gd name="connsiteY3" fmla="*/ 0 h 257442"/>
                <a:gd name="connsiteX0" fmla="*/ 2747766 w 2853345"/>
                <a:gd name="connsiteY0" fmla="*/ 0 h 257442"/>
                <a:gd name="connsiteX1" fmla="*/ 2853345 w 2853345"/>
                <a:gd name="connsiteY1" fmla="*/ 257442 h 257442"/>
                <a:gd name="connsiteX2" fmla="*/ 0 w 2853345"/>
                <a:gd name="connsiteY2" fmla="*/ 257442 h 257442"/>
                <a:gd name="connsiteX3" fmla="*/ 0 w 2853345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3001041 w 3001041"/>
                <a:gd name="connsiteY0" fmla="*/ 0 h 257442"/>
                <a:gd name="connsiteX1" fmla="*/ 2693046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169357 w 3169357"/>
                <a:gd name="connsiteY0" fmla="*/ 0 h 257442"/>
                <a:gd name="connsiteX1" fmla="*/ 2946320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55306 w 3355306"/>
                <a:gd name="connsiteY0" fmla="*/ 0 h 257442"/>
                <a:gd name="connsiteX1" fmla="*/ 3114636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6 w 3355306"/>
                <a:gd name="connsiteY0" fmla="*/ 0 h 257442"/>
                <a:gd name="connsiteX1" fmla="*/ 3300584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533239 w 3533239"/>
                <a:gd name="connsiteY0" fmla="*/ 0 h 257442"/>
                <a:gd name="connsiteX1" fmla="*/ 3300585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8 w 3533238"/>
                <a:gd name="connsiteY0" fmla="*/ 0 h 257442"/>
                <a:gd name="connsiteX1" fmla="*/ 3478517 w 3533238"/>
                <a:gd name="connsiteY1" fmla="*/ 257442 h 257442"/>
                <a:gd name="connsiteX2" fmla="*/ 0 w 3533238"/>
                <a:gd name="connsiteY2" fmla="*/ 257442 h 257442"/>
                <a:gd name="connsiteX3" fmla="*/ 0 w 3533238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1 w 3533239"/>
                <a:gd name="connsiteY2" fmla="*/ 257442 h 257442"/>
                <a:gd name="connsiteX3" fmla="*/ 0 w 3533239"/>
                <a:gd name="connsiteY3" fmla="*/ 0 h 257442"/>
                <a:gd name="connsiteX0" fmla="*/ 934772 w 3478518"/>
                <a:gd name="connsiteY0" fmla="*/ 0 h 257442"/>
                <a:gd name="connsiteX1" fmla="*/ 3478518 w 3478518"/>
                <a:gd name="connsiteY1" fmla="*/ 257442 h 257442"/>
                <a:gd name="connsiteX2" fmla="*/ 1 w 3478518"/>
                <a:gd name="connsiteY2" fmla="*/ 257442 h 257442"/>
                <a:gd name="connsiteX3" fmla="*/ 0 w 3478518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204076 w 1204076"/>
                <a:gd name="connsiteY0" fmla="*/ 0 h 257442"/>
                <a:gd name="connsiteX1" fmla="*/ 880050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6 w 1204076"/>
                <a:gd name="connsiteY0" fmla="*/ 0 h 257442"/>
                <a:gd name="connsiteX1" fmla="*/ 1149354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390025 w 1390025"/>
                <a:gd name="connsiteY0" fmla="*/ 0 h 257442"/>
                <a:gd name="connsiteX1" fmla="*/ 1149355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67958 w 1567958"/>
                <a:gd name="connsiteY0" fmla="*/ 0 h 257442"/>
                <a:gd name="connsiteX1" fmla="*/ 1335304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745891 w 1745891"/>
                <a:gd name="connsiteY0" fmla="*/ 0 h 257442"/>
                <a:gd name="connsiteX1" fmla="*/ 1513236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14205 w 1914205"/>
                <a:gd name="connsiteY0" fmla="*/ 0 h 257442"/>
                <a:gd name="connsiteX1" fmla="*/ 1691170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42822 w 2242822"/>
                <a:gd name="connsiteY0" fmla="*/ 0 h 257442"/>
                <a:gd name="connsiteX1" fmla="*/ 20278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2 w 2242822"/>
                <a:gd name="connsiteY0" fmla="*/ 0 h 257442"/>
                <a:gd name="connsiteX1" fmla="*/ 21881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411137 w 2411137"/>
                <a:gd name="connsiteY0" fmla="*/ 0 h 257442"/>
                <a:gd name="connsiteX1" fmla="*/ 2188101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680442 w 2680442"/>
                <a:gd name="connsiteY0" fmla="*/ 0 h 257442"/>
                <a:gd name="connsiteX1" fmla="*/ 2356416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840741 w 2840741"/>
                <a:gd name="connsiteY0" fmla="*/ 0 h 257442"/>
                <a:gd name="connsiteX1" fmla="*/ 26257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950801 w 2786020"/>
                <a:gd name="connsiteY0" fmla="*/ 0 h 257442"/>
                <a:gd name="connsiteX1" fmla="*/ 2786020 w 2786020"/>
                <a:gd name="connsiteY1" fmla="*/ 257442 h 257442"/>
                <a:gd name="connsiteX2" fmla="*/ 0 w 2786020"/>
                <a:gd name="connsiteY2" fmla="*/ 257442 h 257442"/>
                <a:gd name="connsiteX3" fmla="*/ 0 w 278602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474984 w 1474984"/>
                <a:gd name="connsiteY0" fmla="*/ 0 h 257442"/>
                <a:gd name="connsiteX1" fmla="*/ 1242330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0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btfpRunningAgenda1LevelTextLeft432015">
              <a:extLst>
                <a:ext uri="{FF2B5EF4-FFF2-40B4-BE49-F238E27FC236}">
                  <a16:creationId xmlns:a16="http://schemas.microsoft.com/office/drawing/2014/main" id="{BE85DC4D-5223-4D5C-8071-61432E3AAA03}"/>
                </a:ext>
              </a:extLst>
            </p:cNvPr>
            <p:cNvSpPr txBox="1"/>
            <p:nvPr/>
          </p:nvSpPr>
          <p:spPr bwMode="gray">
            <a:xfrm>
              <a:off x="0" y="944429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</p:txBody>
        </p: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2BBAC25-9B4E-9B86-5B62-FAAB3CDB4316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55638" y="2132013"/>
          <a:ext cx="1620837" cy="36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7"/>
          </a:graphicData>
        </a:graphic>
      </p:graphicFrame>
      <p:sp>
        <p:nvSpPr>
          <p:cNvPr id="59" name="Text Placeholder">
            <a:extLst>
              <a:ext uri="{FF2B5EF4-FFF2-40B4-BE49-F238E27FC236}">
                <a16:creationId xmlns:a16="http://schemas.microsoft.com/office/drawing/2014/main" id="{D956ED09-A036-48BE-B1E3-6C77D885851D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82613" y="56610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40F5063-80EE-41C7-BC7F-C3699C00968F}" type="datetime'''''''''''''''''''0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7" name="Text Placeholder">
            <a:extLst>
              <a:ext uri="{FF2B5EF4-FFF2-40B4-BE49-F238E27FC236}">
                <a16:creationId xmlns:a16="http://schemas.microsoft.com/office/drawing/2014/main" id="{9BB50DFF-356D-4D80-A834-1B0D8F7D3DD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512763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593C932-76B3-43D9-8F0B-A3F0579AA0ED}" type="datetime'''''''''''''''''''''2''''''''''''''''0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8" name="Text Placeholder">
            <a:extLst>
              <a:ext uri="{FF2B5EF4-FFF2-40B4-BE49-F238E27FC236}">
                <a16:creationId xmlns:a16="http://schemas.microsoft.com/office/drawing/2014/main" id="{A1AD66CF-F537-42CA-93EF-5F1C657ADD5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12763" y="4251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751D3D4-8234-47EF-957C-8681E983EB8E}" type="datetime'''''''''''4''''''''''0''''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7" name="Text Placeholder">
            <a:extLst>
              <a:ext uri="{FF2B5EF4-FFF2-40B4-BE49-F238E27FC236}">
                <a16:creationId xmlns:a16="http://schemas.microsoft.com/office/drawing/2014/main" id="{F136AD54-7BFA-4444-901C-2AC14AE8508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512763" y="35480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8EEB518-81EA-4790-A27C-F20119307127}" type="datetime'''''''''''''''''''''''''''''''''''''''''6''''''''''''0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51229FEE-E300-4163-92C6-A7F1E1D765AC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512763" y="2843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CCF9DEA8-BA75-422D-B157-9C948B561FBE}" type="datetime'''''''''''''''''''8''''0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4" name="Text Placeholder">
            <a:extLst>
              <a:ext uri="{FF2B5EF4-FFF2-40B4-BE49-F238E27FC236}">
                <a16:creationId xmlns:a16="http://schemas.microsoft.com/office/drawing/2014/main" id="{6B1B3BF4-46DB-4644-992B-82D0BDA70097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30200" y="213836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B9C1FCF-1AE3-42C2-860B-763CC5F5B7FA}" type="datetime'''''''''''''''''''''''''''''''''''''''''1''''''''''0''''''0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49DFD0FE-29C1-4563-82DE-4732B02CE74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30200" y="1731963"/>
            <a:ext cx="13906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Location by province (%)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F7958A27-43D9-4A99-A51A-DDBD4664C93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927100" y="2490788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D7CB88-D4A5-4EB3-848C-810E4CBDE886}" type="datetime'''''''O''''''''''''''''''''''''t''''''''h''e''r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5113B748-0773-4F60-8C8E-1F0543CFEA13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830263" y="3195638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4B4B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9A05F0-D34D-4CB1-B32E-5B8936AD6A31}" type="datetime'''''''''''''''''''''''''''''''''''D''''u''''''mm''y4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29D3481D-CE0D-4940-9849-73765248C88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830263" y="38989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58585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D68282-396A-477B-B167-B6A2EDD3CC63}" type="datetime'''''D''''''um''''''''''''m''y''''''''''''''''3''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6D05DCDB-21CD-4BE3-8F16-CBB320F4FA8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30263" y="460375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01AF2B-EC6A-41F4-A207-10A7A36CB6C2}" type="datetime'''''''D''''u''''''''''''''''''''m''''''my''2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2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8BA80B3E-FBAA-4DA6-8F6F-75F48A6009F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30263" y="53086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5ACD01-EE89-4B30-AD8C-5E1820F90054}" type="datetime'''D''u''''''m''''''m''''''''''''''y''''''1''''''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50" name="Text Placeholder">
            <a:extLst>
              <a:ext uri="{FF2B5EF4-FFF2-40B4-BE49-F238E27FC236}">
                <a16:creationId xmlns:a16="http://schemas.microsoft.com/office/drawing/2014/main" id="{CA6A9D46-0A93-4F98-B1AC-E1C66A9C79B3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842963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D04299B-A86B-4831-B21B-901ACE597853}" type="datetime'''''''''''''''C''''''''o''''''''''''l''u''''''''m''''n''''''1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EFEF6C3B-F126-47B6-8233-FCDDCB45265D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571625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5206D19-D87B-4655-865D-D7FE4EB1516D}" type="datetime'C''''''''''''o''''''l''''''u''''''''''m''''n2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506AA86-3ACA-4850-A923-B75049E28F99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979488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FC18F8-CF55-4CAC-B156-A41896B87CB7}" type="datetime'''''''''''''''''''''''''''''''''''''''1''''0''''''''0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E5156DFE-FB17-4297-AC4B-E08043D3C10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708150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4F6796-E0AE-49D8-AA96-116EA27E283A}" type="datetime'''1''''''''''''''''''0''''''''''''''''''''''0''''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1704FA4-081F-033A-A47C-982747DFCA27}"/>
              </a:ext>
            </a:extLst>
          </p:cNvPr>
          <p:cNvGraphicFramePr/>
          <p:nvPr>
            <p:custDataLst>
              <p:tags r:id="rId27"/>
            </p:custDataLst>
          </p:nvPr>
        </p:nvGraphicFramePr>
        <p:xfrm>
          <a:off x="3073400" y="2132013"/>
          <a:ext cx="1620838" cy="36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sp>
        <p:nvSpPr>
          <p:cNvPr id="155" name="Text Placeholder">
            <a:extLst>
              <a:ext uri="{FF2B5EF4-FFF2-40B4-BE49-F238E27FC236}">
                <a16:creationId xmlns:a16="http://schemas.microsoft.com/office/drawing/2014/main" id="{EC01E282-4C06-49F6-887E-DC5A8A798EA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000375" y="56610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EF5B647-BD32-42C8-9376-10A3234F41CC}" type="datetime'''''''''''''''''''''''''''0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0" name="Text Placeholder">
            <a:extLst>
              <a:ext uri="{FF2B5EF4-FFF2-40B4-BE49-F238E27FC236}">
                <a16:creationId xmlns:a16="http://schemas.microsoft.com/office/drawing/2014/main" id="{26999844-3933-4B5A-9383-6747E2ABE92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2930525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DA30E8-BCBB-49D1-A1BD-E748895F5B93}" type="datetime'''''''''''''''2''''''''0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1" name="Text Placeholder">
            <a:extLst>
              <a:ext uri="{FF2B5EF4-FFF2-40B4-BE49-F238E27FC236}">
                <a16:creationId xmlns:a16="http://schemas.microsoft.com/office/drawing/2014/main" id="{10513429-E451-41F2-B1F0-0B3D630F47D2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2930525" y="4251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4BD274B-5637-4E04-A72C-7AB0D4F35710}" type="datetime'''''''''''''4''0''''''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2" name="Text Placeholder">
            <a:extLst>
              <a:ext uri="{FF2B5EF4-FFF2-40B4-BE49-F238E27FC236}">
                <a16:creationId xmlns:a16="http://schemas.microsoft.com/office/drawing/2014/main" id="{43F00E8C-2739-4371-8180-1E266C843B75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2930525" y="35480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788E565-FD6E-4D03-9E75-E86D016DDEFB}" type="datetime'''''''''6''''''''''''''''''0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3" name="Text Placeholder">
            <a:extLst>
              <a:ext uri="{FF2B5EF4-FFF2-40B4-BE49-F238E27FC236}">
                <a16:creationId xmlns:a16="http://schemas.microsoft.com/office/drawing/2014/main" id="{F50D5E59-C68C-4D98-A982-0E0BAD34ACE0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2930525" y="2843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71D353F-2DEE-4AE3-AF62-82460F223EC6}" type="datetime'''''''''''''''''''8''''''''''''''''''''''''''''0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0" name="Text Placeholder">
            <a:extLst>
              <a:ext uri="{FF2B5EF4-FFF2-40B4-BE49-F238E27FC236}">
                <a16:creationId xmlns:a16="http://schemas.microsoft.com/office/drawing/2014/main" id="{052F6EB7-49A1-4295-B2A9-7B3230E0C092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2747963" y="213836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4640DA9-7452-4787-A82D-632D375F0425}" type="datetime'''''''1''0''0''''''''''''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E8389352-15F6-45DC-8770-FF40258EC64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747963" y="1731963"/>
            <a:ext cx="13001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Gender distribution (%)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2" name="Text Placeholder">
            <a:extLst>
              <a:ext uri="{FF2B5EF4-FFF2-40B4-BE49-F238E27FC236}">
                <a16:creationId xmlns:a16="http://schemas.microsoft.com/office/drawing/2014/main" id="{E9B280AE-2EA6-4FEE-81F3-58D4925BD7B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365500" y="3019425"/>
            <a:ext cx="309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7034D94-6292-43B8-9682-497494810293}" type="datetime'''''''''''M''''''''''''''a''''''l''''''''''''''''''''e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le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63" name="Text Placeholder">
            <a:extLst>
              <a:ext uri="{FF2B5EF4-FFF2-40B4-BE49-F238E27FC236}">
                <a16:creationId xmlns:a16="http://schemas.microsoft.com/office/drawing/2014/main" id="{A9FB8766-7906-4B81-83AE-D11475F57807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3290888" y="4779963"/>
            <a:ext cx="457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7A2676B-AA76-47B2-88A8-E810761B0C3D}" type="datetime'''''''F''e''''m''a''l''''''''''''''e''''''''''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male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70" name="Text Placeholder">
            <a:extLst>
              <a:ext uri="{FF2B5EF4-FFF2-40B4-BE49-F238E27FC236}">
                <a16:creationId xmlns:a16="http://schemas.microsoft.com/office/drawing/2014/main" id="{DA7B7791-A39A-4CC2-BFBC-02FAE53B0EC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260725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6A241E0-BD89-477F-B149-622E3399BBA0}" type="datetime'''''C''ol''u''m''''''''''''''''''''''''n''''1''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7" name="Text Placeholder">
            <a:extLst>
              <a:ext uri="{FF2B5EF4-FFF2-40B4-BE49-F238E27FC236}">
                <a16:creationId xmlns:a16="http://schemas.microsoft.com/office/drawing/2014/main" id="{183BB359-2BE0-48BE-B1BE-72DF6E62B6D4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989388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D3969B2-C121-4F66-A5F9-D2A607E1D4D3}" type="datetime'C''''''''''''''ol''''''''''''u''''''''''''m''''n2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8" name="Text Placeholder">
            <a:extLst>
              <a:ext uri="{FF2B5EF4-FFF2-40B4-BE49-F238E27FC236}">
                <a16:creationId xmlns:a16="http://schemas.microsoft.com/office/drawing/2014/main" id="{7169AC0F-C1E5-41FB-BAEB-15A7859335E3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3397250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94AF0F-F2EE-462D-80B4-4FD2E73E6960}" type="datetime'''''''''''''''''''''1''''''''''''''''''''''0''''0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9" name="Text Placeholder">
            <a:extLst>
              <a:ext uri="{FF2B5EF4-FFF2-40B4-BE49-F238E27FC236}">
                <a16:creationId xmlns:a16="http://schemas.microsoft.com/office/drawing/2014/main" id="{ECA02CAE-FEC1-4919-A8E7-622F5DFA8D2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125913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CA6C10-6FB5-450A-A083-4101A0741FB5}" type="datetime'1''''''''''''''''''0''''''''''''''''''''''''''''''''''0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E606F4-F822-4251-8855-93ECFB3A19BB}"/>
              </a:ext>
            </a:extLst>
          </p:cNvPr>
          <p:cNvSpPr/>
          <p:nvPr/>
        </p:nvSpPr>
        <p:spPr bwMode="gray">
          <a:xfrm>
            <a:off x="3877098" y="1971675"/>
            <a:ext cx="734507" cy="4283652"/>
          </a:xfrm>
          <a:prstGeom prst="rect">
            <a:avLst/>
          </a:prstGeom>
          <a:solidFill>
            <a:srgbClr val="FFFFFF">
              <a:alpha val="50000"/>
            </a:srgbClr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C42DC24-2C79-CF1B-B88F-61D623E148FE}"/>
              </a:ext>
            </a:extLst>
          </p:cNvPr>
          <p:cNvGraphicFramePr/>
          <p:nvPr>
            <p:custDataLst>
              <p:tags r:id="rId41"/>
            </p:custDataLst>
          </p:nvPr>
        </p:nvGraphicFramePr>
        <p:xfrm>
          <a:off x="5484813" y="2132013"/>
          <a:ext cx="1620837" cy="36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196" name="Text Placeholder">
            <a:extLst>
              <a:ext uri="{FF2B5EF4-FFF2-40B4-BE49-F238E27FC236}">
                <a16:creationId xmlns:a16="http://schemas.microsoft.com/office/drawing/2014/main" id="{293D7CD5-4F5D-4D86-9C8C-8742D0D57D0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411788" y="56610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77CD59F-9585-4205-9536-849A2930AB84}" type="datetime'''''''''''''''''''''''''''''''''''''0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7" name="Text Placeholder">
            <a:extLst>
              <a:ext uri="{FF2B5EF4-FFF2-40B4-BE49-F238E27FC236}">
                <a16:creationId xmlns:a16="http://schemas.microsoft.com/office/drawing/2014/main" id="{761ADF03-FBB5-4972-975C-3CA222E7184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341938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47A73E8-28C2-43EA-93D5-37B0F67744EC}" type="datetime'''''''''''''''''''''''''''''2''''''''''''''''0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8" name="Text Placeholder">
            <a:extLst>
              <a:ext uri="{FF2B5EF4-FFF2-40B4-BE49-F238E27FC236}">
                <a16:creationId xmlns:a16="http://schemas.microsoft.com/office/drawing/2014/main" id="{4AD7BFD2-7E43-4D7B-BEAB-DAFE68F3ABC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341938" y="4251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390FFDB-7C7F-4AAE-A0BF-100AD362BF88}" type="datetime'''''''''''''''''''''''4''''''''0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9" name="Text Placeholder">
            <a:extLst>
              <a:ext uri="{FF2B5EF4-FFF2-40B4-BE49-F238E27FC236}">
                <a16:creationId xmlns:a16="http://schemas.microsoft.com/office/drawing/2014/main" id="{912CFA53-6C1B-4FFA-8D41-0C83F4A0D71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5341938" y="35480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3DA9A46-1EF2-4FAF-A58D-1D32CC9D6609}" type="datetime'''''''''''''''6''''''0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0" name="Text Placeholder">
            <a:extLst>
              <a:ext uri="{FF2B5EF4-FFF2-40B4-BE49-F238E27FC236}">
                <a16:creationId xmlns:a16="http://schemas.microsoft.com/office/drawing/2014/main" id="{FB6CAFCB-BADD-4049-B6AC-417F7109B82F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341938" y="2843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0E083F3-D882-454C-AF1F-25918040B245}" type="datetime'''''8''0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1" name="Text Placeholder">
            <a:extLst>
              <a:ext uri="{FF2B5EF4-FFF2-40B4-BE49-F238E27FC236}">
                <a16:creationId xmlns:a16="http://schemas.microsoft.com/office/drawing/2014/main" id="{11CE3552-BD44-42B4-80DB-835F8463A932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5159375" y="213836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F830846-69BA-431D-8397-156EFD2C546A}" type="datetime'1''''''''''0''''''''''''''''''''''''''''''''''''''''''0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2" name="Text Placeholder">
            <a:extLst>
              <a:ext uri="{FF2B5EF4-FFF2-40B4-BE49-F238E27FC236}">
                <a16:creationId xmlns:a16="http://schemas.microsoft.com/office/drawing/2014/main" id="{7DF60A6D-30F0-48E6-82D8-96DE9F3A1102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5159375" y="1731963"/>
            <a:ext cx="11033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Age distribution (%)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2940A379-43A0-47B7-B0E2-433313AF8FD5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5659438" y="2490788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D475A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4F2D69-3800-4F20-B049-F1EFAB953E9D}" type="datetime'''''Du''''''m''''''''''''''''my5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5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04" name="Text Placeholder">
            <a:extLst>
              <a:ext uri="{FF2B5EF4-FFF2-40B4-BE49-F238E27FC236}">
                <a16:creationId xmlns:a16="http://schemas.microsoft.com/office/drawing/2014/main" id="{4F524FA4-0016-4A85-981F-3A8A0DE585A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5659438" y="3195638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4B4B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81AAC-EFCD-4584-86FE-FF6F149E00E8}" type="datetime'''''''''''''''''''''''''Du''''m''''''''m''''y''4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8FB83337-A1FD-4137-B51F-A196FFE183FD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5659438" y="38989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58585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096D77E-C84E-47A0-BCC1-9796A5E325AF}" type="datetime'''''''D''u''m''''my''3''''''''''''''''''''''''''''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06" name="Text Placeholder">
            <a:extLst>
              <a:ext uri="{FF2B5EF4-FFF2-40B4-BE49-F238E27FC236}">
                <a16:creationId xmlns:a16="http://schemas.microsoft.com/office/drawing/2014/main" id="{7DA12F87-133B-43EC-ABD4-DEB4F5484606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5659438" y="460375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58AE675-A473-4CAD-A0D3-A38CC0C2487C}" type="datetime'''''''''''''''D''''''''''''''''''''u''''''''mm''y''''''2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2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FD38CF8C-E2F3-4C22-88F5-CB57134A6CE8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5659438" y="53086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FC9A3AD-D250-4D7F-ACBB-E022F54EC6E8}" type="datetime'''D''''''''''''''''''''u''''mm''''y''''''''''''''''1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11" name="Text Placeholder">
            <a:extLst>
              <a:ext uri="{FF2B5EF4-FFF2-40B4-BE49-F238E27FC236}">
                <a16:creationId xmlns:a16="http://schemas.microsoft.com/office/drawing/2014/main" id="{02A01333-2051-4332-B95C-8BB0E79066B6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672138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79DB65-1527-4435-A5E8-6853D382A7C3}" type="datetime'C''''''''''''''''o''''lu''m''''''''''''n''''''''1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8" name="Text Placeholder">
            <a:extLst>
              <a:ext uri="{FF2B5EF4-FFF2-40B4-BE49-F238E27FC236}">
                <a16:creationId xmlns:a16="http://schemas.microsoft.com/office/drawing/2014/main" id="{B7C1995A-BED7-421F-B930-2ACF9CF8F37C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6400800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D8FAD6-15D7-46A8-8ED1-D56105EB98A3}" type="datetime'''''''''''''''''Co''l''''''''u''''''''''''mn2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9" name="Text Placeholder">
            <a:extLst>
              <a:ext uri="{FF2B5EF4-FFF2-40B4-BE49-F238E27FC236}">
                <a16:creationId xmlns:a16="http://schemas.microsoft.com/office/drawing/2014/main" id="{CF80E724-96F1-4429-9734-FFED594C6363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5808663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9452129-A116-4EFF-BF3D-36BD37ED5788}" type="datetime'1''''''''0''''''''''''0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3C5B0E76-E34C-47ED-A687-1310AB38B65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537325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49F96F-D82A-4B89-9437-0CA0549F3C87}" type="datetime'''''''''''''''''''''1''''''0''''''0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47F667-1AFD-ED75-7675-3CDF8817A441}"/>
              </a:ext>
            </a:extLst>
          </p:cNvPr>
          <p:cNvGraphicFramePr/>
          <p:nvPr>
            <p:custDataLst>
              <p:tags r:id="rId58"/>
            </p:custDataLst>
          </p:nvPr>
        </p:nvGraphicFramePr>
        <p:xfrm>
          <a:off x="7899400" y="2132013"/>
          <a:ext cx="1620838" cy="36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238" name="Text Placeholder">
            <a:extLst>
              <a:ext uri="{FF2B5EF4-FFF2-40B4-BE49-F238E27FC236}">
                <a16:creationId xmlns:a16="http://schemas.microsoft.com/office/drawing/2014/main" id="{D40C19F9-2376-4B4F-AAC1-8C867459B692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7826375" y="56610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6E37A5D-B977-415B-938B-DD8CE099818B}" type="datetime'0''''''''''''''''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39" name="Text Placeholder">
            <a:extLst>
              <a:ext uri="{FF2B5EF4-FFF2-40B4-BE49-F238E27FC236}">
                <a16:creationId xmlns:a16="http://schemas.microsoft.com/office/drawing/2014/main" id="{EABEB8D3-85AD-4767-9DD8-04086A15A362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7756525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BEC74B7-7CC2-47DF-BEDD-9084A4E41B85}" type="datetime'''''''''2''''''0''''''''''''''''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0" name="Text Placeholder">
            <a:extLst>
              <a:ext uri="{FF2B5EF4-FFF2-40B4-BE49-F238E27FC236}">
                <a16:creationId xmlns:a16="http://schemas.microsoft.com/office/drawing/2014/main" id="{00C19179-8AED-4908-B5A9-3610400ABC35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7756525" y="4251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C9FA51E-59FB-4C0E-A317-2EF68658B0A2}" type="datetime'4''''''''''0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1" name="Text Placeholder">
            <a:extLst>
              <a:ext uri="{FF2B5EF4-FFF2-40B4-BE49-F238E27FC236}">
                <a16:creationId xmlns:a16="http://schemas.microsoft.com/office/drawing/2014/main" id="{0485B656-0440-43FB-95D0-243AAF84CC7F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7756525" y="35480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0BA6CBC-381E-430E-AF67-52A6F17176FF}" type="datetime'''''''''''''''''''''6''''''''''''''0''''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2" name="Text Placeholder">
            <a:extLst>
              <a:ext uri="{FF2B5EF4-FFF2-40B4-BE49-F238E27FC236}">
                <a16:creationId xmlns:a16="http://schemas.microsoft.com/office/drawing/2014/main" id="{3392E260-BED6-49C4-8F07-D20962FD1CC2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7756525" y="2843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CA7B623-DC6B-4299-8D8F-22BC59CF6946}" type="datetime'''''''''''8''''''''''''''''''''''''''''''0''''''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3" name="Text Placeholder">
            <a:extLst>
              <a:ext uri="{FF2B5EF4-FFF2-40B4-BE49-F238E27FC236}">
                <a16:creationId xmlns:a16="http://schemas.microsoft.com/office/drawing/2014/main" id="{8CBC3C98-0918-43A7-8D4D-9F457C6483D1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7573963" y="213836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23DE5C-4CE5-4EBB-BA8D-23FA641BF93A}" type="datetime'1''''''''''''0''''''''''''''''''''''''''''''''''0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4" name="Text Placeholder">
            <a:extLst>
              <a:ext uri="{FF2B5EF4-FFF2-40B4-BE49-F238E27FC236}">
                <a16:creationId xmlns:a16="http://schemas.microsoft.com/office/drawing/2014/main" id="{E8C31DD7-C8A9-4E35-9596-EABF58B827AB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573963" y="1731963"/>
            <a:ext cx="13287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Industry distribution (%)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5" name="Text Placeholder">
            <a:extLst>
              <a:ext uri="{FF2B5EF4-FFF2-40B4-BE49-F238E27FC236}">
                <a16:creationId xmlns:a16="http://schemas.microsoft.com/office/drawing/2014/main" id="{D3FFEFC2-3B7F-44E2-ABAF-E4CD21A9EC67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8170863" y="2490788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9E5664-F213-4E21-B701-743F0A1750FB}" type="datetime'''''''''O''''''''t''''''''''''''''''h''e''''r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6" name="Text Placeholder">
            <a:extLst>
              <a:ext uri="{FF2B5EF4-FFF2-40B4-BE49-F238E27FC236}">
                <a16:creationId xmlns:a16="http://schemas.microsoft.com/office/drawing/2014/main" id="{2960100C-681B-4D45-8BEA-C6ACECEC72B3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074025" y="3195638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4B26BC7-3BA1-4711-8712-D2E6B00058D9}" type="datetime'''''''''''''''''D''''um''''''''''''''''''''''''''''my3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47" name="Text Placeholder">
            <a:extLst>
              <a:ext uri="{FF2B5EF4-FFF2-40B4-BE49-F238E27FC236}">
                <a16:creationId xmlns:a16="http://schemas.microsoft.com/office/drawing/2014/main" id="{59278B11-890B-41C2-92B2-7668E50D36FD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074025" y="38989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B473C2-3CD0-4FDC-8628-341A81808CF0}" type="datetime'''''''''''''''''''''''Du''''''''''''m''''''m''y''''4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4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48" name="Text Placeholder">
            <a:extLst>
              <a:ext uri="{FF2B5EF4-FFF2-40B4-BE49-F238E27FC236}">
                <a16:creationId xmlns:a16="http://schemas.microsoft.com/office/drawing/2014/main" id="{C8B35397-67BC-4574-807C-10DB4868983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8074025" y="460375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58585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72238F-C916-4A43-97D3-84763D537652}" type="datetime'''''''''''''''''''''''''D''''''um''m''''''''''y''''''1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49" name="Text Placeholder">
            <a:extLst>
              <a:ext uri="{FF2B5EF4-FFF2-40B4-BE49-F238E27FC236}">
                <a16:creationId xmlns:a16="http://schemas.microsoft.com/office/drawing/2014/main" id="{6E3DA62E-0D0C-4B9F-89E0-58D410989AA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8074025" y="53086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4B4B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A11940-0FD5-4576-B9F2-C44A337856B1}" type="datetime'''''''D''''''u''''''m''m''''''''''''''y''''2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3" name="Text Placeholder">
            <a:extLst>
              <a:ext uri="{FF2B5EF4-FFF2-40B4-BE49-F238E27FC236}">
                <a16:creationId xmlns:a16="http://schemas.microsoft.com/office/drawing/2014/main" id="{8BA2B9B6-C646-4FD4-AD71-B51A17961C00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086725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98B6CC-DECF-436A-8000-7BF650EE2251}" type="datetime'''''C''o''l''u''''''''m''''''''''''''''''''''''''''''n''1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0" name="Text Placeholder">
            <a:extLst>
              <a:ext uri="{FF2B5EF4-FFF2-40B4-BE49-F238E27FC236}">
                <a16:creationId xmlns:a16="http://schemas.microsoft.com/office/drawing/2014/main" id="{BC192F3B-3183-4A51-AAA7-D31A2FE789EE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815388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9301C00-65CD-4A3D-B20A-7DD79610C7C6}" type="datetime'''''''''C''o''l''u''''''mn''''''''''''''''''''''''2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1" name="Text Placeholder">
            <a:extLst>
              <a:ext uri="{FF2B5EF4-FFF2-40B4-BE49-F238E27FC236}">
                <a16:creationId xmlns:a16="http://schemas.microsoft.com/office/drawing/2014/main" id="{9A9D522C-21B9-4744-8473-24984E9CE1EA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8223250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176D0C-A248-4020-B328-22BF07215094}" type="datetime'''1''''''''''''0''''''''''''''''''''''''0''''''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2" name="Text Placeholder">
            <a:extLst>
              <a:ext uri="{FF2B5EF4-FFF2-40B4-BE49-F238E27FC236}">
                <a16:creationId xmlns:a16="http://schemas.microsoft.com/office/drawing/2014/main" id="{B6EF56B2-E4D8-4E1E-BB26-D14A16010A7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8951913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607A356-5593-4CF9-A2D0-D2E1131465B2}" type="datetime'''1''''''''''''''''''''''0''''''''''0''''''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4FC8FA-9D0B-D896-976E-E1774C6E5BD2}"/>
              </a:ext>
            </a:extLst>
          </p:cNvPr>
          <p:cNvGraphicFramePr/>
          <p:nvPr>
            <p:custDataLst>
              <p:tags r:id="rId75"/>
            </p:custDataLst>
          </p:nvPr>
        </p:nvGraphicFramePr>
        <p:xfrm>
          <a:off x="10313988" y="2132013"/>
          <a:ext cx="1625600" cy="3687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269" name="Text Placeholder">
            <a:extLst>
              <a:ext uri="{FF2B5EF4-FFF2-40B4-BE49-F238E27FC236}">
                <a16:creationId xmlns:a16="http://schemas.microsoft.com/office/drawing/2014/main" id="{BC8C14C3-4692-41BD-BBAA-08E2CFC8B617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0240963" y="56610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BC0F0D8-055B-434D-B3C6-02E5F55D0780}" type="datetime'''''''''''''''''''''''''''''''''''''''''''''0''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0" name="Text Placeholder">
            <a:extLst>
              <a:ext uri="{FF2B5EF4-FFF2-40B4-BE49-F238E27FC236}">
                <a16:creationId xmlns:a16="http://schemas.microsoft.com/office/drawing/2014/main" id="{7AF86499-0F13-42FB-8763-B394D4AB8C48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10171113" y="4956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5E29499-8688-42C4-A79B-E178E8DDB0BE}" type="datetime'''''''''''2''0''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FA7B1EC9-8A1F-46E8-B8DC-834F413D691D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10171113" y="42513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46F2E61-7B43-4EB0-A550-F6BB5073B2FC}" type="datetime'''''''''''4''0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2" name="Text Placeholder">
            <a:extLst>
              <a:ext uri="{FF2B5EF4-FFF2-40B4-BE49-F238E27FC236}">
                <a16:creationId xmlns:a16="http://schemas.microsoft.com/office/drawing/2014/main" id="{3520A56E-D203-4E1E-889D-22959983CD8C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0171113" y="35480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4A13E36-C4FD-4207-A235-730BDC349CAB}" type="datetime'''6''''''''''''''''''''''''''0''''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3" name="Text Placeholder">
            <a:extLst>
              <a:ext uri="{FF2B5EF4-FFF2-40B4-BE49-F238E27FC236}">
                <a16:creationId xmlns:a16="http://schemas.microsoft.com/office/drawing/2014/main" id="{63D4DD00-2AF0-42AB-9D0E-73C31E8CB28A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0171113" y="2843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9BEB031-62E1-4A7B-9FF2-1E7FFB538D96}" type="datetime'8''''''''''''''''''''''''''''''''''''0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4" name="Text Placeholder">
            <a:extLst>
              <a:ext uri="{FF2B5EF4-FFF2-40B4-BE49-F238E27FC236}">
                <a16:creationId xmlns:a16="http://schemas.microsoft.com/office/drawing/2014/main" id="{04B232BC-2402-4F19-87B2-A2F1CAB1F58D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9988550" y="213836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4FF25B5-120A-44E5-9C03-1ABFE36EC5E7}" type="datetime'''''''''''''''''1''''''''''''''''0''''''''0'">
              <a:rPr lang="en-US" altLang="en-US" sz="10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5" name="Text Placeholder">
            <a:extLst>
              <a:ext uri="{FF2B5EF4-FFF2-40B4-BE49-F238E27FC236}">
                <a16:creationId xmlns:a16="http://schemas.microsoft.com/office/drawing/2014/main" id="{8B4AF465-0C8E-4AC2-931F-7FC459B2F3D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9988550" y="1731963"/>
            <a:ext cx="11398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Role distribution (%)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6" name="Text Placeholder">
            <a:extLst>
              <a:ext uri="{FF2B5EF4-FFF2-40B4-BE49-F238E27FC236}">
                <a16:creationId xmlns:a16="http://schemas.microsoft.com/office/drawing/2014/main" id="{04E6E253-F488-420E-8312-454438999DE9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10585450" y="2490788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3B34FF-07A0-41E0-B8AB-5B6EA1904450}" type="datetime'''''''''''O''''''''''t''h''e''''''''''''''''r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7" name="Text Placeholder">
            <a:extLst>
              <a:ext uri="{FF2B5EF4-FFF2-40B4-BE49-F238E27FC236}">
                <a16:creationId xmlns:a16="http://schemas.microsoft.com/office/drawing/2014/main" id="{0E698965-3440-4003-A494-F25B600DF721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0488613" y="3195638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4B4B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517340-8119-44FF-B10C-F654DF0C4CA6}" type="datetime'''D''u''''''''''''m''''''''''''''''''m''''''''y4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8" name="Text Placeholder">
            <a:extLst>
              <a:ext uri="{FF2B5EF4-FFF2-40B4-BE49-F238E27FC236}">
                <a16:creationId xmlns:a16="http://schemas.microsoft.com/office/drawing/2014/main" id="{55F6B594-9408-4160-98FA-89A1C07B3FBB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10488613" y="38989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58585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ADE350-9C77-4249-BC1E-4C51B1F61D1F}" type="datetime'D''''u''''mm''''''''''''''''''''''''''''''y''''''3''''''''''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79" name="Text Placeholder">
            <a:extLst>
              <a:ext uri="{FF2B5EF4-FFF2-40B4-BE49-F238E27FC236}">
                <a16:creationId xmlns:a16="http://schemas.microsoft.com/office/drawing/2014/main" id="{3015E310-D845-40DB-82E3-1F4D8C3A42DB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10488613" y="460375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E340C3-248D-4024-8142-1072C95A726F}" type="datetime'''''''''''D''''''u''''mm''''y''''2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2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80" name="Text Placeholder">
            <a:extLst>
              <a:ext uri="{FF2B5EF4-FFF2-40B4-BE49-F238E27FC236}">
                <a16:creationId xmlns:a16="http://schemas.microsoft.com/office/drawing/2014/main" id="{1D1CC27F-27CE-47C1-B13A-A4464FE85751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10488613" y="5308600"/>
            <a:ext cx="542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94B06B4-0363-4DF9-A225-2BE04D173B4F}" type="datetime'''D''''u''''''''''''''''''''''''''''''''''''m''''''''m''''y1'">
              <a:rPr lang="en-US" altLang="en-US" sz="10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ummy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84" name="Text Placeholder">
            <a:extLst>
              <a:ext uri="{FF2B5EF4-FFF2-40B4-BE49-F238E27FC236}">
                <a16:creationId xmlns:a16="http://schemas.microsoft.com/office/drawing/2014/main" id="{2588E0B8-FE7D-4C4B-B031-58A80DC37C4B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10501313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3D6DB37-5BE7-4E0D-867C-48B6D2A778E7}" type="datetime'Colu''''''''''''''''''m''''''''''''n1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1" name="Text Placeholder">
            <a:extLst>
              <a:ext uri="{FF2B5EF4-FFF2-40B4-BE49-F238E27FC236}">
                <a16:creationId xmlns:a16="http://schemas.microsoft.com/office/drawing/2014/main" id="{F7054E0A-85A0-407D-B6EA-53DB3F20844F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11231563" y="5780088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A4B0F9-68EB-4B4E-B88E-F643081B77AC}" type="datetime'''C''''o''''''''''''''''''''''''''l''''''umn''''''''''''''2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lum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2" name="Text Placeholder">
            <a:extLst>
              <a:ext uri="{FF2B5EF4-FFF2-40B4-BE49-F238E27FC236}">
                <a16:creationId xmlns:a16="http://schemas.microsoft.com/office/drawing/2014/main" id="{F26E6231-2E14-4831-BBA5-1A966392DF3F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10637838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85645A-3E5C-4DF3-B10F-333754EFA764}" type="datetime'1''''''0''''''''''0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3" name="Text Placeholder">
            <a:extLst>
              <a:ext uri="{FF2B5EF4-FFF2-40B4-BE49-F238E27FC236}">
                <a16:creationId xmlns:a16="http://schemas.microsoft.com/office/drawing/2014/main" id="{7F8B0541-CDF3-4070-9269-5A90C39EC19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11368088" y="20367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A5D7704-226E-4209-A0D1-1F7CD6E4D300}" type="datetime'''''''''''''''''1''''''''''''''''''''''''''0''''0'''''''''''''">
              <a:rPr lang="en-US" altLang="en-US" sz="10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13" name="btfpStatusSticker411935">
            <a:extLst>
              <a:ext uri="{FF2B5EF4-FFF2-40B4-BE49-F238E27FC236}">
                <a16:creationId xmlns:a16="http://schemas.microsoft.com/office/drawing/2014/main" id="{C96014B3-F639-4D40-FC96-7A6C145F0957}"/>
              </a:ext>
            </a:extLst>
          </p:cNvPr>
          <p:cNvGrpSpPr/>
          <p:nvPr>
            <p:custDataLst>
              <p:tags r:id="rId92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14" name="btfpStatusStickerText411935">
              <a:extLst>
                <a:ext uri="{FF2B5EF4-FFF2-40B4-BE49-F238E27FC236}">
                  <a16:creationId xmlns:a16="http://schemas.microsoft.com/office/drawing/2014/main" id="{D5592AB8-2D98-7465-A561-96C262957931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15" name="btfpStatusStickerLine411935">
              <a:extLst>
                <a:ext uri="{FF2B5EF4-FFF2-40B4-BE49-F238E27FC236}">
                  <a16:creationId xmlns:a16="http://schemas.microsoft.com/office/drawing/2014/main" id="{FF73A5D0-4484-026A-95B0-9762BCA0BEE1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33942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2A04D607-D325-D066-D6FB-503AC058DC1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918612">
              <a:extLst>
                <a:ext uri="{FF2B5EF4-FFF2-40B4-BE49-F238E27FC236}">
                  <a16:creationId xmlns:a16="http://schemas.microsoft.com/office/drawing/2014/main" id="{BCEA99BE-7EA5-4D78-0899-F2E0FAA6A42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530516">
              <a:extLst>
                <a:ext uri="{FF2B5EF4-FFF2-40B4-BE49-F238E27FC236}">
                  <a16:creationId xmlns:a16="http://schemas.microsoft.com/office/drawing/2014/main" id="{09F250BA-8ADD-987D-DDE8-4122F03BFD2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87758">
              <a:extLst>
                <a:ext uri="{FF2B5EF4-FFF2-40B4-BE49-F238E27FC236}">
                  <a16:creationId xmlns:a16="http://schemas.microsoft.com/office/drawing/2014/main" id="{4AE89616-DBDF-7F7B-628E-EE0ECAE8C90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779484">
              <a:extLst>
                <a:ext uri="{FF2B5EF4-FFF2-40B4-BE49-F238E27FC236}">
                  <a16:creationId xmlns:a16="http://schemas.microsoft.com/office/drawing/2014/main" id="{9978129E-902F-1B0F-FFB8-A70AC802DCD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D84D1C1C-85E3-E6D9-7248-E63EB6B7B18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723912">
              <a:extLst>
                <a:ext uri="{FF2B5EF4-FFF2-40B4-BE49-F238E27FC236}">
                  <a16:creationId xmlns:a16="http://schemas.microsoft.com/office/drawing/2014/main" id="{FB9A1011-E2E3-53D3-51AA-7798E12999F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40073">
              <a:extLst>
                <a:ext uri="{FF2B5EF4-FFF2-40B4-BE49-F238E27FC236}">
                  <a16:creationId xmlns:a16="http://schemas.microsoft.com/office/drawing/2014/main" id="{5215F07A-93FE-98C8-CA71-861BA93BE1A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776728">
              <a:extLst>
                <a:ext uri="{FF2B5EF4-FFF2-40B4-BE49-F238E27FC236}">
                  <a16:creationId xmlns:a16="http://schemas.microsoft.com/office/drawing/2014/main" id="{9FA12FBA-80A4-95D7-A921-2E61ED456C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32838">
              <a:extLst>
                <a:ext uri="{FF2B5EF4-FFF2-40B4-BE49-F238E27FC236}">
                  <a16:creationId xmlns:a16="http://schemas.microsoft.com/office/drawing/2014/main" id="{5118E0DF-ACBB-754C-FF84-DCF09177EC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6870BEB-196D-4811-880B-49536EEBDD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84" imgH="384" progId="TCLayout.ActiveDocument.1">
                  <p:embed/>
                </p:oleObj>
              </mc:Choice>
              <mc:Fallback>
                <p:oleObj name="think-cell Slide" r:id="rId47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870BEB-196D-4811-880B-49536EEBD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06DD16-D685-42B6-B219-2E283AB5B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ustomer advocacy (NPS)</a:t>
            </a:r>
          </a:p>
        </p:txBody>
      </p:sp>
      <p:sp>
        <p:nvSpPr>
          <p:cNvPr id="29" name="btfpNotesBox350040">
            <a:extLst>
              <a:ext uri="{FF2B5EF4-FFF2-40B4-BE49-F238E27FC236}">
                <a16:creationId xmlns:a16="http://schemas.microsoft.com/office/drawing/2014/main" id="{9A437081-7020-4C29-B035-0A33B142C67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87AA2E2-CD29-44A8-8C01-8C3DEE9B1081}"/>
              </a:ext>
            </a:extLst>
          </p:cNvPr>
          <p:cNvSpPr>
            <a:spLocks/>
          </p:cNvSpPr>
          <p:nvPr/>
        </p:nvSpPr>
        <p:spPr bwMode="gray">
          <a:xfrm>
            <a:off x="340699" y="1268412"/>
            <a:ext cx="11510599" cy="5417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you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recommend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provider&gt; to a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ague?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btfpRunningAgenda2Level403778">
            <a:extLst>
              <a:ext uri="{FF2B5EF4-FFF2-40B4-BE49-F238E27FC236}">
                <a16:creationId xmlns:a16="http://schemas.microsoft.com/office/drawing/2014/main" id="{F782DEAD-3D63-4631-B37D-C5CE8B1614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3259157" cy="257442"/>
            <a:chOff x="-1" y="876300"/>
            <a:chExt cx="3259157" cy="257442"/>
          </a:xfrm>
        </p:grpSpPr>
        <p:sp>
          <p:nvSpPr>
            <p:cNvPr id="38" name="btfpRunningAgenda2LevelBarLeft403778">
              <a:extLst>
                <a:ext uri="{FF2B5EF4-FFF2-40B4-BE49-F238E27FC236}">
                  <a16:creationId xmlns:a16="http://schemas.microsoft.com/office/drawing/2014/main" id="{2BAB5784-566B-4C17-AC55-0B3CDD2BB9CA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2462432"/>
                <a:gd name="connsiteY0" fmla="*/ 0 h 257442"/>
                <a:gd name="connsiteX1" fmla="*/ 2462432 w 2462432"/>
                <a:gd name="connsiteY1" fmla="*/ 0 h 257442"/>
                <a:gd name="connsiteX2" fmla="*/ 2407711 w 2462432"/>
                <a:gd name="connsiteY2" fmla="*/ 257442 h 257442"/>
                <a:gd name="connsiteX3" fmla="*/ 0 w 2462432"/>
                <a:gd name="connsiteY3" fmla="*/ 257442 h 257442"/>
                <a:gd name="connsiteX0" fmla="*/ 950801 w 2407711"/>
                <a:gd name="connsiteY0" fmla="*/ 0 h 257442"/>
                <a:gd name="connsiteX1" fmla="*/ 896080 w 2407711"/>
                <a:gd name="connsiteY1" fmla="*/ 257442 h 257442"/>
                <a:gd name="connsiteX2" fmla="*/ 2407711 w 2407711"/>
                <a:gd name="connsiteY2" fmla="*/ 257442 h 257442"/>
                <a:gd name="connsiteX3" fmla="*/ 0 w 240771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950802 w 1216682"/>
                <a:gd name="connsiteY0" fmla="*/ 0 h 257442"/>
                <a:gd name="connsiteX1" fmla="*/ 1216682 w 1216682"/>
                <a:gd name="connsiteY1" fmla="*/ 257442 h 257442"/>
                <a:gd name="connsiteX2" fmla="*/ 1 w 1216682"/>
                <a:gd name="connsiteY2" fmla="*/ 257442 h 257442"/>
                <a:gd name="connsiteX3" fmla="*/ 0 w 121668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423688 w 1423688"/>
                <a:gd name="connsiteY0" fmla="*/ 0 h 257442"/>
                <a:gd name="connsiteX1" fmla="*/ 1216681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904587 w 1904587"/>
                <a:gd name="connsiteY0" fmla="*/ 0 h 257442"/>
                <a:gd name="connsiteX1" fmla="*/ 169758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05577 w 2005577"/>
                <a:gd name="connsiteY0" fmla="*/ 0 h 257442"/>
                <a:gd name="connsiteX1" fmla="*/ 184986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274883 w 2274883"/>
                <a:gd name="connsiteY0" fmla="*/ 0 h 257442"/>
                <a:gd name="connsiteX1" fmla="*/ 2119171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0 w 2274882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1 w 2274883"/>
                <a:gd name="connsiteY2" fmla="*/ 257442 h 257442"/>
                <a:gd name="connsiteX3" fmla="*/ 0 w 2274883"/>
                <a:gd name="connsiteY3" fmla="*/ 0 h 257442"/>
                <a:gd name="connsiteX0" fmla="*/ 2435183 w 2435183"/>
                <a:gd name="connsiteY0" fmla="*/ 0 h 257442"/>
                <a:gd name="connsiteX1" fmla="*/ 22201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0 w 2771812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949746 w 2949746"/>
                <a:gd name="connsiteY0" fmla="*/ 0 h 257442"/>
                <a:gd name="connsiteX1" fmla="*/ 2717092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432955 w 3432955"/>
                <a:gd name="connsiteY0" fmla="*/ 0 h 257442"/>
                <a:gd name="connsiteX1" fmla="*/ 3223640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968434 w 3378234"/>
                <a:gd name="connsiteY0" fmla="*/ 0 h 257442"/>
                <a:gd name="connsiteX1" fmla="*/ 3378234 w 3378234"/>
                <a:gd name="connsiteY1" fmla="*/ 257442 h 257442"/>
                <a:gd name="connsiteX2" fmla="*/ 0 w 3378234"/>
                <a:gd name="connsiteY2" fmla="*/ 257442 h 257442"/>
                <a:gd name="connsiteX3" fmla="*/ 0 w 33782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398038 w 1398038"/>
                <a:gd name="connsiteY0" fmla="*/ 0 h 257442"/>
                <a:gd name="connsiteX1" fmla="*/ 1242329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66354 w 1566354"/>
                <a:gd name="connsiteY0" fmla="*/ 0 h 257442"/>
                <a:gd name="connsiteX1" fmla="*/ 1343317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734669 w 1734669"/>
                <a:gd name="connsiteY0" fmla="*/ 0 h 257442"/>
                <a:gd name="connsiteX1" fmla="*/ 1511633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886955 w 1886955"/>
                <a:gd name="connsiteY0" fmla="*/ 0 h 257442"/>
                <a:gd name="connsiteX1" fmla="*/ 1679948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3488354 w 3488354"/>
                <a:gd name="connsiteY0" fmla="*/ 0 h 257442"/>
                <a:gd name="connsiteX1" fmla="*/ 1832234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4 w 3488354"/>
                <a:gd name="connsiteY0" fmla="*/ 0 h 257442"/>
                <a:gd name="connsiteX1" fmla="*/ 3433632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782551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1 w 3433633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883476 w 883476"/>
                <a:gd name="connsiteY0" fmla="*/ 0 h 257442"/>
                <a:gd name="connsiteX1" fmla="*/ 727830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0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883475 w 883475"/>
                <a:gd name="connsiteY0" fmla="*/ 0 h 257442"/>
                <a:gd name="connsiteX1" fmla="*/ 727829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984464 w 984464"/>
                <a:gd name="connsiteY0" fmla="*/ 0 h 257442"/>
                <a:gd name="connsiteX1" fmla="*/ 828754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4 w 984464"/>
                <a:gd name="connsiteY0" fmla="*/ 0 h 257442"/>
                <a:gd name="connsiteX1" fmla="*/ 929742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1085454 w 1085454"/>
                <a:gd name="connsiteY0" fmla="*/ 0 h 257442"/>
                <a:gd name="connsiteX1" fmla="*/ 929743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0 w 1085454"/>
                <a:gd name="connsiteY3" fmla="*/ 0 h 257442"/>
                <a:gd name="connsiteX0" fmla="*/ 1186442 w 1186442"/>
                <a:gd name="connsiteY0" fmla="*/ 0 h 257442"/>
                <a:gd name="connsiteX1" fmla="*/ 1030732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287432 w 1287432"/>
                <a:gd name="connsiteY0" fmla="*/ 0 h 257442"/>
                <a:gd name="connsiteX1" fmla="*/ 113172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489410 w 1489410"/>
                <a:gd name="connsiteY0" fmla="*/ 0 h 257442"/>
                <a:gd name="connsiteX1" fmla="*/ 133369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691389 w 1691389"/>
                <a:gd name="connsiteY0" fmla="*/ 0 h 257442"/>
                <a:gd name="connsiteX1" fmla="*/ 1434689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792377 w 1792377"/>
                <a:gd name="connsiteY0" fmla="*/ 0 h 257442"/>
                <a:gd name="connsiteX1" fmla="*/ 1636668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893367 w 1893367"/>
                <a:gd name="connsiteY0" fmla="*/ 0 h 257442"/>
                <a:gd name="connsiteX1" fmla="*/ 173765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994356 w 1994356"/>
                <a:gd name="connsiteY0" fmla="*/ 0 h 257442"/>
                <a:gd name="connsiteX1" fmla="*/ 1838646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6 w 1994356"/>
                <a:gd name="connsiteY0" fmla="*/ 0 h 257442"/>
                <a:gd name="connsiteX1" fmla="*/ 1939634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893368 w 1939635"/>
                <a:gd name="connsiteY0" fmla="*/ 0 h 257442"/>
                <a:gd name="connsiteX1" fmla="*/ 1939635 w 1939635"/>
                <a:gd name="connsiteY1" fmla="*/ 257442 h 257442"/>
                <a:gd name="connsiteX2" fmla="*/ 0 w 1939635"/>
                <a:gd name="connsiteY2" fmla="*/ 257442 h 257442"/>
                <a:gd name="connsiteX3" fmla="*/ 1 w 1939635"/>
                <a:gd name="connsiteY3" fmla="*/ 0 h 257442"/>
                <a:gd name="connsiteX0" fmla="*/ 1893368 w 1893368"/>
                <a:gd name="connsiteY0" fmla="*/ 0 h 257442"/>
                <a:gd name="connsiteX1" fmla="*/ 1838647 w 1893368"/>
                <a:gd name="connsiteY1" fmla="*/ 257442 h 257442"/>
                <a:gd name="connsiteX2" fmla="*/ 0 w 1893368"/>
                <a:gd name="connsiteY2" fmla="*/ 257442 h 257442"/>
                <a:gd name="connsiteX3" fmla="*/ 1 w 1893368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792377 w 1838646"/>
                <a:gd name="connsiteY0" fmla="*/ 0 h 257442"/>
                <a:gd name="connsiteX1" fmla="*/ 1838646 w 1838646"/>
                <a:gd name="connsiteY1" fmla="*/ 257442 h 257442"/>
                <a:gd name="connsiteX2" fmla="*/ 0 w 1838646"/>
                <a:gd name="connsiteY2" fmla="*/ 257442 h 257442"/>
                <a:gd name="connsiteX3" fmla="*/ 0 w 1838646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1 w 1792377"/>
                <a:gd name="connsiteY2" fmla="*/ 257442 h 257442"/>
                <a:gd name="connsiteX3" fmla="*/ 0 w 1792377"/>
                <a:gd name="connsiteY3" fmla="*/ 0 h 257442"/>
                <a:gd name="connsiteX0" fmla="*/ 1792376 w 1792376"/>
                <a:gd name="connsiteY0" fmla="*/ 0 h 257442"/>
                <a:gd name="connsiteX1" fmla="*/ 1737655 w 1792376"/>
                <a:gd name="connsiteY1" fmla="*/ 257442 h 257442"/>
                <a:gd name="connsiteX2" fmla="*/ 0 w 1792376"/>
                <a:gd name="connsiteY2" fmla="*/ 257442 h 257442"/>
                <a:gd name="connsiteX3" fmla="*/ 0 w 1792376"/>
                <a:gd name="connsiteY3" fmla="*/ 0 h 257442"/>
                <a:gd name="connsiteX0" fmla="*/ 1691388 w 1737655"/>
                <a:gd name="connsiteY0" fmla="*/ 0 h 257442"/>
                <a:gd name="connsiteX1" fmla="*/ 1737655 w 1737655"/>
                <a:gd name="connsiteY1" fmla="*/ 257442 h 257442"/>
                <a:gd name="connsiteX2" fmla="*/ 0 w 1737655"/>
                <a:gd name="connsiteY2" fmla="*/ 257442 h 257442"/>
                <a:gd name="connsiteX3" fmla="*/ 0 w 1737655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590399 w 1636668"/>
                <a:gd name="connsiteY0" fmla="*/ 0 h 257442"/>
                <a:gd name="connsiteX1" fmla="*/ 1636668 w 1636668"/>
                <a:gd name="connsiteY1" fmla="*/ 257442 h 257442"/>
                <a:gd name="connsiteX2" fmla="*/ 0 w 1636668"/>
                <a:gd name="connsiteY2" fmla="*/ 257442 h 257442"/>
                <a:gd name="connsiteX3" fmla="*/ 0 w 1636668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0 w 1590399"/>
                <a:gd name="connsiteY2" fmla="*/ 257442 h 257442"/>
                <a:gd name="connsiteX3" fmla="*/ 0 w 1590399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1 w 1590399"/>
                <a:gd name="connsiteY2" fmla="*/ 257442 h 257442"/>
                <a:gd name="connsiteX3" fmla="*/ 0 w 1590399"/>
                <a:gd name="connsiteY3" fmla="*/ 0 h 257442"/>
                <a:gd name="connsiteX0" fmla="*/ 1590398 w 1590398"/>
                <a:gd name="connsiteY0" fmla="*/ 0 h 257442"/>
                <a:gd name="connsiteX1" fmla="*/ 1535677 w 1590398"/>
                <a:gd name="connsiteY1" fmla="*/ 257442 h 257442"/>
                <a:gd name="connsiteX2" fmla="*/ 0 w 1590398"/>
                <a:gd name="connsiteY2" fmla="*/ 257442 h 257442"/>
                <a:gd name="connsiteX3" fmla="*/ 0 w 1590398"/>
                <a:gd name="connsiteY3" fmla="*/ 0 h 257442"/>
                <a:gd name="connsiteX0" fmla="*/ 1489409 w 1535677"/>
                <a:gd name="connsiteY0" fmla="*/ 0 h 257442"/>
                <a:gd name="connsiteX1" fmla="*/ 1535677 w 1535677"/>
                <a:gd name="connsiteY1" fmla="*/ 257442 h 257442"/>
                <a:gd name="connsiteX2" fmla="*/ 0 w 1535677"/>
                <a:gd name="connsiteY2" fmla="*/ 257442 h 257442"/>
                <a:gd name="connsiteX3" fmla="*/ 0 w 1535677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388420 w 1434689"/>
                <a:gd name="connsiteY0" fmla="*/ 0 h 257442"/>
                <a:gd name="connsiteX1" fmla="*/ 1434689 w 1434689"/>
                <a:gd name="connsiteY1" fmla="*/ 257442 h 257442"/>
                <a:gd name="connsiteX2" fmla="*/ 0 w 1434689"/>
                <a:gd name="connsiteY2" fmla="*/ 257442 h 257442"/>
                <a:gd name="connsiteX3" fmla="*/ 0 w 1434689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287432 w 1333699"/>
                <a:gd name="connsiteY0" fmla="*/ 0 h 257442"/>
                <a:gd name="connsiteX1" fmla="*/ 1333699 w 1333699"/>
                <a:gd name="connsiteY1" fmla="*/ 257442 h 257442"/>
                <a:gd name="connsiteX2" fmla="*/ 0 w 1333699"/>
                <a:gd name="connsiteY2" fmla="*/ 257442 h 257442"/>
                <a:gd name="connsiteX3" fmla="*/ 0 w 1333699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1 w 1287432"/>
                <a:gd name="connsiteY2" fmla="*/ 257442 h 257442"/>
                <a:gd name="connsiteX3" fmla="*/ 0 w 1287432"/>
                <a:gd name="connsiteY3" fmla="*/ 0 h 257442"/>
                <a:gd name="connsiteX0" fmla="*/ 1287431 w 1287431"/>
                <a:gd name="connsiteY0" fmla="*/ 0 h 257442"/>
                <a:gd name="connsiteX1" fmla="*/ 1232711 w 1287431"/>
                <a:gd name="connsiteY1" fmla="*/ 257442 h 257442"/>
                <a:gd name="connsiteX2" fmla="*/ 0 w 1287431"/>
                <a:gd name="connsiteY2" fmla="*/ 257442 h 257442"/>
                <a:gd name="connsiteX3" fmla="*/ 0 w 1287431"/>
                <a:gd name="connsiteY3" fmla="*/ 0 h 257442"/>
                <a:gd name="connsiteX0" fmla="*/ 1186442 w 1232711"/>
                <a:gd name="connsiteY0" fmla="*/ 0 h 257442"/>
                <a:gd name="connsiteX1" fmla="*/ 1232711 w 1232711"/>
                <a:gd name="connsiteY1" fmla="*/ 257442 h 257442"/>
                <a:gd name="connsiteX2" fmla="*/ 0 w 1232711"/>
                <a:gd name="connsiteY2" fmla="*/ 257442 h 257442"/>
                <a:gd name="connsiteX3" fmla="*/ 0 w 1232711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085453 w 1131721"/>
                <a:gd name="connsiteY0" fmla="*/ 0 h 257442"/>
                <a:gd name="connsiteX1" fmla="*/ 1131721 w 1131721"/>
                <a:gd name="connsiteY1" fmla="*/ 257442 h 257442"/>
                <a:gd name="connsiteX2" fmla="*/ 0 w 1131721"/>
                <a:gd name="connsiteY2" fmla="*/ 257442 h 257442"/>
                <a:gd name="connsiteX3" fmla="*/ 0 w 1131721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0 w 1085453"/>
                <a:gd name="connsiteY2" fmla="*/ 257442 h 257442"/>
                <a:gd name="connsiteX3" fmla="*/ 0 w 1085453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1 w 1085453"/>
                <a:gd name="connsiteY2" fmla="*/ 257442 h 257442"/>
                <a:gd name="connsiteX3" fmla="*/ 0 w 1085453"/>
                <a:gd name="connsiteY3" fmla="*/ 0 h 257442"/>
                <a:gd name="connsiteX0" fmla="*/ 1085452 w 1085452"/>
                <a:gd name="connsiteY0" fmla="*/ 0 h 257442"/>
                <a:gd name="connsiteX1" fmla="*/ 1030732 w 1085452"/>
                <a:gd name="connsiteY1" fmla="*/ 257442 h 257442"/>
                <a:gd name="connsiteX2" fmla="*/ 0 w 1085452"/>
                <a:gd name="connsiteY2" fmla="*/ 257442 h 257442"/>
                <a:gd name="connsiteX3" fmla="*/ 0 w 1085452"/>
                <a:gd name="connsiteY3" fmla="*/ 0 h 257442"/>
                <a:gd name="connsiteX0" fmla="*/ 984463 w 1030732"/>
                <a:gd name="connsiteY0" fmla="*/ 0 h 257442"/>
                <a:gd name="connsiteX1" fmla="*/ 1030732 w 1030732"/>
                <a:gd name="connsiteY1" fmla="*/ 257442 h 257442"/>
                <a:gd name="connsiteX2" fmla="*/ 0 w 1030732"/>
                <a:gd name="connsiteY2" fmla="*/ 257442 h 257442"/>
                <a:gd name="connsiteX3" fmla="*/ 0 w 1030732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883475 w 929742"/>
                <a:gd name="connsiteY0" fmla="*/ 0 h 257442"/>
                <a:gd name="connsiteX1" fmla="*/ 929742 w 929742"/>
                <a:gd name="connsiteY1" fmla="*/ 257442 h 257442"/>
                <a:gd name="connsiteX2" fmla="*/ 0 w 929742"/>
                <a:gd name="connsiteY2" fmla="*/ 257442 h 257442"/>
                <a:gd name="connsiteX3" fmla="*/ 0 w 929742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0 h 257442"/>
                <a:gd name="connsiteX0" fmla="*/ 883474 w 883474"/>
                <a:gd name="connsiteY0" fmla="*/ 0 h 257442"/>
                <a:gd name="connsiteX1" fmla="*/ 828753 w 883474"/>
                <a:gd name="connsiteY1" fmla="*/ 257442 h 257442"/>
                <a:gd name="connsiteX2" fmla="*/ 0 w 883474"/>
                <a:gd name="connsiteY2" fmla="*/ 257442 h 257442"/>
                <a:gd name="connsiteX3" fmla="*/ 0 w 883474"/>
                <a:gd name="connsiteY3" fmla="*/ 0 h 257442"/>
                <a:gd name="connsiteX0" fmla="*/ 1043774 w 1043774"/>
                <a:gd name="connsiteY0" fmla="*/ 0 h 257442"/>
                <a:gd name="connsiteX1" fmla="*/ 8287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4 w 1043774"/>
                <a:gd name="connsiteY0" fmla="*/ 0 h 257442"/>
                <a:gd name="connsiteX1" fmla="*/ 9890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950802 w 989054"/>
                <a:gd name="connsiteY0" fmla="*/ 0 h 257442"/>
                <a:gd name="connsiteX1" fmla="*/ 989054 w 989054"/>
                <a:gd name="connsiteY1" fmla="*/ 257442 h 257442"/>
                <a:gd name="connsiteX2" fmla="*/ 0 w 989054"/>
                <a:gd name="connsiteY2" fmla="*/ 257442 h 257442"/>
                <a:gd name="connsiteX3" fmla="*/ 1 w 98905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7 w 1279417"/>
                <a:gd name="connsiteY0" fmla="*/ 0 h 257442"/>
                <a:gd name="connsiteX1" fmla="*/ 10643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457351 w 1457351"/>
                <a:gd name="connsiteY0" fmla="*/ 0 h 257442"/>
                <a:gd name="connsiteX1" fmla="*/ 1224696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793982 w 1793982"/>
                <a:gd name="connsiteY0" fmla="*/ 0 h 257442"/>
                <a:gd name="connsiteX1" fmla="*/ 1570944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0 w 1793982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TextLeft403778">
              <a:extLst>
                <a:ext uri="{FF2B5EF4-FFF2-40B4-BE49-F238E27FC236}">
                  <a16:creationId xmlns:a16="http://schemas.microsoft.com/office/drawing/2014/main" id="{6731D8F7-E1E3-44D3-BAD9-34B29E4C60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btfpRunningAgenda2LevelBarRight403778">
              <a:extLst>
                <a:ext uri="{FF2B5EF4-FFF2-40B4-BE49-F238E27FC236}">
                  <a16:creationId xmlns:a16="http://schemas.microsoft.com/office/drawing/2014/main" id="{4477CE6F-3D04-4420-8EAE-D59299C4A572}"/>
                </a:ext>
              </a:extLst>
            </p:cNvPr>
            <p:cNvSpPr/>
            <p:nvPr/>
          </p:nvSpPr>
          <p:spPr bwMode="gray">
            <a:xfrm>
              <a:off x="1987754" y="876300"/>
              <a:ext cx="127140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92001 w 1592001"/>
                <a:gd name="connsiteY0" fmla="*/ 0 h 257442"/>
                <a:gd name="connsiteX1" fmla="*/ 1216681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1 w 1592001"/>
                <a:gd name="connsiteY0" fmla="*/ 0 h 257442"/>
                <a:gd name="connsiteX1" fmla="*/ 1537280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2005577 w 2005577"/>
                <a:gd name="connsiteY0" fmla="*/ 0 h 257442"/>
                <a:gd name="connsiteX1" fmla="*/ 1697582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435183 w 2435183"/>
                <a:gd name="connsiteY0" fmla="*/ 0 h 257442"/>
                <a:gd name="connsiteX1" fmla="*/ 2119171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2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0 w 2771812"/>
                <a:gd name="connsiteY3" fmla="*/ 0 h 257442"/>
                <a:gd name="connsiteX0" fmla="*/ 2949744 w 2949744"/>
                <a:gd name="connsiteY0" fmla="*/ 0 h 257442"/>
                <a:gd name="connsiteX1" fmla="*/ 2717091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4 w 2949744"/>
                <a:gd name="connsiteY0" fmla="*/ 0 h 257442"/>
                <a:gd name="connsiteX1" fmla="*/ 2895023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1 w 2949745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2 w 2949745"/>
                <a:gd name="connsiteY3" fmla="*/ 0 h 257442"/>
                <a:gd name="connsiteX0" fmla="*/ 3110047 w 3110047"/>
                <a:gd name="connsiteY0" fmla="*/ 0 h 257442"/>
                <a:gd name="connsiteX1" fmla="*/ 2895024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7 w 3110047"/>
                <a:gd name="connsiteY0" fmla="*/ 0 h 257442"/>
                <a:gd name="connsiteX1" fmla="*/ 3055326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0 w 3110046"/>
                <a:gd name="connsiteY3" fmla="*/ 0 h 257442"/>
                <a:gd name="connsiteX0" fmla="*/ 3278360 w 3278360"/>
                <a:gd name="connsiteY0" fmla="*/ 0 h 257442"/>
                <a:gd name="connsiteX1" fmla="*/ 3055325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0 w 3278360"/>
                <a:gd name="connsiteY0" fmla="*/ 0 h 257442"/>
                <a:gd name="connsiteX1" fmla="*/ 3223639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2 w 3278361"/>
                <a:gd name="connsiteY3" fmla="*/ 0 h 257442"/>
                <a:gd name="connsiteX0" fmla="*/ 246083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2 w 3223640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1 w 2460829"/>
                <a:gd name="connsiteY3" fmla="*/ 0 h 257442"/>
                <a:gd name="connsiteX0" fmla="*/ 2621130 w 2621130"/>
                <a:gd name="connsiteY0" fmla="*/ 0 h 257442"/>
                <a:gd name="connsiteX1" fmla="*/ 24061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0 w 2621130"/>
                <a:gd name="connsiteY0" fmla="*/ 0 h 257442"/>
                <a:gd name="connsiteX1" fmla="*/ 25664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789446 w 2789446"/>
                <a:gd name="connsiteY0" fmla="*/ 0 h 257442"/>
                <a:gd name="connsiteX1" fmla="*/ 2566409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1 w 2789446"/>
                <a:gd name="connsiteY3" fmla="*/ 0 h 257442"/>
                <a:gd name="connsiteX0" fmla="*/ 3058750 w 3058750"/>
                <a:gd name="connsiteY0" fmla="*/ 0 h 257442"/>
                <a:gd name="connsiteX1" fmla="*/ 2734724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328054 w 3328054"/>
                <a:gd name="connsiteY0" fmla="*/ 0 h 257442"/>
                <a:gd name="connsiteX1" fmla="*/ 3004029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2435182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54721 w 3433633"/>
                <a:gd name="connsiteY3" fmla="*/ 0 h 257442"/>
                <a:gd name="connsiteX0" fmla="*/ 2435182 w 2435182"/>
                <a:gd name="connsiteY0" fmla="*/ 0 h 257442"/>
                <a:gd name="connsiteX1" fmla="*/ 2380462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1 w 2435181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71812 w 2771812"/>
                <a:gd name="connsiteY0" fmla="*/ 0 h 257442"/>
                <a:gd name="connsiteX1" fmla="*/ 2548776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0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949746 w 2949746"/>
                <a:gd name="connsiteY0" fmla="*/ 0 h 257442"/>
                <a:gd name="connsiteX1" fmla="*/ 2717091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1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95080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1 w 322364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02" h="257442">
                  <a:moveTo>
                    <a:pt x="1271402" y="0"/>
                  </a:moveTo>
                  <a:lnTo>
                    <a:pt x="121668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RunningAgenda2LevelTextRight403778">
              <a:extLst>
                <a:ext uri="{FF2B5EF4-FFF2-40B4-BE49-F238E27FC236}">
                  <a16:creationId xmlns:a16="http://schemas.microsoft.com/office/drawing/2014/main" id="{78EAA811-5ECD-4881-8EAE-B68CFB33DB59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12166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2F29CFF9-8BDA-45FA-94D3-58428FB58BB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52450" y="2366963"/>
          <a:ext cx="10085388" cy="334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6" name="Text Placeholder">
            <a:extLst>
              <a:ext uri="{FF2B5EF4-FFF2-40B4-BE49-F238E27FC236}">
                <a16:creationId xmlns:a16="http://schemas.microsoft.com/office/drawing/2014/main" id="{2DA553B8-13EB-4666-AB08-88FFDC0FB93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79425" y="55546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0BB3A63-D7C8-49C7-9085-72F676637E22}" type="datetime'''''''''''''''''''0''''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4A6BCD81-1219-4360-92D9-7D323AD351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09575" y="49180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070C5AE-80B1-48E7-BF5F-AB1189A96F14}" type="datetime'''2''''''''''''''''''''''0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4363469A-71D4-4B44-8D29-718633CD788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09575" y="42814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FD88067-55FD-44A8-AB76-CA16D1FD5322}" type="datetime'''''''''''''''''''''''''''''''4''''0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703EF95E-0529-4761-8327-E929E54B064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09575" y="36464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36B75BF-9474-474B-8D99-D0F8CC7AABF4}" type="datetime'''''''''''6''''0''''''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07EFB9E-912C-4A6D-BBD4-E9113B46DC5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09575" y="3009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FD7F28B-3304-4B13-9D61-0F123A51168C}" type="datetime'''''''''''''''''''8''''''''''''''''''''''0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CAF7908E-ADB8-4A1C-8926-9DFC6B757FF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39725" y="23733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B0B1EA8-B98B-44A6-B8E7-A65EBB58D6C5}" type="datetime'''''''''''''1''''''''''''''''''''''''0''''''0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2" name="Text Placeholder">
            <a:extLst>
              <a:ext uri="{FF2B5EF4-FFF2-40B4-BE49-F238E27FC236}">
                <a16:creationId xmlns:a16="http://schemas.microsoft.com/office/drawing/2014/main" id="{13C5AF4B-43FD-4648-9FCF-3BA33C987A3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39725" y="1966913"/>
            <a:ext cx="9810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rgbClr val="000000"/>
                </a:solidFill>
              </a:rPr>
              <a:t>% of respondents</a:t>
            </a:r>
          </a:p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70FE6CBC-8D71-4576-A8A2-DE4F50487EF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054100" y="5673725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E8AEADF-8718-4201-9604-9F31563151EC}" type="datetime'''''''''T''a''''''''''rg''''''''''''e''''''t'''''''''''''''">
              <a:rPr lang="en-US" altLang="en-US" sz="1000" b="1" smtClean="0">
                <a:solidFill>
                  <a:srgbClr val="000000"/>
                </a:solidFill>
              </a:rPr>
              <a:pPr/>
              <a:t>Target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3F4DC627-6CCD-4E1C-A1D3-C0B851374DA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108200" y="5673725"/>
            <a:ext cx="771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905E093-5E90-435A-9A2D-D04D59373759}" type="datetime'C''''''''''o''mp''''e''''''''ti''tor'' ''1'' '''''''">
              <a:rPr lang="en-US" altLang="en-US" sz="1000" smtClean="0">
                <a:solidFill>
                  <a:srgbClr val="000000"/>
                </a:solidFill>
              </a:rPr>
              <a:pPr/>
              <a:t>Competitor 1 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F8D49C09-1B3C-44DF-BDBA-9B59B66FE2E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365500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A8D7FAE-61C8-42D1-AFAA-8E12CDD96F73}" type="datetime'''C''''''''o''m''''p''e''''''''''''titor'''''' ''''''2'">
              <a:rPr lang="en-US" altLang="en-US" sz="1000" smtClean="0">
                <a:solidFill>
                  <a:srgbClr val="000000"/>
                </a:solidFill>
              </a:rPr>
              <a:pPr/>
              <a:t>Competitor 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EB1E0046-ED51-4D8B-903D-C86808B0FC1C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606925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409480-4B41-41EE-BEE3-33BC483E5E56}" type="datetime'''''''C''o''''''''''''''''mp''e''t''i''''''''''''to''r 3'''">
              <a:rPr lang="en-US" altLang="en-US" sz="1000" smtClean="0">
                <a:solidFill>
                  <a:srgbClr val="000000"/>
                </a:solidFill>
              </a:rPr>
              <a:pPr/>
              <a:t>Competitor 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9820C523-EF06-43EC-B740-DE9D58522D6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846763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E3B6AC-F3DC-4FD2-A240-860F101FF978}" type="datetime'''C''''''o''mp''et''it''''''o''''r ''''''4'''''">
              <a:rPr lang="en-US" altLang="en-US" sz="1000" smtClean="0">
                <a:solidFill>
                  <a:srgbClr val="000000"/>
                </a:solidFill>
              </a:rPr>
              <a:pPr/>
              <a:t>Competitor 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C36FD2D7-344B-4BA7-A7DA-C445E79F0278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086600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C9DD82-F626-4B2B-8863-CFCD4A7BB475}" type="datetime'Com''''''''''''p''et''it''''o''''''r'' ''5'''''''''''''''">
              <a:rPr lang="en-US" altLang="en-US" sz="1000" smtClean="0">
                <a:solidFill>
                  <a:srgbClr val="000000"/>
                </a:solidFill>
              </a:rPr>
              <a:pPr/>
              <a:t>Competitor 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CC5A74E-BD67-46BE-A88B-4941E57E19B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326438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857F5D-32BD-4913-B3D2-776943DD37B7}" type="datetime'''C''om''''''p''et''i''''''t''o''''r'''''''''' ''''''6'''''">
              <a:rPr lang="en-US" altLang="en-US" sz="1000" smtClean="0">
                <a:solidFill>
                  <a:srgbClr val="000000"/>
                </a:solidFill>
              </a:rPr>
              <a:pPr/>
              <a:t>Competitor 6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293F8551-95F3-4FE6-9CD6-F89BA268605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9566275" y="5673725"/>
            <a:ext cx="736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A45EEFC-F3A3-4345-9DFB-51A0F810A626}" type="datetime'''C''om''''p''e''t''''''''''i''''''''tor'''' ''''''''''7'">
              <a:rPr lang="en-US" altLang="en-US" sz="1000" smtClean="0">
                <a:solidFill>
                  <a:srgbClr val="000000"/>
                </a:solidFill>
              </a:rPr>
              <a:pPr/>
              <a:t>Competitor 7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D15CF7ED-A561-4082-9399-CBB2ACB9F44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201738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C490467-B7F7-4C5E-9356-7DBDB50B50DB}" type="datetime'''''''''''''''''''''''''''''''''''''9''''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05CB09C0-321E-4467-AA52-1286657139E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2441575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DD483B-1A6E-475F-BBE4-C2F602E6B767}" type="datetime'''''''''''''''''''''''''''''''''''''9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F395B547-A4D6-4748-BCF3-C4CA5A33917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681413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1A885A2-8630-454C-9CD5-9417CB0B466A}" type="datetime'''''9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Text Placeholder">
            <a:extLst>
              <a:ext uri="{FF2B5EF4-FFF2-40B4-BE49-F238E27FC236}">
                <a16:creationId xmlns:a16="http://schemas.microsoft.com/office/drawing/2014/main" id="{55411FDC-A70A-4487-A90C-C0057040DA0B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922838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A8DD570-0CCB-47AF-B3C8-CE5A886B7087}" type="datetime'''''''''''''''''''''''''''''''9''''''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 Placeholder">
            <a:extLst>
              <a:ext uri="{FF2B5EF4-FFF2-40B4-BE49-F238E27FC236}">
                <a16:creationId xmlns:a16="http://schemas.microsoft.com/office/drawing/2014/main" id="{C5C614F6-8156-453D-B991-87930E0A5F1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162675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FC3E61-2327-45B4-8B32-023EDBA99018}" type="datetime'''''''''''''''''''''''''''9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" name="Text Placeholder">
            <a:extLst>
              <a:ext uri="{FF2B5EF4-FFF2-40B4-BE49-F238E27FC236}">
                <a16:creationId xmlns:a16="http://schemas.microsoft.com/office/drawing/2014/main" id="{32A0ADBB-67D5-4C0A-BB12-B860EC38C6E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7402513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F4279F0-E980-4D50-B041-C176F2F3AD7D}" type="datetime'''''''''''''9''''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E227218A-6B21-4A25-8CAA-6E96A8E89AD4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8642350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B7CF12-DA0B-4CD9-A21B-29487235B869}" type="datetime'''''''''''''''''''''''''''''''''''''''''''9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0" name="Text Placeholder">
            <a:extLst>
              <a:ext uri="{FF2B5EF4-FFF2-40B4-BE49-F238E27FC236}">
                <a16:creationId xmlns:a16="http://schemas.microsoft.com/office/drawing/2014/main" id="{F2FB6C33-D749-44A2-B491-6944C625CC1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9882188" y="227171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504A63-77DC-4058-BC01-611C921B65DF}" type="datetime'''''''''''''''''''''''''''''''''''''9'''''''''''''''''''''''''">
              <a:rPr lang="en-US" alt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FE292F7-429E-4761-8C22-BB1E5E51FC1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610850" y="5076825"/>
            <a:ext cx="179388" cy="133350"/>
          </a:xfrm>
          <a:prstGeom prst="rect">
            <a:avLst/>
          </a:prstGeom>
          <a:solidFill>
            <a:srgbClr val="E9CD49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0D1D693-084F-4275-8811-6AB3B3A1747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610850" y="5280025"/>
            <a:ext cx="179388" cy="133350"/>
          </a:xfrm>
          <a:prstGeom prst="rect">
            <a:avLst/>
          </a:prstGeom>
          <a:solidFill>
            <a:srgbClr val="B4B4B4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7E62831-2E34-42EC-8DF2-149978879820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610850" y="5483225"/>
            <a:ext cx="179388" cy="133350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 Placeholder">
            <a:extLst>
              <a:ext uri="{FF2B5EF4-FFF2-40B4-BE49-F238E27FC236}">
                <a16:creationId xmlns:a16="http://schemas.microsoft.com/office/drawing/2014/main" id="{75832C07-D37F-41F1-8082-CE66907BEC1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841038" y="5072063"/>
            <a:ext cx="584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C61ECB0-F6B0-4812-9D9E-AFCC84997478}" type="datetime'''P''''''''''ro''''''''m''ot''''''er''s'''''''''''''''''''''">
              <a:rPr lang="en-US" altLang="en-US" sz="1000" smtClean="0">
                <a:solidFill>
                  <a:srgbClr val="000000"/>
                </a:solidFill>
              </a:rPr>
              <a:pPr/>
              <a:t>Promoter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16CD8874-E0F1-473A-A578-39FE2D4368E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0841038" y="5275263"/>
            <a:ext cx="506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83D40E0-9867-4994-9875-F592CD0780BD}" type="datetime'P''a''ss''''''''''iv''''''''''''''''''e''''''s'''''''''''">
              <a:rPr lang="en-US" altLang="en-US" sz="1000" smtClean="0">
                <a:solidFill>
                  <a:srgbClr val="000000"/>
                </a:solidFill>
              </a:rPr>
              <a:pPr/>
              <a:t>Passive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3A133BB8-720D-43E2-84D8-AAC0886D3EEC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0841038" y="5478463"/>
            <a:ext cx="584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8A1DC26-66C4-477F-A15A-91495AD5F61A}" type="datetime'''''''''De''''''''tr''a''''''ct''o''''''r''''s'''''''''''''''">
              <a:rPr lang="en-US" altLang="en-US" sz="1000" smtClean="0">
                <a:solidFill>
                  <a:srgbClr val="000000"/>
                </a:solidFill>
              </a:rPr>
              <a:pPr/>
              <a:t>Detractor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C6FA77-8924-4333-AB81-39E49BB88054}"/>
              </a:ext>
            </a:extLst>
          </p:cNvPr>
          <p:cNvSpPr/>
          <p:nvPr/>
        </p:nvSpPr>
        <p:spPr bwMode="gray">
          <a:xfrm>
            <a:off x="755737" y="2191744"/>
            <a:ext cx="968073" cy="4009088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btfpStatusSticker411935">
            <a:extLst>
              <a:ext uri="{FF2B5EF4-FFF2-40B4-BE49-F238E27FC236}">
                <a16:creationId xmlns:a16="http://schemas.microsoft.com/office/drawing/2014/main" id="{6074BF1B-43A8-80A1-D12C-CB70BA447D9E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32" name="btfpStatusStickerText411935">
              <a:extLst>
                <a:ext uri="{FF2B5EF4-FFF2-40B4-BE49-F238E27FC236}">
                  <a16:creationId xmlns:a16="http://schemas.microsoft.com/office/drawing/2014/main" id="{00330616-5410-7A31-EC4F-DDB911BC5BCD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33" name="btfpStatusStickerLine411935">
              <a:extLst>
                <a:ext uri="{FF2B5EF4-FFF2-40B4-BE49-F238E27FC236}">
                  <a16:creationId xmlns:a16="http://schemas.microsoft.com/office/drawing/2014/main" id="{A1F352A6-AD5D-47DC-E5BA-ACE300EA8F3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ext Placeholder">
            <a:extLst>
              <a:ext uri="{FF2B5EF4-FFF2-40B4-BE49-F238E27FC236}">
                <a16:creationId xmlns:a16="http://schemas.microsoft.com/office/drawing/2014/main" id="{B92202DE-5B30-4D80-9562-AAA1CFC9280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30200" y="5927725"/>
            <a:ext cx="469900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5080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F298EDA-CDAB-4714-B78A-1388D039B397}" type="datetime'''''''''''''''N''''''''P''''''''''''''''''S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NP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6" name="Text Placeholder">
            <a:extLst>
              <a:ext uri="{FF2B5EF4-FFF2-40B4-BE49-F238E27FC236}">
                <a16:creationId xmlns:a16="http://schemas.microsoft.com/office/drawing/2014/main" id="{DBDDD0E4-1B95-42DA-A581-298A0A31AB16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800100" y="5927725"/>
            <a:ext cx="935038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1E1D99A-E388-4F50-B645-3FC99825B113}" type="datetime'0''''''''''''''''''''''''%'''''''''''''''''''''''''''''''''">
              <a:rPr lang="en-US" altLang="en-US" sz="1000" b="1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97" name="Text Placeholder">
            <a:extLst>
              <a:ext uri="{FF2B5EF4-FFF2-40B4-BE49-F238E27FC236}">
                <a16:creationId xmlns:a16="http://schemas.microsoft.com/office/drawing/2014/main" id="{58FF6805-4977-4C6B-9062-CC5AB79AC74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735138" y="5927725"/>
            <a:ext cx="1420813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9AEEB9-0E73-44B5-BD35-F1BFCF60BFFD}" type="datetime'''''''''''''''''''0''''''''''''''%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86440446-1C89-4215-8D62-E0E6E2219AB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155950" y="5927725"/>
            <a:ext cx="1241425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1588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A52793C-0201-482A-B028-E8923FE334F6}" type="datetime'''''0''''%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6BE6318C-2830-4352-B3A7-74091BD53843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397375" y="5927725"/>
            <a:ext cx="1239838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F45F23-C6F8-448A-B1F3-DFA763B36D57}" type="datetime'''0''''''''''''''''''''''''''%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0" name="Text Placeholder">
            <a:extLst>
              <a:ext uri="{FF2B5EF4-FFF2-40B4-BE49-F238E27FC236}">
                <a16:creationId xmlns:a16="http://schemas.microsoft.com/office/drawing/2014/main" id="{53C81020-586C-4185-8B5C-F84A32BB2D15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5637213" y="5927725"/>
            <a:ext cx="1274763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5BAA68-231B-44EA-98B0-4AFFECF7C163}" type="datetime'''''''''''''''0''''''''''''''''''''''''%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E6162969-0662-4727-AAD2-FA25D723981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6911975" y="5927725"/>
            <a:ext cx="1182688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3CA33CC-5EAB-4FBA-AC96-A563DC6BC509}" type="datetime'''''''''''''''''''''''0''''''''''''''''''''''''''''''%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1285883D-68EB-470A-BCFC-A56C7AF88CC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094663" y="5927725"/>
            <a:ext cx="1222375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C490F9-C8E8-4A7C-AA5F-0358ED306E59}" type="datetime'''''''''''''''''''''''''''''''0''''''''''''%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CD30158B-3C3B-4769-8E5C-0B680BB1225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9317037" y="5927725"/>
            <a:ext cx="1238250" cy="22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8100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E0B2CB-7648-4CC1-8792-98FB443D3F29}" type="datetime'''''''''''''''''''''''0''''''''''''''''''''''''%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36202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F31D521C-5054-D1CE-D1BF-E5FB419B86B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2" name="btfpColumnGapBlocker133117">
              <a:extLst>
                <a:ext uri="{FF2B5EF4-FFF2-40B4-BE49-F238E27FC236}">
                  <a16:creationId xmlns:a16="http://schemas.microsoft.com/office/drawing/2014/main" id="{C82BD92D-2F0D-2FB4-0132-F9565017865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btfpColumnGapBlocker923035">
              <a:extLst>
                <a:ext uri="{FF2B5EF4-FFF2-40B4-BE49-F238E27FC236}">
                  <a16:creationId xmlns:a16="http://schemas.microsoft.com/office/drawing/2014/main" id="{485E9868-CCAD-E53E-1870-83E2BBF29574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306543">
              <a:extLst>
                <a:ext uri="{FF2B5EF4-FFF2-40B4-BE49-F238E27FC236}">
                  <a16:creationId xmlns:a16="http://schemas.microsoft.com/office/drawing/2014/main" id="{6FC02D15-ECDF-7482-B0C4-0247EBC6623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407948">
              <a:extLst>
                <a:ext uri="{FF2B5EF4-FFF2-40B4-BE49-F238E27FC236}">
                  <a16:creationId xmlns:a16="http://schemas.microsoft.com/office/drawing/2014/main" id="{32D5B82D-9E1A-666C-5527-63AA471DD273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ColumnGapBlocker524486">
              <a:extLst>
                <a:ext uri="{FF2B5EF4-FFF2-40B4-BE49-F238E27FC236}">
                  <a16:creationId xmlns:a16="http://schemas.microsoft.com/office/drawing/2014/main" id="{3399DE6B-9E28-1DF7-FA18-7474AEA59A5B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220719">
              <a:extLst>
                <a:ext uri="{FF2B5EF4-FFF2-40B4-BE49-F238E27FC236}">
                  <a16:creationId xmlns:a16="http://schemas.microsoft.com/office/drawing/2014/main" id="{CAEB674C-64A3-B164-1144-01CA4CFC1EFD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303187">
              <a:extLst>
                <a:ext uri="{FF2B5EF4-FFF2-40B4-BE49-F238E27FC236}">
                  <a16:creationId xmlns:a16="http://schemas.microsoft.com/office/drawing/2014/main" id="{156F9D67-FF93-6280-356E-372004016776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559355">
              <a:extLst>
                <a:ext uri="{FF2B5EF4-FFF2-40B4-BE49-F238E27FC236}">
                  <a16:creationId xmlns:a16="http://schemas.microsoft.com/office/drawing/2014/main" id="{7C211771-C7BC-7DA5-2FA1-C3D3A95F55C6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74143">
              <a:extLst>
                <a:ext uri="{FF2B5EF4-FFF2-40B4-BE49-F238E27FC236}">
                  <a16:creationId xmlns:a16="http://schemas.microsoft.com/office/drawing/2014/main" id="{559FE531-7ED9-7C68-C3BE-0EB56365D78D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616941">
              <a:extLst>
                <a:ext uri="{FF2B5EF4-FFF2-40B4-BE49-F238E27FC236}">
                  <a16:creationId xmlns:a16="http://schemas.microsoft.com/office/drawing/2014/main" id="{D51152A6-C599-01C9-81A6-574F9AC6B1CC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852211">
              <a:extLst>
                <a:ext uri="{FF2B5EF4-FFF2-40B4-BE49-F238E27FC236}">
                  <a16:creationId xmlns:a16="http://schemas.microsoft.com/office/drawing/2014/main" id="{6E4170EB-ED7A-3211-6E13-B670E98AA5B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924677">
              <a:extLst>
                <a:ext uri="{FF2B5EF4-FFF2-40B4-BE49-F238E27FC236}">
                  <a16:creationId xmlns:a16="http://schemas.microsoft.com/office/drawing/2014/main" id="{6DD7A3EB-20C4-68F4-CE7E-9A914992D321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567317">
              <a:extLst>
                <a:ext uri="{FF2B5EF4-FFF2-40B4-BE49-F238E27FC236}">
                  <a16:creationId xmlns:a16="http://schemas.microsoft.com/office/drawing/2014/main" id="{10BF3BD0-00B8-2638-4746-4EE57BDD5EB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57F3FC8C-B023-B45F-ECCE-C4BDC1D5C51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796214">
              <a:extLst>
                <a:ext uri="{FF2B5EF4-FFF2-40B4-BE49-F238E27FC236}">
                  <a16:creationId xmlns:a16="http://schemas.microsoft.com/office/drawing/2014/main" id="{F280941F-5E8A-E369-1FD1-7C1E16DA3B4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747037">
              <a:extLst>
                <a:ext uri="{FF2B5EF4-FFF2-40B4-BE49-F238E27FC236}">
                  <a16:creationId xmlns:a16="http://schemas.microsoft.com/office/drawing/2014/main" id="{1F3DCA58-1C18-983C-3D9B-22A4ABD5E8D1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959317">
              <a:extLst>
                <a:ext uri="{FF2B5EF4-FFF2-40B4-BE49-F238E27FC236}">
                  <a16:creationId xmlns:a16="http://schemas.microsoft.com/office/drawing/2014/main" id="{CC74D556-5A41-A2BB-0F60-CB3D439F52D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141032">
              <a:extLst>
                <a:ext uri="{FF2B5EF4-FFF2-40B4-BE49-F238E27FC236}">
                  <a16:creationId xmlns:a16="http://schemas.microsoft.com/office/drawing/2014/main" id="{4190CC80-DBB2-ADE5-0613-5EEA9F2FEFA8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541990">
              <a:extLst>
                <a:ext uri="{FF2B5EF4-FFF2-40B4-BE49-F238E27FC236}">
                  <a16:creationId xmlns:a16="http://schemas.microsoft.com/office/drawing/2014/main" id="{B9CBEA56-8B7E-FFB7-E38A-976D070D5F2B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621653">
              <a:extLst>
                <a:ext uri="{FF2B5EF4-FFF2-40B4-BE49-F238E27FC236}">
                  <a16:creationId xmlns:a16="http://schemas.microsoft.com/office/drawing/2014/main" id="{DBAE10EB-BFC9-FB52-6E8D-A43BDA4F4758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528774">
              <a:extLst>
                <a:ext uri="{FF2B5EF4-FFF2-40B4-BE49-F238E27FC236}">
                  <a16:creationId xmlns:a16="http://schemas.microsoft.com/office/drawing/2014/main" id="{3B2DDBC9-8D50-17EA-DF15-08D08F0219D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788767">
              <a:extLst>
                <a:ext uri="{FF2B5EF4-FFF2-40B4-BE49-F238E27FC236}">
                  <a16:creationId xmlns:a16="http://schemas.microsoft.com/office/drawing/2014/main" id="{4F19CC43-27BA-CF8E-8385-793A52A59081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771217">
              <a:extLst>
                <a:ext uri="{FF2B5EF4-FFF2-40B4-BE49-F238E27FC236}">
                  <a16:creationId xmlns:a16="http://schemas.microsoft.com/office/drawing/2014/main" id="{567335F5-E27A-182F-3835-EDE5056023B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280083">
              <a:extLst>
                <a:ext uri="{FF2B5EF4-FFF2-40B4-BE49-F238E27FC236}">
                  <a16:creationId xmlns:a16="http://schemas.microsoft.com/office/drawing/2014/main" id="{8CA32E2F-AD4E-D84C-0E01-FDEEC7E42EB8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btfpColumnGapBlocker283272">
              <a:extLst>
                <a:ext uri="{FF2B5EF4-FFF2-40B4-BE49-F238E27FC236}">
                  <a16:creationId xmlns:a16="http://schemas.microsoft.com/office/drawing/2014/main" id="{F610E77A-0A64-C85B-7059-58E31A2F0AC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143158">
              <a:extLst>
                <a:ext uri="{FF2B5EF4-FFF2-40B4-BE49-F238E27FC236}">
                  <a16:creationId xmlns:a16="http://schemas.microsoft.com/office/drawing/2014/main" id="{851A23AB-B6AA-430D-1900-1277ACB473C8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408474">
              <a:extLst>
                <a:ext uri="{FF2B5EF4-FFF2-40B4-BE49-F238E27FC236}">
                  <a16:creationId xmlns:a16="http://schemas.microsoft.com/office/drawing/2014/main" id="{A21693C1-DDBC-FF1C-C16C-3D33FB0F581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7F56B1-6428-4812-AB7E-BE9044B64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84" imgH="384" progId="TCLayout.ActiveDocument.1">
                  <p:embed/>
                </p:oleObj>
              </mc:Choice>
              <mc:Fallback>
                <p:oleObj name="think-cell Slide" r:id="rId8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7F56B1-6428-4812-AB7E-BE9044B64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633B12-3CD4-41B3-8D42-7C174A57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sage </a:t>
            </a:r>
          </a:p>
        </p:txBody>
      </p:sp>
      <p:grpSp>
        <p:nvGrpSpPr>
          <p:cNvPr id="40" name="btfpRunningAgenda2Level128532">
            <a:extLst>
              <a:ext uri="{FF2B5EF4-FFF2-40B4-BE49-F238E27FC236}">
                <a16:creationId xmlns:a16="http://schemas.microsoft.com/office/drawing/2014/main" id="{B4C6E124-66D6-48A4-9423-1275C4EB516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3706392" cy="257442"/>
            <a:chOff x="0" y="876300"/>
            <a:chExt cx="3706392" cy="257442"/>
          </a:xfrm>
        </p:grpSpPr>
        <p:sp>
          <p:nvSpPr>
            <p:cNvPr id="37" name="btfpRunningAgenda2LevelBarLeft128532">
              <a:extLst>
                <a:ext uri="{FF2B5EF4-FFF2-40B4-BE49-F238E27FC236}">
                  <a16:creationId xmlns:a16="http://schemas.microsoft.com/office/drawing/2014/main" id="{2A8590CB-4A95-4801-8826-DB1D4AEADA41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44526 w 1444526"/>
                <a:gd name="connsiteY0" fmla="*/ 0 h 257442"/>
                <a:gd name="connsiteX1" fmla="*/ 1242329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612841 w 1612841"/>
                <a:gd name="connsiteY0" fmla="*/ 0 h 257442"/>
                <a:gd name="connsiteX1" fmla="*/ 1389805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444526 w 1558120"/>
                <a:gd name="connsiteY0" fmla="*/ 0 h 257442"/>
                <a:gd name="connsiteX1" fmla="*/ 1558120 w 1558120"/>
                <a:gd name="connsiteY1" fmla="*/ 257442 h 257442"/>
                <a:gd name="connsiteX2" fmla="*/ 0 w 1558120"/>
                <a:gd name="connsiteY2" fmla="*/ 257442 h 257442"/>
                <a:gd name="connsiteX3" fmla="*/ 0 w 1558120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297050 w 1389805"/>
                <a:gd name="connsiteY0" fmla="*/ 0 h 257442"/>
                <a:gd name="connsiteX1" fmla="*/ 1389805 w 1389805"/>
                <a:gd name="connsiteY1" fmla="*/ 257442 h 257442"/>
                <a:gd name="connsiteX2" fmla="*/ 0 w 1389805"/>
                <a:gd name="connsiteY2" fmla="*/ 257442 h 257442"/>
                <a:gd name="connsiteX3" fmla="*/ 0 w 1389805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1 w 1297050"/>
                <a:gd name="connsiteY2" fmla="*/ 257442 h 257442"/>
                <a:gd name="connsiteX3" fmla="*/ 0 w 1297050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0 w 1297049"/>
                <a:gd name="connsiteY3" fmla="*/ 0 h 257442"/>
                <a:gd name="connsiteX0" fmla="*/ 1406054 w 1406054"/>
                <a:gd name="connsiteY0" fmla="*/ 0 h 257442"/>
                <a:gd name="connsiteX1" fmla="*/ 1242329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4 w 1406054"/>
                <a:gd name="connsiteY0" fmla="*/ 0 h 257442"/>
                <a:gd name="connsiteX1" fmla="*/ 1351332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553531 w 1553531"/>
                <a:gd name="connsiteY0" fmla="*/ 0 h 257442"/>
                <a:gd name="connsiteX1" fmla="*/ 1351333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0 w 1553530"/>
                <a:gd name="connsiteY0" fmla="*/ 0 h 257442"/>
                <a:gd name="connsiteX1" fmla="*/ 1498809 w 1553530"/>
                <a:gd name="connsiteY1" fmla="*/ 257442 h 257442"/>
                <a:gd name="connsiteX2" fmla="*/ 0 w 1553530"/>
                <a:gd name="connsiteY2" fmla="*/ 257442 h 257442"/>
                <a:gd name="connsiteX3" fmla="*/ 0 w 1553530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1 w 1553531"/>
                <a:gd name="connsiteY2" fmla="*/ 257442 h 257442"/>
                <a:gd name="connsiteX3" fmla="*/ 0 w 1553531"/>
                <a:gd name="connsiteY3" fmla="*/ 0 h 257442"/>
                <a:gd name="connsiteX0" fmla="*/ 1406055 w 1498810"/>
                <a:gd name="connsiteY0" fmla="*/ 0 h 257442"/>
                <a:gd name="connsiteX1" fmla="*/ 1498810 w 1498810"/>
                <a:gd name="connsiteY1" fmla="*/ 257442 h 257442"/>
                <a:gd name="connsiteX2" fmla="*/ 1 w 1498810"/>
                <a:gd name="connsiteY2" fmla="*/ 257442 h 257442"/>
                <a:gd name="connsiteX3" fmla="*/ 0 w 1498810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1 w 1406055"/>
                <a:gd name="connsiteY2" fmla="*/ 257442 h 257442"/>
                <a:gd name="connsiteX3" fmla="*/ 0 w 1406055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2 w 1406055"/>
                <a:gd name="connsiteY2" fmla="*/ 257442 h 257442"/>
                <a:gd name="connsiteX3" fmla="*/ 0 w 1406055"/>
                <a:gd name="connsiteY3" fmla="*/ 0 h 257442"/>
                <a:gd name="connsiteX0" fmla="*/ 1406053 w 1406053"/>
                <a:gd name="connsiteY0" fmla="*/ 0 h 257442"/>
                <a:gd name="connsiteX1" fmla="*/ 1351332 w 1406053"/>
                <a:gd name="connsiteY1" fmla="*/ 257442 h 257442"/>
                <a:gd name="connsiteX2" fmla="*/ 0 w 1406053"/>
                <a:gd name="connsiteY2" fmla="*/ 257442 h 257442"/>
                <a:gd name="connsiteX3" fmla="*/ 0 w 1406053"/>
                <a:gd name="connsiteY3" fmla="*/ 0 h 257442"/>
                <a:gd name="connsiteX0" fmla="*/ 1574369 w 1574369"/>
                <a:gd name="connsiteY0" fmla="*/ 0 h 257442"/>
                <a:gd name="connsiteX1" fmla="*/ 1351332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742685 w 1742685"/>
                <a:gd name="connsiteY0" fmla="*/ 0 h 257442"/>
                <a:gd name="connsiteX1" fmla="*/ 1519648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910999 w 1910999"/>
                <a:gd name="connsiteY0" fmla="*/ 0 h 257442"/>
                <a:gd name="connsiteX1" fmla="*/ 1687964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2011989 w 2011989"/>
                <a:gd name="connsiteY0" fmla="*/ 0 h 257442"/>
                <a:gd name="connsiteX1" fmla="*/ 185627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180304 w 2180304"/>
                <a:gd name="connsiteY0" fmla="*/ 0 h 257442"/>
                <a:gd name="connsiteX1" fmla="*/ 1957268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0 w 2340604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1 w 2340605"/>
                <a:gd name="connsiteY2" fmla="*/ 257442 h 257442"/>
                <a:gd name="connsiteX3" fmla="*/ 0 w 2340605"/>
                <a:gd name="connsiteY3" fmla="*/ 0 h 257442"/>
                <a:gd name="connsiteX0" fmla="*/ 2500905 w 2500905"/>
                <a:gd name="connsiteY0" fmla="*/ 0 h 257442"/>
                <a:gd name="connsiteX1" fmla="*/ 22858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4 w 2500904"/>
                <a:gd name="connsiteY0" fmla="*/ 0 h 257442"/>
                <a:gd name="connsiteX1" fmla="*/ 2446183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669219 w 2669219"/>
                <a:gd name="connsiteY0" fmla="*/ 0 h 257442"/>
                <a:gd name="connsiteX1" fmla="*/ 2446183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19 w 2669219"/>
                <a:gd name="connsiteY0" fmla="*/ 0 h 257442"/>
                <a:gd name="connsiteX1" fmla="*/ 2614498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0 w 2669220"/>
                <a:gd name="connsiteY3" fmla="*/ 0 h 257442"/>
                <a:gd name="connsiteX0" fmla="*/ 2500904 w 2614499"/>
                <a:gd name="connsiteY0" fmla="*/ 0 h 257442"/>
                <a:gd name="connsiteX1" fmla="*/ 2614499 w 2614499"/>
                <a:gd name="connsiteY1" fmla="*/ 257442 h 257442"/>
                <a:gd name="connsiteX2" fmla="*/ 0 w 2614499"/>
                <a:gd name="connsiteY2" fmla="*/ 257442 h 257442"/>
                <a:gd name="connsiteX3" fmla="*/ 0 w 2614499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1 w 2500904"/>
                <a:gd name="connsiteY2" fmla="*/ 257442 h 257442"/>
                <a:gd name="connsiteX3" fmla="*/ 0 w 2500904"/>
                <a:gd name="connsiteY3" fmla="*/ 0 h 257442"/>
                <a:gd name="connsiteX0" fmla="*/ 2500903 w 2500903"/>
                <a:gd name="connsiteY0" fmla="*/ 0 h 257442"/>
                <a:gd name="connsiteX1" fmla="*/ 2446183 w 2500903"/>
                <a:gd name="connsiteY1" fmla="*/ 257442 h 257442"/>
                <a:gd name="connsiteX2" fmla="*/ 0 w 2500903"/>
                <a:gd name="connsiteY2" fmla="*/ 257442 h 257442"/>
                <a:gd name="connsiteX3" fmla="*/ 0 w 2500903"/>
                <a:gd name="connsiteY3" fmla="*/ 0 h 257442"/>
                <a:gd name="connsiteX0" fmla="*/ 2332590 w 2446183"/>
                <a:gd name="connsiteY0" fmla="*/ 0 h 257442"/>
                <a:gd name="connsiteX1" fmla="*/ 2446183 w 2446183"/>
                <a:gd name="connsiteY1" fmla="*/ 257442 h 257442"/>
                <a:gd name="connsiteX2" fmla="*/ 0 w 2446183"/>
                <a:gd name="connsiteY2" fmla="*/ 257442 h 257442"/>
                <a:gd name="connsiteX3" fmla="*/ 0 w 2446183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164274 w 2277869"/>
                <a:gd name="connsiteY0" fmla="*/ 0 h 257442"/>
                <a:gd name="connsiteX1" fmla="*/ 2277869 w 2277869"/>
                <a:gd name="connsiteY1" fmla="*/ 257442 h 257442"/>
                <a:gd name="connsiteX2" fmla="*/ 0 w 2277869"/>
                <a:gd name="connsiteY2" fmla="*/ 257442 h 257442"/>
                <a:gd name="connsiteX3" fmla="*/ 0 w 2277869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0 w 2164274"/>
                <a:gd name="connsiteY2" fmla="*/ 257442 h 257442"/>
                <a:gd name="connsiteX3" fmla="*/ 0 w 2164274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1 w 2164274"/>
                <a:gd name="connsiteY2" fmla="*/ 257442 h 257442"/>
                <a:gd name="connsiteX3" fmla="*/ 0 w 2164274"/>
                <a:gd name="connsiteY3" fmla="*/ 0 h 257442"/>
                <a:gd name="connsiteX0" fmla="*/ 2164273 w 2164273"/>
                <a:gd name="connsiteY0" fmla="*/ 0 h 257442"/>
                <a:gd name="connsiteX1" fmla="*/ 2109553 w 2164273"/>
                <a:gd name="connsiteY1" fmla="*/ 257442 h 257442"/>
                <a:gd name="connsiteX2" fmla="*/ 0 w 2164273"/>
                <a:gd name="connsiteY2" fmla="*/ 257442 h 257442"/>
                <a:gd name="connsiteX3" fmla="*/ 0 w 2164273"/>
                <a:gd name="connsiteY3" fmla="*/ 0 h 257442"/>
                <a:gd name="connsiteX0" fmla="*/ 2324574 w 2324574"/>
                <a:gd name="connsiteY0" fmla="*/ 0 h 257442"/>
                <a:gd name="connsiteX1" fmla="*/ 2109553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4 w 2324574"/>
                <a:gd name="connsiteY0" fmla="*/ 0 h 257442"/>
                <a:gd name="connsiteX1" fmla="*/ 2269852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950802 w 2269853"/>
                <a:gd name="connsiteY0" fmla="*/ 0 h 257442"/>
                <a:gd name="connsiteX1" fmla="*/ 2269853 w 2269853"/>
                <a:gd name="connsiteY1" fmla="*/ 257442 h 257442"/>
                <a:gd name="connsiteX2" fmla="*/ 0 w 2269853"/>
                <a:gd name="connsiteY2" fmla="*/ 257442 h 257442"/>
                <a:gd name="connsiteX3" fmla="*/ 1 w 2269853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btfpRunningAgenda2LevelTextLeft128532">
              <a:extLst>
                <a:ext uri="{FF2B5EF4-FFF2-40B4-BE49-F238E27FC236}">
                  <a16:creationId xmlns:a16="http://schemas.microsoft.com/office/drawing/2014/main" id="{6B5BC11D-79CC-4DE8-9EFF-8628005F53D6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BarRight128532">
              <a:extLst>
                <a:ext uri="{FF2B5EF4-FFF2-40B4-BE49-F238E27FC236}">
                  <a16:creationId xmlns:a16="http://schemas.microsoft.com/office/drawing/2014/main" id="{8A45DB5B-C81C-44E7-BA02-40081F6003FB}"/>
                </a:ext>
              </a:extLst>
            </p:cNvPr>
            <p:cNvSpPr/>
            <p:nvPr/>
          </p:nvSpPr>
          <p:spPr bwMode="gray">
            <a:xfrm>
              <a:off x="1482807" y="876300"/>
              <a:ext cx="2223585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1111100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54720 w 1224695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54721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79"/>
                <a:gd name="connsiteY0" fmla="*/ 0 h 257442"/>
                <a:gd name="connsiteX1" fmla="*/ 896079 w 896079"/>
                <a:gd name="connsiteY1" fmla="*/ 257442 h 257442"/>
                <a:gd name="connsiteX2" fmla="*/ 0 w 896079"/>
                <a:gd name="connsiteY2" fmla="*/ 257442 h 257442"/>
                <a:gd name="connsiteX3" fmla="*/ 54720 w 89607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39718 w 1439718"/>
                <a:gd name="connsiteY0" fmla="*/ 0 h 257442"/>
                <a:gd name="connsiteX1" fmla="*/ 1224695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1 w 1439718"/>
                <a:gd name="connsiteY3" fmla="*/ 0 h 257442"/>
                <a:gd name="connsiteX0" fmla="*/ 1617650 w 1617650"/>
                <a:gd name="connsiteY0" fmla="*/ 0 h 257442"/>
                <a:gd name="connsiteX1" fmla="*/ 1384996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2055270 w 2055270"/>
                <a:gd name="connsiteY0" fmla="*/ 0 h 257442"/>
                <a:gd name="connsiteX1" fmla="*/ 173124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1 w 2233204"/>
                <a:gd name="connsiteY3" fmla="*/ 0 h 257442"/>
                <a:gd name="connsiteX0" fmla="*/ 950801 w 2178482"/>
                <a:gd name="connsiteY0" fmla="*/ 0 h 257442"/>
                <a:gd name="connsiteX1" fmla="*/ 2178482 w 2178482"/>
                <a:gd name="connsiteY1" fmla="*/ 257442 h 257442"/>
                <a:gd name="connsiteX2" fmla="*/ 0 w 2178482"/>
                <a:gd name="connsiteY2" fmla="*/ 257442 h 257442"/>
                <a:gd name="connsiteX3" fmla="*/ 54721 w 21784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74369 w 1574369"/>
                <a:gd name="connsiteY0" fmla="*/ 0 h 257442"/>
                <a:gd name="connsiteX1" fmla="*/ 1242329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734669 w 1734669"/>
                <a:gd name="connsiteY0" fmla="*/ 0 h 257442"/>
                <a:gd name="connsiteX1" fmla="*/ 15196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894969 w 1894969"/>
                <a:gd name="connsiteY0" fmla="*/ 0 h 257442"/>
                <a:gd name="connsiteX1" fmla="*/ 16799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2063285 w 2063285"/>
                <a:gd name="connsiteY0" fmla="*/ 0 h 257442"/>
                <a:gd name="connsiteX1" fmla="*/ 1840248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223585 w 2223585"/>
                <a:gd name="connsiteY0" fmla="*/ 0 h 257442"/>
                <a:gd name="connsiteX1" fmla="*/ 20085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3585" h="257442">
                  <a:moveTo>
                    <a:pt x="2223585" y="0"/>
                  </a:moveTo>
                  <a:lnTo>
                    <a:pt x="216886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2LevelTextRight128532">
              <a:extLst>
                <a:ext uri="{FF2B5EF4-FFF2-40B4-BE49-F238E27FC236}">
                  <a16:creationId xmlns:a16="http://schemas.microsoft.com/office/drawing/2014/main" id="{A25A8DB2-1C4D-4DA8-B02F-FCF8E1A49071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1688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users</a:t>
              </a:r>
            </a:p>
          </p:txBody>
        </p:sp>
      </p:grpSp>
      <p:grpSp>
        <p:nvGrpSpPr>
          <p:cNvPr id="83" name="btfpColumnHeaderBox311408">
            <a:extLst>
              <a:ext uri="{FF2B5EF4-FFF2-40B4-BE49-F238E27FC236}">
                <a16:creationId xmlns:a16="http://schemas.microsoft.com/office/drawing/2014/main" id="{BC1015F0-440B-4D19-9032-A4337AEE44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384309" y="1282454"/>
            <a:ext cx="2477492" cy="291303"/>
            <a:chOff x="9987915" y="1297694"/>
            <a:chExt cx="1873885" cy="291303"/>
          </a:xfrm>
        </p:grpSpPr>
        <p:sp>
          <p:nvSpPr>
            <p:cNvPr id="81" name="btfpColumnHeaderBoxText311408">
              <a:extLst>
                <a:ext uri="{FF2B5EF4-FFF2-40B4-BE49-F238E27FC236}">
                  <a16:creationId xmlns:a16="http://schemas.microsoft.com/office/drawing/2014/main" id="{BF5D05C1-2DF5-421F-BD4D-85243A7DDEDC}"/>
                </a:ext>
              </a:extLst>
            </p:cNvPr>
            <p:cNvSpPr txBox="1"/>
            <p:nvPr/>
          </p:nvSpPr>
          <p:spPr bwMode="gray">
            <a:xfrm>
              <a:off x="9987915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ever adopt</a:t>
              </a:r>
            </a:p>
          </p:txBody>
        </p:sp>
        <p:cxnSp>
          <p:nvCxnSpPr>
            <p:cNvPr id="82" name="btfpColumnHeaderBoxLine311408">
              <a:extLst>
                <a:ext uri="{FF2B5EF4-FFF2-40B4-BE49-F238E27FC236}">
                  <a16:creationId xmlns:a16="http://schemas.microsoft.com/office/drawing/2014/main" id="{8B2E6CB0-26F9-44D9-BF6B-61ACC9B9D5E0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btfpColumnHeaderBox497268">
            <a:extLst>
              <a:ext uri="{FF2B5EF4-FFF2-40B4-BE49-F238E27FC236}">
                <a16:creationId xmlns:a16="http://schemas.microsoft.com/office/drawing/2014/main" id="{9049DBA9-5601-47CE-B505-500A42CBC80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48236" y="1282454"/>
            <a:ext cx="5495528" cy="291303"/>
            <a:chOff x="7573487" y="1297694"/>
            <a:chExt cx="1873885" cy="291303"/>
          </a:xfrm>
        </p:grpSpPr>
        <p:sp>
          <p:nvSpPr>
            <p:cNvPr id="84" name="btfpColumnHeaderBoxText497268">
              <a:extLst>
                <a:ext uri="{FF2B5EF4-FFF2-40B4-BE49-F238E27FC236}">
                  <a16:creationId xmlns:a16="http://schemas.microsoft.com/office/drawing/2014/main" id="{41E76E52-9E7A-400B-9177-3E6036DB88BC}"/>
                </a:ext>
              </a:extLst>
            </p:cNvPr>
            <p:cNvSpPr txBox="1"/>
            <p:nvPr/>
          </p:nvSpPr>
          <p:spPr bwMode="gray">
            <a:xfrm>
              <a:off x="7573487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use in the next 3 years</a:t>
              </a:r>
            </a:p>
          </p:txBody>
        </p:sp>
        <p:cxnSp>
          <p:nvCxnSpPr>
            <p:cNvPr id="85" name="btfpColumnHeaderBoxLine497268">
              <a:extLst>
                <a:ext uri="{FF2B5EF4-FFF2-40B4-BE49-F238E27FC236}">
                  <a16:creationId xmlns:a16="http://schemas.microsoft.com/office/drawing/2014/main" id="{EFF5A2B6-BB59-450D-92F4-64B17D096CF3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btfpColumnHeaderBox379382">
            <a:extLst>
              <a:ext uri="{FF2B5EF4-FFF2-40B4-BE49-F238E27FC236}">
                <a16:creationId xmlns:a16="http://schemas.microsoft.com/office/drawing/2014/main" id="{934BA53C-1087-4A2B-A747-1FCF834872D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1282454"/>
            <a:ext cx="2477492" cy="291303"/>
            <a:chOff x="330200" y="1297694"/>
            <a:chExt cx="1873885" cy="291303"/>
          </a:xfrm>
        </p:grpSpPr>
        <p:sp>
          <p:nvSpPr>
            <p:cNvPr id="93" name="btfpColumnHeaderBoxText379382">
              <a:extLst>
                <a:ext uri="{FF2B5EF4-FFF2-40B4-BE49-F238E27FC236}">
                  <a16:creationId xmlns:a16="http://schemas.microsoft.com/office/drawing/2014/main" id="{1E591EB1-0C53-48C1-8D7A-5203C10E9C2F}"/>
                </a:ext>
              </a:extLst>
            </p:cNvPr>
            <p:cNvSpPr txBox="1"/>
            <p:nvPr/>
          </p:nvSpPr>
          <p:spPr bwMode="gray">
            <a:xfrm>
              <a:off x="330200" y="1297694"/>
              <a:ext cx="1873885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 for not using</a:t>
              </a:r>
            </a:p>
          </p:txBody>
        </p:sp>
        <p:cxnSp>
          <p:nvCxnSpPr>
            <p:cNvPr id="94" name="btfpColumnHeaderBoxLine379382">
              <a:extLst>
                <a:ext uri="{FF2B5EF4-FFF2-40B4-BE49-F238E27FC236}">
                  <a16:creationId xmlns:a16="http://schemas.microsoft.com/office/drawing/2014/main" id="{4622C6E5-010A-4EA2-801D-A54379E5E03A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1B50C68-EF81-4309-B8E1-4A407A983594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30200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y does your company not currently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X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? Select up to 3 options.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3ACE52A-29A5-4290-8D6F-11B75D34231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348235" y="1650634"/>
            <a:ext cx="5495519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 is your company to begin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ing X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 in the next 3 years? Why likely? Why unlikely?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5E21F7C-C156-4DFD-98F7-5B17714F9EF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379546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 is your company to ever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opt X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? </a:t>
            </a:r>
          </a:p>
        </p:txBody>
      </p:sp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id="{03E17AA7-293D-48A4-9E42-994D34AA8043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55638" y="2506663"/>
          <a:ext cx="2230437" cy="3281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sp>
        <p:nvSpPr>
          <p:cNvPr id="89" name="Text Placeholder">
            <a:extLst>
              <a:ext uri="{FF2B5EF4-FFF2-40B4-BE49-F238E27FC236}">
                <a16:creationId xmlns:a16="http://schemas.microsoft.com/office/drawing/2014/main" id="{DE533E04-0E02-4674-BC96-F5D07D600B7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82613" y="56292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6823954-4640-40D1-A9AD-499376804529}" type="datetime'''''''''''''''''''0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DBCC72BB-1D02-4E5B-91D7-CA343B45C33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512763" y="50053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CB5FB0A-CD65-4326-B7BB-27646210C433}" type="datetime'''''2''''''''''''''''''''''''''''''''''''''0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57B662F9-47BA-40DD-AB83-642D146D0EB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12763" y="43830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4AC52C2-75D3-48B2-9BD4-2CEDF21A13E6}" type="datetime'''''4''''''''''0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2" name="Text Placeholder">
            <a:extLst>
              <a:ext uri="{FF2B5EF4-FFF2-40B4-BE49-F238E27FC236}">
                <a16:creationId xmlns:a16="http://schemas.microsoft.com/office/drawing/2014/main" id="{B849B51D-D9E5-4AE0-9699-DE67ADCDC2B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512763" y="37592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01582E0-7A9F-486C-A0A2-30ACC0ADAC05}" type="datetime'''''''6''''''''''''''0''''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6" name="Text Placeholder">
            <a:extLst>
              <a:ext uri="{FF2B5EF4-FFF2-40B4-BE49-F238E27FC236}">
                <a16:creationId xmlns:a16="http://schemas.microsoft.com/office/drawing/2014/main" id="{AC7FCE28-377E-4BB7-A1C1-41DF8F0A6C2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512763" y="3136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B5E82BE-CDC8-4A55-AB7A-5A837C0B9597}" type="datetime'''8''''''''''''''''''0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7" name="Text Placeholder">
            <a:extLst>
              <a:ext uri="{FF2B5EF4-FFF2-40B4-BE49-F238E27FC236}">
                <a16:creationId xmlns:a16="http://schemas.microsoft.com/office/drawing/2014/main" id="{2600C745-65E7-4B5A-A53E-A42E3B3A9E8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30200" y="25130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440B863-682F-428E-933C-093A35773BF7}" type="datetime'''''''''''''''''''1''''''''''''''0''''''''''''0'''''''''''">
              <a:rPr lang="en-US" altLang="en-US" sz="1000" smtClean="0">
                <a:solidFill>
                  <a:srgbClr val="000000"/>
                </a:solidFill>
              </a:rPr>
              <a:pPr/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CA398049-1831-4644-B896-C4FBA21C70ED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30200" y="2259013"/>
            <a:ext cx="981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rgbClr val="000000"/>
                </a:solidFill>
              </a:rPr>
              <a:t>% of respondents</a:t>
            </a:r>
          </a:p>
        </p:txBody>
      </p:sp>
      <p:sp>
        <p:nvSpPr>
          <p:cNvPr id="111" name="Text Placeholder">
            <a:extLst>
              <a:ext uri="{FF2B5EF4-FFF2-40B4-BE49-F238E27FC236}">
                <a16:creationId xmlns:a16="http://schemas.microsoft.com/office/drawing/2014/main" id="{799BB76D-194C-4341-BBA9-6C53FAAB300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500188" y="26860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FC70A6-8BA4-47DC-B434-E73458367615}" type="datetime'R''''''''e''''''''''''as''''''o''''''''''n9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CE736CEF-B237-4461-AC50-67536F3A746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500188" y="3032125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1B5098A-4A84-4D34-90A0-3A1B91BB7572}" type="datetime'''''R''''''e''''''''''''as''o''n''''''''''''''8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8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D524E100-9804-4E17-9A8E-D8D9FCEACDD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500188" y="337820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58D2923-6A6D-4DD3-B895-3022391E2A0A}" type="datetime'''''''R''''e''a''''s''''o''''''''''''n7''''''''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7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14" name="Text Placeholder">
            <a:extLst>
              <a:ext uri="{FF2B5EF4-FFF2-40B4-BE49-F238E27FC236}">
                <a16:creationId xmlns:a16="http://schemas.microsoft.com/office/drawing/2014/main" id="{ED13F78C-49D5-4841-A03E-47D58A6DAEE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500188" y="3724275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B57EC9-1A4E-4721-B0CC-B508D4379699}" type="datetime'''''''''''''''''Re''''''a''''''s''''''o''''''''n6''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6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1F52037B-34D9-4510-965A-AFE3C8ECBF5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500188" y="40703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0E7A86F-CEBD-4273-A13E-529771EEB3EC}" type="datetime'''''''''R''''''''''e''''''''''''a''''''''''''''s''''''on''5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5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14370B95-C37E-438C-B319-872A57B9F872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500188" y="441801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69C72E-76B6-41C9-914A-79B0CA3693AA}" type="datetime'''''R''''e''a''s''o''''''''''''''''n''''''''''''''4'''''''">
              <a:rPr lang="en-US" altLang="en-US" sz="1000" smtClean="0">
                <a:solidFill>
                  <a:srgbClr val="000000"/>
                </a:solidFill>
              </a:rPr>
              <a:pPr/>
              <a:t>Reason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6" name="Text Placeholder">
            <a:extLst>
              <a:ext uri="{FF2B5EF4-FFF2-40B4-BE49-F238E27FC236}">
                <a16:creationId xmlns:a16="http://schemas.microsoft.com/office/drawing/2014/main" id="{511EF2E2-0375-43CC-94C7-35DC830C851F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500188" y="4764088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BECDF42-E38F-45BF-92DE-876E6CB1229E}" type="datetime'''R''''''''''''''e''''a''s''''''o''''''''''''''n3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17" name="Text Placeholder">
            <a:extLst>
              <a:ext uri="{FF2B5EF4-FFF2-40B4-BE49-F238E27FC236}">
                <a16:creationId xmlns:a16="http://schemas.microsoft.com/office/drawing/2014/main" id="{1F30EC87-5EBE-4839-B82D-42EEBE0E8D68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500188" y="51101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87D5249-065C-4872-B6F3-E9812FDA1683}" type="datetime'''''Re''''''a''''''''''s''''''''o''''''''n2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2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18" name="Text Placeholder">
            <a:extLst>
              <a:ext uri="{FF2B5EF4-FFF2-40B4-BE49-F238E27FC236}">
                <a16:creationId xmlns:a16="http://schemas.microsoft.com/office/drawing/2014/main" id="{57628C19-9FBC-4A51-90AD-34E4AB89377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500188" y="5456238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AFCDC42-DF45-4A3D-87F7-3ADDC9E09707}" type="datetime'''''''''''R''''''''''e''a''''s''''o''''''''''n''''''1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2599B712-1170-4D07-960C-DA7A63685BA4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546225" y="5748338"/>
            <a:ext cx="447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CBAE658-A09D-487D-BC3C-69C00AC20157}" type="datetime'''''R''''''''''''''''''e''a''''''s''o''''''''''''n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8" name="btfpNotesBox632539">
            <a:extLst>
              <a:ext uri="{FF2B5EF4-FFF2-40B4-BE49-F238E27FC236}">
                <a16:creationId xmlns:a16="http://schemas.microsoft.com/office/drawing/2014/main" id="{2357CAEF-7F10-4E06-A077-A12D8E77386E}"/>
              </a:ext>
            </a:extLst>
          </p:cNvPr>
          <p:cNvSpPr txBox="1"/>
          <p:nvPr>
            <p:custDataLst>
              <p:tags r:id="rId28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aphicFrame>
        <p:nvGraphicFramePr>
          <p:cNvPr id="140" name="Chart 139">
            <a:extLst>
              <a:ext uri="{FF2B5EF4-FFF2-40B4-BE49-F238E27FC236}">
                <a16:creationId xmlns:a16="http://schemas.microsoft.com/office/drawing/2014/main" id="{66F44F37-0055-484E-94B8-B0243B1A131F}"/>
              </a:ext>
            </a:extLst>
          </p:cNvPr>
          <p:cNvGraphicFramePr/>
          <p:nvPr>
            <p:custDataLst>
              <p:tags r:id="rId29"/>
            </p:custDataLst>
          </p:nvPr>
        </p:nvGraphicFramePr>
        <p:xfrm>
          <a:off x="3668713" y="2506663"/>
          <a:ext cx="5248275" cy="3281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>
        <p:nvSpPr>
          <p:cNvPr id="159" name="Text Placeholder">
            <a:extLst>
              <a:ext uri="{FF2B5EF4-FFF2-40B4-BE49-F238E27FC236}">
                <a16:creationId xmlns:a16="http://schemas.microsoft.com/office/drawing/2014/main" id="{3EBF0A25-6B5C-46FE-AE7A-697AE220C74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595688" y="56292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3A7A0B1-1A49-423E-AD10-3057D2A65E6D}" type="datetime'''0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0" name="Text Placeholder">
            <a:extLst>
              <a:ext uri="{FF2B5EF4-FFF2-40B4-BE49-F238E27FC236}">
                <a16:creationId xmlns:a16="http://schemas.microsoft.com/office/drawing/2014/main" id="{791A5E5A-E88F-4F65-A879-01191A1F66A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525838" y="50053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3FEAAAE-1C5F-4482-8EE0-B98FB03FF08A}" type="datetime'''''''''''''''''''''2''0''''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DA6769F4-FE75-4D48-A664-1AB3F91D1DE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525838" y="43830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8EAC8D3-9674-426A-98EE-E6FED54B7F1C}" type="datetime'''''''4''''''''''''''0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2" name="Text Placeholder">
            <a:extLst>
              <a:ext uri="{FF2B5EF4-FFF2-40B4-BE49-F238E27FC236}">
                <a16:creationId xmlns:a16="http://schemas.microsoft.com/office/drawing/2014/main" id="{56EEBBB4-569C-49A8-888E-52538672A1C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525838" y="37592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4A26602-C807-4E88-A35A-E3357246034E}" type="datetime'''''''''''''6''''''''''''''0''''''''''''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3" name="Text Placeholder">
            <a:extLst>
              <a:ext uri="{FF2B5EF4-FFF2-40B4-BE49-F238E27FC236}">
                <a16:creationId xmlns:a16="http://schemas.microsoft.com/office/drawing/2014/main" id="{55FD2D72-FB93-4D30-A380-D79315BBF4A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525838" y="3136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B6BE074-E4E1-48BC-9529-D409120AF31F}" type="datetime'''''''''''''''''8''''''''''''''''''''''''''''''''0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4" name="Text Placeholder">
            <a:extLst>
              <a:ext uri="{FF2B5EF4-FFF2-40B4-BE49-F238E27FC236}">
                <a16:creationId xmlns:a16="http://schemas.microsoft.com/office/drawing/2014/main" id="{45A6B90D-6D77-416E-98C3-B68E48286FFE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343275" y="25130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1D155BD-999A-439C-9690-030F0FD4D25B}" type="datetime'1''''''''''''''''''''''''''''''''''''''''''''''''''''00'">
              <a:rPr lang="en-US" altLang="en-US" sz="1000" smtClean="0">
                <a:solidFill>
                  <a:srgbClr val="000000"/>
                </a:solidFill>
              </a:rPr>
              <a:pPr/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4" name="Text Placeholder">
            <a:extLst>
              <a:ext uri="{FF2B5EF4-FFF2-40B4-BE49-F238E27FC236}">
                <a16:creationId xmlns:a16="http://schemas.microsoft.com/office/drawing/2014/main" id="{5C45B09E-B685-4333-A354-A612CE66DC13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343275" y="2259013"/>
            <a:ext cx="981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rgbClr val="000000"/>
                </a:solidFill>
              </a:rPr>
              <a:t>% of respondents</a:t>
            </a:r>
          </a:p>
        </p:txBody>
      </p:sp>
      <p:sp>
        <p:nvSpPr>
          <p:cNvPr id="321" name="Text Placeholder">
            <a:extLst>
              <a:ext uri="{FF2B5EF4-FFF2-40B4-BE49-F238E27FC236}">
                <a16:creationId xmlns:a16="http://schemas.microsoft.com/office/drawing/2014/main" id="{8DFB56CF-D0CF-43C9-B7A2-351A73E3BB69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422775" y="2771775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45FBE1A-6D50-46A0-BE28-D718AE9C7F7F}" type="datetime'''''''''''''''''''''''O''t''h''''''''e''''''''''''''''''r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22" name="Text Placeholder">
            <a:extLst>
              <a:ext uri="{FF2B5EF4-FFF2-40B4-BE49-F238E27FC236}">
                <a16:creationId xmlns:a16="http://schemas.microsoft.com/office/drawing/2014/main" id="{9037379F-3F61-40E9-8817-CA890D2674A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327525" y="3290888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74179B-BBF7-4F54-89D9-E42933083E3C}" type="datetime'R''''''e''''''''as''''''''o''''''''''''n''''5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23" name="Text Placeholder">
            <a:extLst>
              <a:ext uri="{FF2B5EF4-FFF2-40B4-BE49-F238E27FC236}">
                <a16:creationId xmlns:a16="http://schemas.microsoft.com/office/drawing/2014/main" id="{C07E77F2-F589-4EEB-A3E9-B8687A31984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327525" y="381000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C51232-1745-4A88-9EC6-3FDB337D3D9C}" type="datetime'''Re''''a''''''''s''''o''''''n''''''''''''''''''''''''4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24" name="Text Placeholder">
            <a:extLst>
              <a:ext uri="{FF2B5EF4-FFF2-40B4-BE49-F238E27FC236}">
                <a16:creationId xmlns:a16="http://schemas.microsoft.com/office/drawing/2014/main" id="{24425638-2B1A-4777-9291-BF0618FEE8D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327525" y="433070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E7623E-31A2-4482-9197-4CF2F4C2400E}" type="datetime'''R''''''ea''''''''''''s''''''''''''o''n3''''''''''''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3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325" name="Text Placeholder">
            <a:extLst>
              <a:ext uri="{FF2B5EF4-FFF2-40B4-BE49-F238E27FC236}">
                <a16:creationId xmlns:a16="http://schemas.microsoft.com/office/drawing/2014/main" id="{7781C9A9-4F21-4B48-B4E6-E202EB650D86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327525" y="484981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2C8F70B-C42F-43CD-936F-073BA11263FE}" type="datetime'''''''R''ea''''''''''''''so''''''''''''''n''''2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2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326" name="Text Placeholder">
            <a:extLst>
              <a:ext uri="{FF2B5EF4-FFF2-40B4-BE49-F238E27FC236}">
                <a16:creationId xmlns:a16="http://schemas.microsoft.com/office/drawing/2014/main" id="{F2E2C1E6-0179-4911-BF8F-5B2D56BDBB8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327525" y="5368925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669FC8-43F0-4CAD-9DD7-3A7770BDAAA8}" type="datetime'R''''''''ea''''''''''''''''''''''''''s''''''''''o''n1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7C17A9C9-8A10-4E4A-BADC-23B18A597AB8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48125" y="5748338"/>
            <a:ext cx="1098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F4B2EFE-C2C9-4C4D-B329-A883668A6B37}" type="datetime'''R''ea''sons'''' ''''n''o''t t''''o u''''s''''''''''e'''">
              <a:rPr lang="en-US" altLang="en-US" sz="1000" smtClean="0">
                <a:solidFill>
                  <a:srgbClr val="000000"/>
                </a:solidFill>
              </a:rPr>
              <a:pPr/>
              <a:t>Reasons not to use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27" name="Text Placeholder">
            <a:extLst>
              <a:ext uri="{FF2B5EF4-FFF2-40B4-BE49-F238E27FC236}">
                <a16:creationId xmlns:a16="http://schemas.microsoft.com/office/drawing/2014/main" id="{40E4C9FD-318B-444C-B6A5-D5109FB8AD0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743575" y="2824163"/>
            <a:ext cx="1098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04C3E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9F839C-B8C9-46C7-BF0F-714337BA2E5E}" type="datetime'''5 ''- ''E''xtr''''''e''me''''''''l''y ''''li''''''''kely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- Extremely likely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328" name="Text Placeholder">
            <a:extLst>
              <a:ext uri="{FF2B5EF4-FFF2-40B4-BE49-F238E27FC236}">
                <a16:creationId xmlns:a16="http://schemas.microsoft.com/office/drawing/2014/main" id="{54DA587D-363F-400B-8BFE-8D5154C686A1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240463" y="3448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9FCF15-39A7-4A30-8864-5B9A1D3627CB}" type="datetime'''4''''''''''''''''''''''''''''''''''''''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329" name="Text Placeholder">
            <a:extLst>
              <a:ext uri="{FF2B5EF4-FFF2-40B4-BE49-F238E27FC236}">
                <a16:creationId xmlns:a16="http://schemas.microsoft.com/office/drawing/2014/main" id="{69746BF8-53D1-4D98-B711-D55F419014E8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240463" y="40703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AB82178-2FC9-4E35-AA41-70276AE1381B}" type="datetime'''''''''''''''''3''''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0" name="Text Placeholder">
            <a:extLst>
              <a:ext uri="{FF2B5EF4-FFF2-40B4-BE49-F238E27FC236}">
                <a16:creationId xmlns:a16="http://schemas.microsoft.com/office/drawing/2014/main" id="{F452A114-1457-4CAF-A463-1BA8EF4F67E3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240463" y="469423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38C3F8-411E-4042-BD19-94FD5591C06C}" type="datetime'''''''''''''2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1" name="Text Placeholder">
            <a:extLst>
              <a:ext uri="{FF2B5EF4-FFF2-40B4-BE49-F238E27FC236}">
                <a16:creationId xmlns:a16="http://schemas.microsoft.com/office/drawing/2014/main" id="{6F295458-5A75-4164-820F-21AB6E544BAF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5776913" y="5316538"/>
            <a:ext cx="1033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00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596BDC2-8FB9-4F94-87CD-E3A0F36B60A4}" type="datetime'''''1 -'''''' N''ot ''''at'' ''all'' ''l''''''''i''kely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- Not at all likely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21" name="Text Placeholder">
            <a:extLst>
              <a:ext uri="{FF2B5EF4-FFF2-40B4-BE49-F238E27FC236}">
                <a16:creationId xmlns:a16="http://schemas.microsoft.com/office/drawing/2014/main" id="{08C1438A-6725-4E0F-A25B-78567FEF0EFC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813425" y="5748338"/>
            <a:ext cx="958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8F0FED-CBEC-42C9-BA36-104A2C802AF6}" type="datetime'''Lik''''''''''''e''''li''h''o''o''''d t''o'''' ''''us''''''e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kelihood to use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2" name="Text Placeholder">
            <a:extLst>
              <a:ext uri="{FF2B5EF4-FFF2-40B4-BE49-F238E27FC236}">
                <a16:creationId xmlns:a16="http://schemas.microsoft.com/office/drawing/2014/main" id="{7DF8A4E1-7A80-4931-B34B-07CCCC3F6C1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7812088" y="2771775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41824ED-135A-49E3-9621-82CE59A9C273}" type="datetime'''''''''''''''''''''''O''''t''''''h''''e''''''''''''''''''''r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3" name="Text Placeholder">
            <a:extLst>
              <a:ext uri="{FF2B5EF4-FFF2-40B4-BE49-F238E27FC236}">
                <a16:creationId xmlns:a16="http://schemas.microsoft.com/office/drawing/2014/main" id="{62A73F44-2109-4F1A-AE34-5FE016A55427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716838" y="3290888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22EC42-732C-4CBB-8307-63AA0DD4F971}" type="datetime'''''''''''''''R''''''''''''''''eas''''''''''''o''n''''''5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4" name="Text Placeholder">
            <a:extLst>
              <a:ext uri="{FF2B5EF4-FFF2-40B4-BE49-F238E27FC236}">
                <a16:creationId xmlns:a16="http://schemas.microsoft.com/office/drawing/2014/main" id="{D911A27D-16BE-436D-9B30-7E482D740A7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716838" y="381000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BCDC83-6B3D-41F0-993C-FD3DF904E7CE}" type="datetime'''''''''R''''eas''''o''''''''''''''''''''''''''''n''''''4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5" name="Text Placeholder">
            <a:extLst>
              <a:ext uri="{FF2B5EF4-FFF2-40B4-BE49-F238E27FC236}">
                <a16:creationId xmlns:a16="http://schemas.microsoft.com/office/drawing/2014/main" id="{DC55ECC3-483C-45EC-B3ED-6F1A01D8185C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7716838" y="433070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652F39-1355-47CE-9E34-B9267B544A16}" type="datetime'''R''''e''a''''''''''''''''''s''''''''''o''''''n3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6" name="Text Placeholder">
            <a:extLst>
              <a:ext uri="{FF2B5EF4-FFF2-40B4-BE49-F238E27FC236}">
                <a16:creationId xmlns:a16="http://schemas.microsoft.com/office/drawing/2014/main" id="{1502CEBA-EB5C-42B1-8163-6EC790736323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7716838" y="484981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F2FA0FF-78D3-40CA-B781-477BD3F04FEC}" type="datetime'''''''''''''''''''''''''R''eas''''''o''''''''''n''''2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7" name="Text Placeholder">
            <a:extLst>
              <a:ext uri="{FF2B5EF4-FFF2-40B4-BE49-F238E27FC236}">
                <a16:creationId xmlns:a16="http://schemas.microsoft.com/office/drawing/2014/main" id="{8F603EFC-E1D4-46A6-ACD3-ABC2E74D7A9C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7716838" y="5368925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7BB6724-2A2D-4A66-977C-5E6FBCBA8429}" type="datetime'R''''''''''''''e''''''''as''o''''''''''''n''''1'''">
              <a:rPr lang="en-US" altLang="en-US" sz="10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1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22" name="Text Placeholder">
            <a:extLst>
              <a:ext uri="{FF2B5EF4-FFF2-40B4-BE49-F238E27FC236}">
                <a16:creationId xmlns:a16="http://schemas.microsoft.com/office/drawing/2014/main" id="{5B71F616-C795-40E3-ABD9-E388CB5A3B4C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353300" y="5748338"/>
            <a:ext cx="1268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6539D3-3D0F-4A76-B1E3-4F104136120F}" type="datetime'''''''''''R''ea''''''''so''ns t''o sta''r''''t'' u''sin''g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asons to start using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4" name="Text Placeholder">
            <a:extLst>
              <a:ext uri="{FF2B5EF4-FFF2-40B4-BE49-F238E27FC236}">
                <a16:creationId xmlns:a16="http://schemas.microsoft.com/office/drawing/2014/main" id="{D28FE81E-3567-4553-B5A4-37C9F955B10F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205538" y="241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9619885-835C-426E-B465-914F3E71F57D}" type="datetime'''''''''''''''''''''''''''''''5''0''''''''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3C049AAF-3704-4067-B55F-68043CF18CB9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5162550" y="2589214"/>
            <a:ext cx="565150" cy="1870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7FB4F22-929C-4CCE-AD65-C8AAC4ACA1D8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6858000" y="4459288"/>
            <a:ext cx="563563" cy="1246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62206D1B-A695-4518-A829-6B2E66786B22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6858000" y="2589213"/>
            <a:ext cx="563563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1" name="Chart 140">
            <a:extLst>
              <a:ext uri="{FF2B5EF4-FFF2-40B4-BE49-F238E27FC236}">
                <a16:creationId xmlns:a16="http://schemas.microsoft.com/office/drawing/2014/main" id="{E7BE82A5-A793-4722-B08B-21FFC4225981}"/>
              </a:ext>
            </a:extLst>
          </p:cNvPr>
          <p:cNvGraphicFramePr/>
          <p:nvPr>
            <p:custDataLst>
              <p:tags r:id="rId61"/>
            </p:custDataLst>
          </p:nvPr>
        </p:nvGraphicFramePr>
        <p:xfrm>
          <a:off x="9712325" y="2506663"/>
          <a:ext cx="2230438" cy="3281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>
        <p:nvSpPr>
          <p:cNvPr id="575" name="Text Placeholder">
            <a:extLst>
              <a:ext uri="{FF2B5EF4-FFF2-40B4-BE49-F238E27FC236}">
                <a16:creationId xmlns:a16="http://schemas.microsoft.com/office/drawing/2014/main" id="{A10ADA44-07FF-4559-AAC8-BB8239AFB4B2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9639300" y="56292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F1E31E7-581B-49D2-9CEA-96696873DEE2}" type="datetime'''''''''''''''''0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6" name="Text Placeholder">
            <a:extLst>
              <a:ext uri="{FF2B5EF4-FFF2-40B4-BE49-F238E27FC236}">
                <a16:creationId xmlns:a16="http://schemas.microsoft.com/office/drawing/2014/main" id="{1A19B55C-9EE1-48EE-A65F-30B6F33E7D7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9569450" y="50053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493020F-ED9E-485E-8678-F31D641D2FB4}" type="datetime'''2''''''0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7" name="Text Placeholder">
            <a:extLst>
              <a:ext uri="{FF2B5EF4-FFF2-40B4-BE49-F238E27FC236}">
                <a16:creationId xmlns:a16="http://schemas.microsoft.com/office/drawing/2014/main" id="{84F56592-4DD4-47D1-BB7D-6C29347E25B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9569450" y="43830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AD6C2DB-9554-42A1-9BC1-0AFB0CACF2B0}" type="datetime'''''''''''''''4''''0''''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8" name="Text Placeholder">
            <a:extLst>
              <a:ext uri="{FF2B5EF4-FFF2-40B4-BE49-F238E27FC236}">
                <a16:creationId xmlns:a16="http://schemas.microsoft.com/office/drawing/2014/main" id="{6E61D09E-83F7-4BA6-8841-9B0EE7F314AE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9569450" y="37592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3604429-09EB-42A3-8632-EADA0DB75C69}" type="datetime'''''''''''''''''''''6''''''''''''''''''''''''''''''''0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9" name="Text Placeholder">
            <a:extLst>
              <a:ext uri="{FF2B5EF4-FFF2-40B4-BE49-F238E27FC236}">
                <a16:creationId xmlns:a16="http://schemas.microsoft.com/office/drawing/2014/main" id="{79C7CD30-17AE-4B34-A8F8-BE944C219D2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9569450" y="3136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D6D0C91-520F-4282-8CB6-66FAF8627897}" type="datetime'''''''8''''''''''''''''''''''''''''''''''''''''''''0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0" name="Text Placeholder">
            <a:extLst>
              <a:ext uri="{FF2B5EF4-FFF2-40B4-BE49-F238E27FC236}">
                <a16:creationId xmlns:a16="http://schemas.microsoft.com/office/drawing/2014/main" id="{8D0A0D6E-3534-4EFF-95AB-31F47AA73217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9386888" y="25130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CC221EB-C91C-46ED-B77D-6C77B0530FD1}" type="datetime'''''''''1''''''''''''0''''''''''''''''''''''''''''''''0'''">
              <a:rPr lang="en-US" altLang="en-US" sz="1000" smtClean="0">
                <a:solidFill>
                  <a:srgbClr val="000000"/>
                </a:solidFill>
              </a:rPr>
              <a:pPr/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1" name="Text Placeholder">
            <a:extLst>
              <a:ext uri="{FF2B5EF4-FFF2-40B4-BE49-F238E27FC236}">
                <a16:creationId xmlns:a16="http://schemas.microsoft.com/office/drawing/2014/main" id="{C3597577-77ED-47B9-BBC2-BF915C6D9948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386888" y="2259013"/>
            <a:ext cx="981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rgbClr val="000000"/>
                </a:solidFill>
              </a:rPr>
              <a:t>% of respondents</a:t>
            </a:r>
          </a:p>
        </p:txBody>
      </p:sp>
      <p:sp>
        <p:nvSpPr>
          <p:cNvPr id="650" name="Text Placeholder">
            <a:extLst>
              <a:ext uri="{FF2B5EF4-FFF2-40B4-BE49-F238E27FC236}">
                <a16:creationId xmlns:a16="http://schemas.microsoft.com/office/drawing/2014/main" id="{51F25466-7DF0-421F-AC2B-03E605C3F6E7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10277475" y="2824163"/>
            <a:ext cx="1098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797BC48-D08F-492B-86D3-4D23CAF6CABE}" type="datetime'5 ''- E''''''''x''t''''''''re''''mely'''' l''''i''kel''y'">
              <a:rPr lang="en-US" altLang="en-US" sz="1000" smtClean="0">
                <a:solidFill>
                  <a:srgbClr val="FFFFFF"/>
                </a:solidFill>
              </a:rPr>
              <a:pPr/>
              <a:t>5 - Extremely likely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51" name="Text Placeholder">
            <a:extLst>
              <a:ext uri="{FF2B5EF4-FFF2-40B4-BE49-F238E27FC236}">
                <a16:creationId xmlns:a16="http://schemas.microsoft.com/office/drawing/2014/main" id="{887939BA-C4F6-4B8A-82BD-904D154465DC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10774363" y="34480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346FEE5-6CCC-4D60-9F4E-38FFB46BAE37}" type="datetime'''''''''''''''4'''''''''''''''''''">
              <a:rPr lang="en-US" altLang="en-US" sz="1000" smtClean="0">
                <a:solidFill>
                  <a:srgbClr val="FFFFFF"/>
                </a:solidFill>
              </a:rPr>
              <a:pPr/>
              <a:t>4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52" name="Text Placeholder">
            <a:extLst>
              <a:ext uri="{FF2B5EF4-FFF2-40B4-BE49-F238E27FC236}">
                <a16:creationId xmlns:a16="http://schemas.microsoft.com/office/drawing/2014/main" id="{8D46E12F-CA38-4071-95BC-6272AF8A1641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10774363" y="40703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A9C56A4-36F4-41CA-BEFC-8485B5868C80}" type="datetime'''''''''''''''''''''''''''''''''3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53" name="Text Placeholder">
            <a:extLst>
              <a:ext uri="{FF2B5EF4-FFF2-40B4-BE49-F238E27FC236}">
                <a16:creationId xmlns:a16="http://schemas.microsoft.com/office/drawing/2014/main" id="{F8442ACC-4051-4DDA-84FD-CFD4302A4CD6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10774363" y="469423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ED563F8-A28A-432A-9FFB-560542C14CC5}" type="datetime'''''''''''''''''''''''''''''''''''2'''''''''''''''''">
              <a:rPr lang="en-US" altLang="en-US" sz="1000" smtClean="0">
                <a:solidFill>
                  <a:srgbClr val="000000"/>
                </a:solidFill>
              </a:rPr>
              <a:pPr/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54" name="Text Placeholder">
            <a:extLst>
              <a:ext uri="{FF2B5EF4-FFF2-40B4-BE49-F238E27FC236}">
                <a16:creationId xmlns:a16="http://schemas.microsoft.com/office/drawing/2014/main" id="{58A8AA18-4315-4498-871D-CAB5D2F882CC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10310813" y="5316538"/>
            <a:ext cx="1033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159C09-1BC6-4DF2-A8CF-CEC04610CD02}" type="datetime'1'' -'' ''''Not'' a''t'' a''''''l''l'''' ''''''lik''e''l''y'">
              <a:rPr lang="en-US" altLang="en-US" sz="1000" smtClean="0">
                <a:solidFill>
                  <a:srgbClr val="FFFFFF"/>
                </a:solidFill>
              </a:rPr>
              <a:pPr/>
              <a:t>1 - Not at all likely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91" name="Text Placeholder">
            <a:extLst>
              <a:ext uri="{FF2B5EF4-FFF2-40B4-BE49-F238E27FC236}">
                <a16:creationId xmlns:a16="http://schemas.microsoft.com/office/drawing/2014/main" id="{74AD2F33-472F-491E-B039-C5B5D1508EFD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0152063" y="5748338"/>
            <a:ext cx="1350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1C53F7-BAFC-4076-87F5-3029DEFCD8AD}" type="datetime'''''L''ike''l''''''''''i''''h''''ood ''to ever ''''''ado''pt'">
              <a:rPr lang="en-US" altLang="en-US" sz="1000" smtClean="0">
                <a:solidFill>
                  <a:srgbClr val="000000"/>
                </a:solidFill>
              </a:rPr>
              <a:pPr/>
              <a:t>Likelihood to ever adopt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40" name="Text Placeholder">
            <a:extLst>
              <a:ext uri="{FF2B5EF4-FFF2-40B4-BE49-F238E27FC236}">
                <a16:creationId xmlns:a16="http://schemas.microsoft.com/office/drawing/2014/main" id="{DBBE97E4-092A-4DDE-AEFE-3513372F08A9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0739438" y="241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0AF01C-D656-4DF8-8B07-0B4BC94504F9}" type="datetime'''5''''''''''''''''''0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411935">
            <a:extLst>
              <a:ext uri="{FF2B5EF4-FFF2-40B4-BE49-F238E27FC236}">
                <a16:creationId xmlns:a16="http://schemas.microsoft.com/office/drawing/2014/main" id="{3F9F0CBD-DE48-320C-C713-ED7163F9D3E8}"/>
              </a:ext>
            </a:extLst>
          </p:cNvPr>
          <p:cNvGrpSpPr/>
          <p:nvPr>
            <p:custDataLst>
              <p:tags r:id="rId76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4" name="btfpStatusStickerText411935">
              <a:extLst>
                <a:ext uri="{FF2B5EF4-FFF2-40B4-BE49-F238E27FC236}">
                  <a16:creationId xmlns:a16="http://schemas.microsoft.com/office/drawing/2014/main" id="{0CB0BC61-F4D2-9B45-3051-57EBFBC878F0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6" name="btfpStatusStickerLine411935">
              <a:extLst>
                <a:ext uri="{FF2B5EF4-FFF2-40B4-BE49-F238E27FC236}">
                  <a16:creationId xmlns:a16="http://schemas.microsoft.com/office/drawing/2014/main" id="{D63DE0E1-3925-B75E-2E2B-E746F133B5D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7BD1547C-F8DC-4089-8690-0C8DADC77F49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348038" y="5969000"/>
            <a:ext cx="708025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50800" tIns="9525" rIns="4763" bIns="9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43C40DA-7B40-4B14-8970-49862966DFD8}" type="datetime'% o''''''''''f'' 4s ''''an''''''''d'''''''''''' 5''''s'">
              <a:rPr lang="en-US" altLang="en-US" sz="1000" smtClean="0">
                <a:solidFill>
                  <a:srgbClr val="000000"/>
                </a:solidFill>
                <a:effectLst/>
              </a:rPr>
              <a:pPr/>
              <a:t>% of 4s and 5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E6DD3862-8F7B-4032-A858-EB7DF9141A31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5746750" y="5969000"/>
            <a:ext cx="11160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5725" rIns="0" bIns="857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0F2B589-A03B-4592-9579-A6B15BD7C9FE}" type="datetime'''4''''''''''''''''''0''''%''''''''''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1" name="Text Placeholder">
            <a:extLst>
              <a:ext uri="{FF2B5EF4-FFF2-40B4-BE49-F238E27FC236}">
                <a16:creationId xmlns:a16="http://schemas.microsoft.com/office/drawing/2014/main" id="{14FE389B-EF83-4F63-88A1-03D2DEB1DEDE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383714" y="5969000"/>
            <a:ext cx="5953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9525" rIns="0" bIns="95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83E9678-4540-4816-8C3D-A8786F62EEAA}" type="datetime'''''%'''' o''''''''f'' ''''''''4s an''''''''''d'' ''''5s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% of 4s and 5s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3" name="Text Placeholder">
            <a:extLst>
              <a:ext uri="{FF2B5EF4-FFF2-40B4-BE49-F238E27FC236}">
                <a16:creationId xmlns:a16="http://schemas.microsoft.com/office/drawing/2014/main" id="{1B489A8C-D86F-4A90-98BE-08E0A014230F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9979025" y="5969000"/>
            <a:ext cx="1882775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85725" rIns="0" bIns="857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AEFA53-DD96-4020-B841-D33451E9C654}" type="datetime'''''''''''''''''4''''''''''''''''''0''''''''''''''''''''%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40062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E4888E4A-B860-ECB7-2ED0-C3A014F2002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7" name="btfpColumnGapBlocker914969">
              <a:extLst>
                <a:ext uri="{FF2B5EF4-FFF2-40B4-BE49-F238E27FC236}">
                  <a16:creationId xmlns:a16="http://schemas.microsoft.com/office/drawing/2014/main" id="{3F638B3D-AA34-458F-83DB-27385FA24D8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203337">
              <a:extLst>
                <a:ext uri="{FF2B5EF4-FFF2-40B4-BE49-F238E27FC236}">
                  <a16:creationId xmlns:a16="http://schemas.microsoft.com/office/drawing/2014/main" id="{C917B042-57A9-F277-7D3C-5EC4A4DD38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415131">
              <a:extLst>
                <a:ext uri="{FF2B5EF4-FFF2-40B4-BE49-F238E27FC236}">
                  <a16:creationId xmlns:a16="http://schemas.microsoft.com/office/drawing/2014/main" id="{76436414-C1E0-3D61-B576-8296DF84450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486944">
              <a:extLst>
                <a:ext uri="{FF2B5EF4-FFF2-40B4-BE49-F238E27FC236}">
                  <a16:creationId xmlns:a16="http://schemas.microsoft.com/office/drawing/2014/main" id="{030582FC-7967-99A1-C84C-BF31E4FCBEB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IndicatorGroup1">
            <a:extLst>
              <a:ext uri="{FF2B5EF4-FFF2-40B4-BE49-F238E27FC236}">
                <a16:creationId xmlns:a16="http://schemas.microsoft.com/office/drawing/2014/main" id="{934581EE-77EA-294A-36A6-6FC1FE419C4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6" name="btfpColumnGapBlocker372038">
              <a:extLst>
                <a:ext uri="{FF2B5EF4-FFF2-40B4-BE49-F238E27FC236}">
                  <a16:creationId xmlns:a16="http://schemas.microsoft.com/office/drawing/2014/main" id="{7E1799D4-56B7-BA13-3A67-614100388FE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491957">
              <a:extLst>
                <a:ext uri="{FF2B5EF4-FFF2-40B4-BE49-F238E27FC236}">
                  <a16:creationId xmlns:a16="http://schemas.microsoft.com/office/drawing/2014/main" id="{1DEBFFD9-FF79-C1FD-524C-8D15E489473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210005">
              <a:extLst>
                <a:ext uri="{FF2B5EF4-FFF2-40B4-BE49-F238E27FC236}">
                  <a16:creationId xmlns:a16="http://schemas.microsoft.com/office/drawing/2014/main" id="{3D4ED686-5455-26E7-0914-6368FD63DB1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46668">
              <a:extLst>
                <a:ext uri="{FF2B5EF4-FFF2-40B4-BE49-F238E27FC236}">
                  <a16:creationId xmlns:a16="http://schemas.microsoft.com/office/drawing/2014/main" id="{05CA3646-DC13-EEC0-441B-CEAEED151CB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27" name="think-cell data - do not delete" hidden="1">
            <a:extLst>
              <a:ext uri="{FF2B5EF4-FFF2-40B4-BE49-F238E27FC236}">
                <a16:creationId xmlns:a16="http://schemas.microsoft.com/office/drawing/2014/main" id="{C8A18962-560F-426E-9603-AA858101F8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384" imgH="384" progId="TCLayout.ActiveDocument.1">
                  <p:embed/>
                </p:oleObj>
              </mc:Choice>
              <mc:Fallback>
                <p:oleObj name="think-cell Slide" r:id="rId73" imgW="384" imgH="384" progId="TCLayout.ActiveDocument.1">
                  <p:embed/>
                  <p:pic>
                    <p:nvPicPr>
                      <p:cNvPr id="1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A18962-560F-426E-9603-AA858101F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AF0F51-DBF2-4A18-B75A-C9B11AE6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KPC: </a:t>
            </a:r>
            <a:r>
              <a:rPr lang="en-US"/>
              <a:t>Criteria importance not indexed (% of respondents) - Ranked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6908BF-20C8-49E5-B0A1-DB4019BDFB6F}"/>
              </a:ext>
            </a:extLst>
          </p:cNvPr>
          <p:cNvSpPr>
            <a:spLocks/>
          </p:cNvSpPr>
          <p:nvPr/>
        </p:nvSpPr>
        <p:spPr bwMode="gray">
          <a:xfrm>
            <a:off x="340699" y="1268412"/>
            <a:ext cx="11510599" cy="5417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 are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important criteria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valuating whether or not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se a particular provider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b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Dummy do you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ainst the below criteria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NotesBox350040">
            <a:extLst>
              <a:ext uri="{FF2B5EF4-FFF2-40B4-BE49-F238E27FC236}">
                <a16:creationId xmlns:a16="http://schemas.microsoft.com/office/drawing/2014/main" id="{395AE04D-299F-4CEA-A1F3-3D750DA425F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btfpRunningAgenda1Level644957">
            <a:extLst>
              <a:ext uri="{FF2B5EF4-FFF2-40B4-BE49-F238E27FC236}">
                <a16:creationId xmlns:a16="http://schemas.microsoft.com/office/drawing/2014/main" id="{658532E9-9B7F-4124-A351-274D8493BA6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4267863" cy="257442"/>
            <a:chOff x="0" y="876300"/>
            <a:chExt cx="4267863" cy="257442"/>
          </a:xfrm>
        </p:grpSpPr>
        <p:sp>
          <p:nvSpPr>
            <p:cNvPr id="30" name="btfpRunningAgenda1LevelBarLeft644957">
              <a:extLst>
                <a:ext uri="{FF2B5EF4-FFF2-40B4-BE49-F238E27FC236}">
                  <a16:creationId xmlns:a16="http://schemas.microsoft.com/office/drawing/2014/main" id="{AFB12C14-13AD-4081-B597-E924229F5FEE}"/>
                </a:ext>
              </a:extLst>
            </p:cNvPr>
            <p:cNvSpPr/>
            <p:nvPr/>
          </p:nvSpPr>
          <p:spPr bwMode="gray">
            <a:xfrm>
              <a:off x="0" y="876300"/>
              <a:ext cx="426786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111102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1 w 1224695"/>
                <a:gd name="connsiteY3" fmla="*/ 0 h 257442"/>
                <a:gd name="connsiteX0" fmla="*/ 1111102 w 1111102"/>
                <a:gd name="connsiteY0" fmla="*/ 0 h 257442"/>
                <a:gd name="connsiteX1" fmla="*/ 1056381 w 1111102"/>
                <a:gd name="connsiteY1" fmla="*/ 257442 h 257442"/>
                <a:gd name="connsiteX2" fmla="*/ 0 w 1111102"/>
                <a:gd name="connsiteY2" fmla="*/ 257442 h 257442"/>
                <a:gd name="connsiteX3" fmla="*/ 1 w 1111102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529935 w 1529935"/>
                <a:gd name="connsiteY0" fmla="*/ 0 h 257442"/>
                <a:gd name="connsiteX1" fmla="*/ 1216682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4 w 1529934"/>
                <a:gd name="connsiteY0" fmla="*/ 0 h 257442"/>
                <a:gd name="connsiteX1" fmla="*/ 1475213 w 1529934"/>
                <a:gd name="connsiteY1" fmla="*/ 257442 h 257442"/>
                <a:gd name="connsiteX2" fmla="*/ 0 w 1529934"/>
                <a:gd name="connsiteY2" fmla="*/ 257442 h 257442"/>
                <a:gd name="connsiteX3" fmla="*/ 0 w 1529934"/>
                <a:gd name="connsiteY3" fmla="*/ 0 h 257442"/>
                <a:gd name="connsiteX0" fmla="*/ 1698248 w 1698248"/>
                <a:gd name="connsiteY0" fmla="*/ 0 h 257442"/>
                <a:gd name="connsiteX1" fmla="*/ 1475213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866566 w 1866566"/>
                <a:gd name="connsiteY0" fmla="*/ 0 h 257442"/>
                <a:gd name="connsiteX1" fmla="*/ 1643528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0 w 1866566"/>
                <a:gd name="connsiteY3" fmla="*/ 0 h 257442"/>
                <a:gd name="connsiteX0" fmla="*/ 2034879 w 2034879"/>
                <a:gd name="connsiteY0" fmla="*/ 0 h 257442"/>
                <a:gd name="connsiteX1" fmla="*/ 1811844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71510 w 2371510"/>
                <a:gd name="connsiteY0" fmla="*/ 0 h 257442"/>
                <a:gd name="connsiteX1" fmla="*/ 2148474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0 w 2371510"/>
                <a:gd name="connsiteY0" fmla="*/ 0 h 257442"/>
                <a:gd name="connsiteX1" fmla="*/ 2316788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531811 w 2531811"/>
                <a:gd name="connsiteY0" fmla="*/ 0 h 257442"/>
                <a:gd name="connsiteX1" fmla="*/ 2316789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801116 w 2801116"/>
                <a:gd name="connsiteY0" fmla="*/ 0 h 257442"/>
                <a:gd name="connsiteX1" fmla="*/ 2477090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979049 w 2979049"/>
                <a:gd name="connsiteY0" fmla="*/ 0 h 257442"/>
                <a:gd name="connsiteX1" fmla="*/ 2746394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3248353 w 3248353"/>
                <a:gd name="connsiteY0" fmla="*/ 0 h 257442"/>
                <a:gd name="connsiteX1" fmla="*/ 2924328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416668 w 3416668"/>
                <a:gd name="connsiteY0" fmla="*/ 0 h 257442"/>
                <a:gd name="connsiteX1" fmla="*/ 3193632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8 w 3416668"/>
                <a:gd name="connsiteY0" fmla="*/ 0 h 257442"/>
                <a:gd name="connsiteX1" fmla="*/ 3361946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669943 w 3669943"/>
                <a:gd name="connsiteY0" fmla="*/ 0 h 257442"/>
                <a:gd name="connsiteX1" fmla="*/ 3361947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2 w 3669942"/>
                <a:gd name="connsiteY0" fmla="*/ 0 h 257442"/>
                <a:gd name="connsiteX1" fmla="*/ 3615221 w 3669942"/>
                <a:gd name="connsiteY1" fmla="*/ 257442 h 257442"/>
                <a:gd name="connsiteX2" fmla="*/ 0 w 3669942"/>
                <a:gd name="connsiteY2" fmla="*/ 257442 h 257442"/>
                <a:gd name="connsiteX3" fmla="*/ 0 w 3669942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1 w 3669943"/>
                <a:gd name="connsiteY2" fmla="*/ 257442 h 257442"/>
                <a:gd name="connsiteX3" fmla="*/ 0 w 3669943"/>
                <a:gd name="connsiteY3" fmla="*/ 0 h 257442"/>
                <a:gd name="connsiteX0" fmla="*/ 3830244 w 3830244"/>
                <a:gd name="connsiteY0" fmla="*/ 0 h 257442"/>
                <a:gd name="connsiteX1" fmla="*/ 36152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998559 w 3998559"/>
                <a:gd name="connsiteY0" fmla="*/ 0 h 257442"/>
                <a:gd name="connsiteX1" fmla="*/ 3775522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4267863 w 4267863"/>
                <a:gd name="connsiteY0" fmla="*/ 0 h 257442"/>
                <a:gd name="connsiteX1" fmla="*/ 3943838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863" h="257442">
                  <a:moveTo>
                    <a:pt x="4267863" y="0"/>
                  </a:moveTo>
                  <a:lnTo>
                    <a:pt x="421314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btfpRunningAgenda1LevelTextLeft644957">
              <a:extLst>
                <a:ext uri="{FF2B5EF4-FFF2-40B4-BE49-F238E27FC236}">
                  <a16:creationId xmlns:a16="http://schemas.microsoft.com/office/drawing/2014/main" id="{FF82EA94-FDD5-4802-A298-9A0D64A7CDE5}"/>
                </a:ext>
              </a:extLst>
            </p:cNvPr>
            <p:cNvSpPr txBox="1"/>
            <p:nvPr/>
          </p:nvSpPr>
          <p:spPr bwMode="gray">
            <a:xfrm>
              <a:off x="0" y="876300"/>
              <a:ext cx="421314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purchasing criteria</a:t>
              </a: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3EBF4B9-9EB6-8FCC-A1C0-4A6710792B08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655638" y="2332038"/>
          <a:ext cx="9928225" cy="3681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32" name="Text Placeholder">
            <a:extLst>
              <a:ext uri="{FF2B5EF4-FFF2-40B4-BE49-F238E27FC236}">
                <a16:creationId xmlns:a16="http://schemas.microsoft.com/office/drawing/2014/main" id="{85E4F24A-9A64-4FE5-9CDD-E711F9DF543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82613" y="58547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C5880FA-B59A-4036-A193-F31A170444A1}" type="datetime'''''''''''0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E99F790D-115B-4BA6-A07A-E06B53130D5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12763" y="51514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B729812-32EB-411B-8166-4DB1E4D496EA}" type="datetime'''2''''''''''''''''''''''''''''''0''''''''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0C38BCC0-8801-41DA-A922-2DA80DB4260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12763" y="44481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97C966F-7A20-4AEC-83FD-16967DA15E26}" type="datetime'40''''''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9E48F34E-AD90-416A-B53B-77D3669D72D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12763" y="37449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4C31D3B-5B3E-45AE-817C-D4016BE035C1}" type="datetime'''6''''''0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A1A36084-CBA1-4520-A5E2-2A9D8271628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12763" y="304165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B5AE622-9F0E-42B8-BB33-D430157CE72E}" type="datetime'''''''''''''''''''''''''''''''''80''''''''''''''''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F268921D-F234-4518-99DF-5FF5CDF851F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30200" y="2338388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9889E71-6EC5-4D45-A32D-35808F2E1446}" type="datetime'''''''''''''''''''''''''''''''''''''''''''''''10''0'''''''">
              <a:rPr lang="en-US" altLang="en-US" sz="1000" smtClean="0">
                <a:solidFill>
                  <a:srgbClr val="000000"/>
                </a:solidFill>
              </a:rPr>
              <a:pPr/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34E40864-BBCB-4F49-A77B-47EB11728B3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0587038" y="23383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9CDAE00-3F89-4D13-9FD1-2D72D4034B90}" type="datetime'''''''''''5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21568D57-C336-4794-9411-81A0E6A0C54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10587038" y="58547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9130289-1C55-4EE1-9E5E-80CE1BFF7482}" type="datetime'''''''''''''''''''''''''''''''0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AA4DE3A7-4BE4-4C7F-9B8A-43FB581D770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0587038" y="51514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948D9AF-F20E-44AD-9F61-E13BF24EB885}" type="datetime'''''''''''''''''''''1'''''''''''''''''''''">
              <a:rPr lang="en-US" altLang="en-US" sz="1000" smtClean="0">
                <a:solidFill>
                  <a:srgbClr val="000000"/>
                </a:solidFill>
              </a:rPr>
              <a:pPr/>
              <a:t>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03718C91-A940-481B-A70A-8E6250081A8E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0587038" y="44481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D7F023D-FC6F-4D5D-9052-7EC435189642}" type="datetime'''''''''''''''2'''''''''''''''''''">
              <a:rPr lang="en-US" altLang="en-US" sz="1000" smtClean="0">
                <a:solidFill>
                  <a:srgbClr val="000000"/>
                </a:solidFill>
              </a:rPr>
              <a:pPr/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BAECA449-0528-407C-B3BA-F1A7F8F7679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0587038" y="374491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22130F4-53B0-4E13-87DB-C97DC42A3937}" type="datetime'''''''''''''3'''''''''''''''''''''''''''''''">
              <a:rPr lang="en-US" altLang="en-US" sz="1000" smtClean="0">
                <a:solidFill>
                  <a:srgbClr val="000000"/>
                </a:solidFill>
              </a:rPr>
              <a:pPr/>
              <a:t>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39D4EBA1-7074-4A19-9B7D-8E3BA18149E3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0587038" y="30416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627D792-DC94-42AD-B10A-B760F625F87A}" type="datetime'''4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1" name="Text Placeholder">
            <a:extLst>
              <a:ext uri="{FF2B5EF4-FFF2-40B4-BE49-F238E27FC236}">
                <a16:creationId xmlns:a16="http://schemas.microsoft.com/office/drawing/2014/main" id="{64E1B98C-3F82-40A0-B243-E11395C384E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696325" y="2084388"/>
            <a:ext cx="1960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Average rating (5 - Best, 1 - Worst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4" name="Text Placeholder">
            <a:extLst>
              <a:ext uri="{FF2B5EF4-FFF2-40B4-BE49-F238E27FC236}">
                <a16:creationId xmlns:a16="http://schemas.microsoft.com/office/drawing/2014/main" id="{C7D0D706-907D-49AA-BC94-D48687E1D8CE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944562" y="3216275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</a:rPr>
              <a:t>Rank </a:t>
            </a:r>
            <a:r>
              <a:rPr lang="en-US" altLang="en-US" sz="1000">
                <a:solidFill>
                  <a:srgbClr val="FFFFFF"/>
                </a:solidFill>
              </a:rPr>
              <a:t>3 </a:t>
            </a:r>
            <a:fld id="{D15A9948-6A86-4143-8879-6A7B25294A27}" type="datetime'''''''''''''''(''''2''''''''''''''''0''''''''%'')'''''''''''">
              <a:rPr lang="en-US" altLang="en-US" sz="1000" smtClean="0">
                <a:solidFill>
                  <a:srgbClr val="FFFFFF"/>
                </a:solidFill>
              </a:rPr>
              <a:pPr/>
              <a:t>(2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35DB2282-2941-444D-987F-A61458AD4D9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944562" y="40957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30C0B377-095D-46F6-8E04-13D1A0492B00}" type="datetime'''''(''''''''''''''30''''''%'''''''''''''''')'''''''''''''">
              <a:rPr lang="en-US" altLang="en-US" sz="1000" smtClean="0">
                <a:solidFill>
                  <a:srgbClr val="FFFFFF"/>
                </a:solidFill>
              </a:rPr>
              <a:pPr/>
              <a:t>(3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C10A100C-706F-4638-8606-A83B1185EAD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944562" y="52387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D10DA5F9-4665-40D4-AAA7-76C669E6C97D}" type="datetime'''''''''''''''''''''''''(''''''''''3''''''''''5''%'''''')'">
              <a:rPr lang="en-US" altLang="en-US" sz="1000" smtClean="0">
                <a:solidFill>
                  <a:srgbClr val="FFFFFF"/>
                </a:solidFill>
              </a:rPr>
              <a:pPr/>
              <a:t>(3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4" name="Text Placeholder">
            <a:extLst>
              <a:ext uri="{FF2B5EF4-FFF2-40B4-BE49-F238E27FC236}">
                <a16:creationId xmlns:a16="http://schemas.microsoft.com/office/drawing/2014/main" id="{14B28F83-BB0F-4466-8E88-A494FC5F89C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84263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E46285-09EC-4595-857A-B69C86E4B3CC}" type="datetime'''''C''''''''''r''''''''''''''''''''''i''''t''''''eri''a'' 1'">
              <a:rPr lang="en-US" altLang="en-US" sz="1000" smtClean="0">
                <a:solidFill>
                  <a:srgbClr val="000000"/>
                </a:solidFill>
              </a:rPr>
              <a:pPr/>
              <a:t>Criteria 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9" name="Text Placeholder">
            <a:extLst>
              <a:ext uri="{FF2B5EF4-FFF2-40B4-BE49-F238E27FC236}">
                <a16:creationId xmlns:a16="http://schemas.microsoft.com/office/drawing/2014/main" id="{FE6AF22A-7BC5-4108-BB9D-7737936A00C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165349" y="339248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5607D992-12A0-4BF3-9EA2-1E0152313FFE}" type="datetime'''''''''''''''''''''''(''''''''''''2''0%'''''''')'''''''''''''">
              <a:rPr lang="en-US" altLang="en-US" sz="1000" smtClean="0">
                <a:solidFill>
                  <a:srgbClr val="FFFFFF"/>
                </a:solidFill>
              </a:rPr>
              <a:pPr/>
              <a:t>(2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6BD3A7C2-1B0F-40DC-82A6-940BE79D630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165349" y="4271963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53769E1B-DDAE-4BEF-B942-3A73FFC3D734}" type="datetime'''(''''''''''''30''''''''''''%'''''''''''')'''''''''''''''''">
              <a:rPr lang="en-US" altLang="en-US" sz="1000" smtClean="0">
                <a:solidFill>
                  <a:srgbClr val="FFFFFF"/>
                </a:solidFill>
              </a:rPr>
              <a:pPr/>
              <a:t>(3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584C9A33-2D01-4C7D-9F64-2E412CA2843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165349" y="53276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B9DB0D50-A027-4445-9629-08F807A09B88}" type="datetime'''(''''3''0''''''''''''''''''''%'')'''''''''''">
              <a:rPr lang="en-US" altLang="en-US" sz="1000" smtClean="0">
                <a:solidFill>
                  <a:srgbClr val="FFFFFF"/>
                </a:solidFill>
              </a:rPr>
              <a:pPr/>
              <a:t>(3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4FA30F8D-5AF4-4DBE-9D1B-693944DE3F7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305050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1F1B71D-095D-4DC7-A05D-18FDB8BA6F67}" type="datetime'''''Crit''er''''''''''''''''i''''''''''''''a'' ''''2'''">
              <a:rPr lang="en-US" altLang="en-US" sz="1000" smtClean="0">
                <a:solidFill>
                  <a:srgbClr val="000000"/>
                </a:solidFill>
              </a:rPr>
              <a:pPr/>
              <a:t>Criteria 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C0109B90-EFF9-4204-96B9-2D27FD4EE611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384550" y="3462338"/>
            <a:ext cx="808038" cy="152400"/>
          </a:xfrm>
          <a:prstGeom prst="rect">
            <a:avLst/>
          </a:prstGeom>
          <a:solidFill>
            <a:srgbClr val="858585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rgbClr val="FFFFFF"/>
                </a:solidFill>
                <a:effectLst/>
              </a:rPr>
              <a:t>Rank 3 </a:t>
            </a:r>
            <a:fld id="{E3DE6FFA-04F1-41CC-A615-F2E13BE0A3DD}" type="datetime'''''(''''''''''''''''2''''''''''''''''''0''''''''''''''''%)'''">
              <a:rPr lang="en-US" altLang="en-US" sz="1000" smtClean="0">
                <a:solidFill>
                  <a:srgbClr val="FFFFFF"/>
                </a:solidFill>
              </a:rPr>
              <a:pPr/>
              <a:t>(2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3" name="Text Placeholder">
            <a:extLst>
              <a:ext uri="{FF2B5EF4-FFF2-40B4-BE49-F238E27FC236}">
                <a16:creationId xmlns:a16="http://schemas.microsoft.com/office/drawing/2014/main" id="{D533B553-714C-460A-B958-32262C7A85E8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384550" y="4341813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842CCB52-406C-482A-B9B1-6C3F3CF6413C}" type="datetime'(''''''''3''''''''''''''''''''0%'''''''''''')'''''''''''''''">
              <a:rPr lang="en-US" altLang="en-US" sz="1000" smtClean="0">
                <a:solidFill>
                  <a:srgbClr val="FFFFFF"/>
                </a:solidFill>
              </a:rPr>
              <a:pPr/>
              <a:t>(3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28F89879-1925-4B10-B9E8-9F6262A93117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384550" y="5362575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CF229C3C-CC95-4991-B124-510EC6EA7F3F}" type="datetime'''''''''''''''''''''''(''2''''8''''''%'''''''''')'">
              <a:rPr lang="en-US" altLang="en-US" sz="1000" smtClean="0">
                <a:solidFill>
                  <a:srgbClr val="FFFFFF"/>
                </a:solidFill>
              </a:rPr>
              <a:pPr/>
              <a:t>(28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55112F08-4F59-4D53-8895-481AD9C76442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524250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C0CD39-B370-440F-B97F-A162A0B2AA51}" type="datetime'''''Cr''''''''''i''t''''''e''''r''''''''''ia'''''' 3'''''''''">
              <a:rPr lang="en-US" altLang="en-US" sz="1000" smtClean="0">
                <a:solidFill>
                  <a:srgbClr val="000000"/>
                </a:solidFill>
              </a:rPr>
              <a:pPr/>
              <a:t>Criteria 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03A5924D-FC78-42CF-B6EF-2718106B8946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605338" y="37274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528EC4B2-696A-43A2-A172-323F6550AAA3}" type="datetime'''''''''''''(''''''''1''''5%'''''''''''''''''')''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80" name="Text Placeholder">
            <a:extLst>
              <a:ext uri="{FF2B5EF4-FFF2-40B4-BE49-F238E27FC236}">
                <a16:creationId xmlns:a16="http://schemas.microsoft.com/office/drawing/2014/main" id="{5C699247-0C94-473C-A424-DD757CD3899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605338" y="425450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1E40E093-C55F-4AF1-9671-65F0ED89329D}" type="datetime'(''''''''''''''''''''1''5''''''''''''''%'''''''''')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EBE51C89-1048-4FE3-A7ED-4A96FDB4BEE8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605338" y="5186363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9B92C96E-3750-4312-9B96-6ABBEB0304EC}" type="datetime'''''''''''''''''''(3''''''''''''''8''''''''''%'''')'''''''">
              <a:rPr lang="en-US" altLang="en-US" sz="1000" smtClean="0">
                <a:solidFill>
                  <a:srgbClr val="FFFFFF"/>
                </a:solidFill>
              </a:rPr>
              <a:pPr/>
              <a:t>(38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7A5D1E40-0725-464E-8FCF-B13B72730A4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4745038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37CD30-1D69-4BCD-A03D-67DB5D39A22C}" type="datetime'''C''''''ri''''''''''''t''e''r''''i''a'' ''''''''''''4'''''">
              <a:rPr lang="en-US" altLang="en-US" sz="1000" smtClean="0">
                <a:solidFill>
                  <a:srgbClr val="000000"/>
                </a:solidFill>
              </a:rPr>
              <a:pPr/>
              <a:t>Criteria 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B2374933-CE8B-4CC8-882F-D07D1360B5AB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826124" y="3832225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EDB8FAB2-FD33-4115-93B3-96C5A7587AFF}" type="datetime'''(15''%'''''''''''''')''''''''''''''''''''''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5" name="Text Placeholder">
            <a:extLst>
              <a:ext uri="{FF2B5EF4-FFF2-40B4-BE49-F238E27FC236}">
                <a16:creationId xmlns:a16="http://schemas.microsoft.com/office/drawing/2014/main" id="{94A716F0-4D3E-4D50-B5C6-24D2341B24F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826124" y="4360863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F4F6CBB2-ED17-4596-A0DB-DE194734B99E}" type="datetime'(''''''''''''''''''''1''''5''''%'''''''''')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A441515A-4585-4BDD-87BB-95EDC2AACF4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826124" y="52387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8E879726-9AFA-4D44-9271-4A1B1D2EFA8D}" type="datetime'''''''''''(''''''''''''''''''3''5''''''''''%'''')'''''''">
              <a:rPr lang="en-US" altLang="en-US" sz="1000" smtClean="0">
                <a:solidFill>
                  <a:srgbClr val="FFFFFF"/>
                </a:solidFill>
              </a:rPr>
              <a:pPr/>
              <a:t>(3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26FFA03A-4D6D-4F0B-B430-D24EC8C7BF9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5965825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104C8E4-1857-49C3-BD1F-9AFF30815A05}" type="datetime'''''''Cr''i''''''''''''''''t''''''er''''''i''''''''''''a'' 5'">
              <a:rPr lang="en-US" altLang="en-US" sz="1000" smtClean="0">
                <a:solidFill>
                  <a:srgbClr val="000000"/>
                </a:solidFill>
              </a:rPr>
              <a:pPr/>
              <a:t>Criteria 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F7B431B5-F3B8-40D8-B26B-74FDFFE0F81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7046912" y="400843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484739F6-065E-4FB5-AE56-4010E6E27ED3}" type="datetime'(''''''''''''1''''''''''''''5''''%'''''''')''''''''''''''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6" name="Text Placeholder">
            <a:extLst>
              <a:ext uri="{FF2B5EF4-FFF2-40B4-BE49-F238E27FC236}">
                <a16:creationId xmlns:a16="http://schemas.microsoft.com/office/drawing/2014/main" id="{E3BA86B6-7375-44FF-9AB3-A7D2ABD0A8F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7046912" y="453548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8F6C9E02-2A21-427A-99E1-7FEC37194019}" type="datetime'''''''(''''''''''''''1''''5%'''''''''''''''''''''''''''')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2E35F121-F9BD-4EEE-8216-763903865479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7046912" y="53276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CC8ECCCF-73C7-48AB-8158-565C3F5768A1}" type="datetime'''''''''''''''''''''''(''''''''''3''''0''''''''%'''''''')'">
              <a:rPr lang="en-US" altLang="en-US" sz="1000" smtClean="0">
                <a:solidFill>
                  <a:srgbClr val="FFFFFF"/>
                </a:solidFill>
              </a:rPr>
              <a:pPr/>
              <a:t>(3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307F6C69-B484-4237-8CE3-B0C90BC99CF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186613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ACA5F92-3428-41D6-BEB7-FE07FEE1DAE5}" type="datetime'''''''Cr''''''i''t''''e''''''ria ''''6'''''''''''''''''''''">
              <a:rPr lang="en-US" altLang="en-US" sz="1000" smtClean="0">
                <a:solidFill>
                  <a:srgbClr val="000000"/>
                </a:solidFill>
              </a:rPr>
              <a:pPr/>
              <a:t>Criteria 6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07BB689D-94C4-482E-BDCD-753A11B94DC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8266113" y="456088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49591521-88FE-47D0-82B5-2A7327C0A3F7}" type="datetime'''(''''''''''''''''1''''''''''5''%'''''''''''')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7" name="Text Placeholder">
            <a:extLst>
              <a:ext uri="{FF2B5EF4-FFF2-40B4-BE49-F238E27FC236}">
                <a16:creationId xmlns:a16="http://schemas.microsoft.com/office/drawing/2014/main" id="{660DBF89-1D61-4287-934E-2B1137C8977D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8266113" y="508793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7091D9C5-A677-40A8-B36A-65D131EA6949}" type="datetime'(''''''1''''''''''''''''''5''''%'''')''''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75034166-709A-44F1-B3D5-5538D94ADFF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8266113" y="5603875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E3AD9C02-FEEE-4335-8927-5E29D90310DC}" type="datetime'''''''(1''''''''''''''4''''%'''''''''''''''''''''''''''''''')'">
              <a:rPr lang="en-US" altLang="en-US" sz="1000" smtClean="0">
                <a:solidFill>
                  <a:srgbClr val="FFFFFF"/>
                </a:solidFill>
              </a:rPr>
              <a:pPr/>
              <a:t>(14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08B7F1F4-6AFC-4D83-81AB-3E300F405AF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405813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77EF54-E28D-4860-B54E-A6E39F01242A}" type="datetime'''''''''C''''''''''''''''r''it''''e''''''ri''''''a ''7'''''">
              <a:rPr lang="en-US" altLang="en-US" sz="1000" smtClean="0">
                <a:solidFill>
                  <a:srgbClr val="000000"/>
                </a:solidFill>
              </a:rPr>
              <a:pPr/>
              <a:t>Criteria 7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0" name="Text Placeholder">
            <a:extLst>
              <a:ext uri="{FF2B5EF4-FFF2-40B4-BE49-F238E27FC236}">
                <a16:creationId xmlns:a16="http://schemas.microsoft.com/office/drawing/2014/main" id="{673E9C8C-461E-4EF6-9538-715F03AFF40E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330201" y="2084388"/>
            <a:ext cx="9810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% of respondent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A8A07B19-0FB1-486D-97F9-9FF06F7B5A3D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9486900" y="523875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2 </a:t>
            </a:r>
            <a:fld id="{7CBC4A36-ED01-4A7E-B6D2-3E5B4FC82B60}" type="datetime'''''''''''(1''''''''5%'''''''''''''''''''''')''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F4D838D3-86B0-404B-A5E1-E3242C0F6F9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486900" y="5678488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1 </a:t>
            </a:r>
            <a:fld id="{C0C35C4C-92EF-4DED-BE4C-092E39355348}" type="datetime'''''''''''''''''''''(''''''''1''''''''''0%)'''''''''''">
              <a:rPr lang="en-US" altLang="en-US" sz="1000" smtClean="0">
                <a:solidFill>
                  <a:srgbClr val="FFFFFF"/>
                </a:solidFill>
              </a:rPr>
              <a:pPr/>
              <a:t>(10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6F6CD662-8D2D-4C8C-98F6-CBA2D95CBABC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9626600" y="5973763"/>
            <a:ext cx="527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D060D07-3644-4E34-8533-F85995CB029D}" type="datetime'''''''Cr''i''t''''''''''e''''r''''''''''''''ia'' ''''''8'''''">
              <a:rPr lang="en-US" altLang="en-US" sz="1000" smtClean="0">
                <a:solidFill>
                  <a:srgbClr val="000000"/>
                </a:solidFill>
              </a:rPr>
              <a:pPr/>
              <a:t>Criteria 8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2" name="Text Placeholder">
            <a:extLst>
              <a:ext uri="{FF2B5EF4-FFF2-40B4-BE49-F238E27FC236}">
                <a16:creationId xmlns:a16="http://schemas.microsoft.com/office/drawing/2014/main" id="{650B32EB-E917-43BC-93D1-3D23ADE26834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204913" y="27638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D91882-B8A0-4A04-AAF3-C18EBC2591AD}" type="datetime'''''''''''''''''''''8''''''''5''''''''''''''''''''''''''%'">
              <a:rPr lang="en-US" altLang="en-US" sz="1000" smtClean="0">
                <a:solidFill>
                  <a:srgbClr val="000000"/>
                </a:solidFill>
              </a:rPr>
              <a:pPr/>
              <a:t>85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60939D85-9147-43FD-BE4F-95CACB511EBE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2425700" y="2940050"/>
            <a:ext cx="287338" cy="1524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96B737-4C8E-4B7F-8C57-5BD62387D41C}" type="datetime'''''''''''''8''0''''''''''''''''''''''''''''''''''''%''''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8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B6860C3F-BC28-49D5-ADAC-C977DC2D3C8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9486900" y="4711700"/>
            <a:ext cx="808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FFFFFF"/>
                </a:solidFill>
                <a:effectLst/>
              </a:rPr>
              <a:t>Rank </a:t>
            </a:r>
            <a:r>
              <a:rPr lang="en-US" altLang="en-US" sz="1000">
                <a:solidFill>
                  <a:srgbClr val="FFFFFF"/>
                </a:solidFill>
                <a:effectLst/>
              </a:rPr>
              <a:t>3 </a:t>
            </a:r>
            <a:fld id="{29EAE5D1-0A40-478B-92B6-DF0D9F6829C0}" type="datetime'''''''(''1''''''''''''''''''''''5''%'''''''''''''''''')'''">
              <a:rPr lang="en-US" altLang="en-US" sz="1000" smtClean="0">
                <a:solidFill>
                  <a:srgbClr val="FFFFFF"/>
                </a:solidFill>
              </a:rPr>
              <a:pPr/>
              <a:t>(15%)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B7F477C6-0758-444B-8F2E-E33884776AB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865688" y="33623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4BE083-0CE2-4133-9B09-938632B622B1}" type="datetime'''''''6''8''''''''''''''''''''''''''%''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Text Placeholder">
            <a:extLst>
              <a:ext uri="{FF2B5EF4-FFF2-40B4-BE49-F238E27FC236}">
                <a16:creationId xmlns:a16="http://schemas.microsoft.com/office/drawing/2014/main" id="{ADA0F5BC-E378-44DD-9F04-FF86231B6F6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086475" y="346710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0E2862-01B9-42AE-AAE8-C44F4DF012A4}" type="datetime'''''''''65''''''''''''''''%'''''''''''''''''''''''''''''">
              <a:rPr lang="en-US" altLang="en-US" sz="1000" smtClean="0">
                <a:solidFill>
                  <a:srgbClr val="000000"/>
                </a:solidFill>
              </a:rPr>
              <a:pPr/>
              <a:t>65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 Placeholder">
            <a:extLst>
              <a:ext uri="{FF2B5EF4-FFF2-40B4-BE49-F238E27FC236}">
                <a16:creationId xmlns:a16="http://schemas.microsoft.com/office/drawing/2014/main" id="{1CAF0EAC-69AD-46FF-AFA0-5549D1813372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7307263" y="3643313"/>
            <a:ext cx="287338" cy="1524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BE07A28-8188-4933-9B37-05D0403AE706}" type="datetime'''''''''''''''''''6''''''''''''''0%''''''''''''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6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" name="Text Placeholder">
            <a:extLst>
              <a:ext uri="{FF2B5EF4-FFF2-40B4-BE49-F238E27FC236}">
                <a16:creationId xmlns:a16="http://schemas.microsoft.com/office/drawing/2014/main" id="{6DE7ACC1-822E-4DDE-A730-6AE380F6F7A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8526463" y="41957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8DAA99-DE66-425A-8C3C-AE6278D78559}" type="datetime'''''''''''''''''''''''4''''''''''''''4''''''%'">
              <a:rPr lang="en-US" altLang="en-US" sz="1000" smtClean="0">
                <a:solidFill>
                  <a:srgbClr val="000000"/>
                </a:solidFill>
              </a:rPr>
              <a:pPr/>
              <a:t>44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D253E912-3E17-40EA-BAB0-B6B2B8EF85F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9747250" y="434657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AA0A08-4FD6-4DCE-856A-3E90A0A52E08}" type="datetime'4''''0''''''''''''%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4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249614B9-13BC-4A91-A9CF-AB70D84BB468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3644900" y="3009900"/>
            <a:ext cx="287338" cy="1524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F8A96C-8C5F-4E48-BA12-5D14A668CC28}" type="datetime'''''''7''8''''''''''%'">
              <a:rPr lang="en-US" altLang="en-US" sz="1000" smtClean="0">
                <a:solidFill>
                  <a:srgbClr val="000000"/>
                </a:solidFill>
                <a:effectLst/>
              </a:rPr>
              <a:pPr/>
              <a:t>78%</a:t>
            </a:fld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6EC83817-8F45-4069-A6A4-2AA40FC1E5A2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10718800" y="5173663"/>
            <a:ext cx="104775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862845C-4190-4308-B4CB-F07DC0D58EF2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10718800" y="5346700"/>
            <a:ext cx="104775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CDDDC2A-3D62-47D2-A96F-0559F243BBB8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10718800" y="5519738"/>
            <a:ext cx="104775" cy="0"/>
          </a:xfrm>
          <a:prstGeom prst="line">
            <a:avLst/>
          </a:prstGeom>
          <a:ln w="38100" cap="rnd" cmpd="sng" algn="ctr">
            <a:solidFill>
              <a:srgbClr val="C6AA3D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B173D11C-D57C-47A6-8277-43A48F79875E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10718800" y="5692775"/>
            <a:ext cx="104775" cy="0"/>
          </a:xfrm>
          <a:prstGeom prst="line">
            <a:avLst/>
          </a:prstGeom>
          <a:ln w="38100" cap="rnd" cmpd="sng" algn="ctr">
            <a:solidFill>
              <a:srgbClr val="83AC9A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22B9DA3-0580-44D0-BB6C-D13F1C20BA4B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0718800" y="5865813"/>
            <a:ext cx="104775" cy="0"/>
          </a:xfrm>
          <a:prstGeom prst="line">
            <a:avLst/>
          </a:prstGeom>
          <a:ln w="38100" cap="rnd" cmpd="sng" algn="ctr">
            <a:solidFill>
              <a:srgbClr val="F2DE8A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41934C08-6E00-4A5F-8395-C50B7C3F9043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893425" y="5116513"/>
            <a:ext cx="736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4A2576F-33BF-4FFB-BB9A-25E263FB66DA}" type="datetime'''D''u''''''''''m''m''''y'' ''''''''B''r''a''''''n''d ''1'''''">
              <a:rPr lang="en-US" altLang="en-US" sz="800" smtClean="0">
                <a:solidFill>
                  <a:srgbClr val="000000"/>
                </a:solidFill>
              </a:rPr>
              <a:pPr/>
              <a:t>Dummy Brand 1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6ED903BD-6078-4696-BE81-A5C3EC66FC6A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0893425" y="5289550"/>
            <a:ext cx="736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2D84B26-D817-49D7-84A5-AB4B74425541}" type="datetime'D''''u''''m''''''''''m''y'''''''''''''''''' ''Bra''''''nd'' 2'">
              <a:rPr lang="en-US" altLang="en-US" sz="800" smtClean="0">
                <a:solidFill>
                  <a:srgbClr val="000000"/>
                </a:solidFill>
              </a:rPr>
              <a:pPr/>
              <a:t>Dummy Brand 2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4C14F443-3B5D-46F5-B146-944B16DA64F2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893425" y="5462588"/>
            <a:ext cx="736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F475D6E-B0D5-4E45-9673-8DC6B97D94CF}" type="datetime'''Dum''''''''m''''y'''' ''Bran''d'''''' ''''''''''3'''">
              <a:rPr lang="en-US" altLang="en-US" sz="800" smtClean="0">
                <a:solidFill>
                  <a:srgbClr val="000000"/>
                </a:solidFill>
              </a:rPr>
              <a:pPr/>
              <a:t>Dummy Brand 3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2579AFA1-075A-4E0C-A1D1-B65FCEB3D5F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893425" y="5635625"/>
            <a:ext cx="736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C8C7310-0DD7-4C18-B098-B9B09791FD18}" type="datetime'''D''''u''m''''''m''''''''y'''''''' B''''ra''''''nd'''' 4'''''">
              <a:rPr lang="en-US" altLang="en-US" sz="800" smtClean="0">
                <a:solidFill>
                  <a:srgbClr val="000000"/>
                </a:solidFill>
              </a:rPr>
              <a:pPr/>
              <a:t>Dummy Brand 4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0" name="Text Placeholder">
            <a:extLst>
              <a:ext uri="{FF2B5EF4-FFF2-40B4-BE49-F238E27FC236}">
                <a16:creationId xmlns:a16="http://schemas.microsoft.com/office/drawing/2014/main" id="{0B31E7EF-CAEA-414A-BA30-4237C9C5EB5A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893425" y="5808663"/>
            <a:ext cx="736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A4D52F4-C5B9-4D2A-B28D-7519A8634304}" type="datetime'''''''''''D''u''''''m''m''''y'' ''''B''''''''''r''an''d'''' 5'">
              <a:rPr lang="en-US" altLang="en-US" sz="800" smtClean="0">
                <a:solidFill>
                  <a:srgbClr val="000000"/>
                </a:solidFill>
              </a:rPr>
              <a:pPr/>
              <a:t>Dummy Brand 5</a:t>
            </a:fld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10" name="btfpStatusSticker411935">
            <a:extLst>
              <a:ext uri="{FF2B5EF4-FFF2-40B4-BE49-F238E27FC236}">
                <a16:creationId xmlns:a16="http://schemas.microsoft.com/office/drawing/2014/main" id="{931F556D-E2FB-7065-D135-3BFE7E3220A2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11" name="btfpStatusStickerText411935">
              <a:extLst>
                <a:ext uri="{FF2B5EF4-FFF2-40B4-BE49-F238E27FC236}">
                  <a16:creationId xmlns:a16="http://schemas.microsoft.com/office/drawing/2014/main" id="{062BAA58-E4B6-4933-D702-EB337A67BBDB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12" name="btfpStatusStickerLine411935">
              <a:extLst>
                <a:ext uri="{FF2B5EF4-FFF2-40B4-BE49-F238E27FC236}">
                  <a16:creationId xmlns:a16="http://schemas.microsoft.com/office/drawing/2014/main" id="{41E9F796-7F8A-9E3C-0387-84D1CFF8810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3933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btfpColumnIndicatorGroup2">
            <a:extLst>
              <a:ext uri="{FF2B5EF4-FFF2-40B4-BE49-F238E27FC236}">
                <a16:creationId xmlns:a16="http://schemas.microsoft.com/office/drawing/2014/main" id="{9F778008-0023-C6BA-350D-3E346886342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534766">
              <a:extLst>
                <a:ext uri="{FF2B5EF4-FFF2-40B4-BE49-F238E27FC236}">
                  <a16:creationId xmlns:a16="http://schemas.microsoft.com/office/drawing/2014/main" id="{CD25BADF-1A07-55C6-E4C6-E9C1FBE5B42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77159">
              <a:extLst>
                <a:ext uri="{FF2B5EF4-FFF2-40B4-BE49-F238E27FC236}">
                  <a16:creationId xmlns:a16="http://schemas.microsoft.com/office/drawing/2014/main" id="{BD127076-765A-1E10-22C0-231FB65C0A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999369">
              <a:extLst>
                <a:ext uri="{FF2B5EF4-FFF2-40B4-BE49-F238E27FC236}">
                  <a16:creationId xmlns:a16="http://schemas.microsoft.com/office/drawing/2014/main" id="{0F2928D2-10A4-111E-E2FD-7BB439349F7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614548">
              <a:extLst>
                <a:ext uri="{FF2B5EF4-FFF2-40B4-BE49-F238E27FC236}">
                  <a16:creationId xmlns:a16="http://schemas.microsoft.com/office/drawing/2014/main" id="{C41E633C-8DDE-99D4-B168-257C9B7959C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btfpColumnIndicatorGroup1">
            <a:extLst>
              <a:ext uri="{FF2B5EF4-FFF2-40B4-BE49-F238E27FC236}">
                <a16:creationId xmlns:a16="http://schemas.microsoft.com/office/drawing/2014/main" id="{0B30136B-5A8A-10D6-B72C-18187153569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493690">
              <a:extLst>
                <a:ext uri="{FF2B5EF4-FFF2-40B4-BE49-F238E27FC236}">
                  <a16:creationId xmlns:a16="http://schemas.microsoft.com/office/drawing/2014/main" id="{F668F9D0-9A26-2480-641D-48132FC7AA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450144">
              <a:extLst>
                <a:ext uri="{FF2B5EF4-FFF2-40B4-BE49-F238E27FC236}">
                  <a16:creationId xmlns:a16="http://schemas.microsoft.com/office/drawing/2014/main" id="{7C9D7197-03E8-D1CE-EA4F-CC36E936119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857391">
              <a:extLst>
                <a:ext uri="{FF2B5EF4-FFF2-40B4-BE49-F238E27FC236}">
                  <a16:creationId xmlns:a16="http://schemas.microsoft.com/office/drawing/2014/main" id="{1F909F7F-2A5B-CCD6-8BA5-6DB3A063226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836560">
              <a:extLst>
                <a:ext uri="{FF2B5EF4-FFF2-40B4-BE49-F238E27FC236}">
                  <a16:creationId xmlns:a16="http://schemas.microsoft.com/office/drawing/2014/main" id="{825F2D7D-88BF-68BF-9E63-4905A612F64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A754E4F3-0954-4E0F-A897-6224E46AFE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384" imgH="384" progId="TCLayout.ActiveDocument.1">
                  <p:embed/>
                </p:oleObj>
              </mc:Choice>
              <mc:Fallback>
                <p:oleObj name="think-cell Slide" r:id="rId65" imgW="384" imgH="38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4E4F3-0954-4E0F-A897-6224E46AF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btfpNotesBox830104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Indexed score based on weighting of responses (weights: rank 1 = 5, rank 2 = 4, rank 3 = 3, rank 4 = 2, rank 5 = 5)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aphicFrame>
        <p:nvGraphicFramePr>
          <p:cNvPr id="3" name="btfpTable578632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200" y="1709537"/>
          <a:ext cx="11526839" cy="4381706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3309559">
                  <a:extLst>
                    <a:ext uri="{9D8B030D-6E8A-4147-A177-3AD203B41FA5}">
                      <a16:colId xmlns:a16="http://schemas.microsoft.com/office/drawing/2014/main" val="512103429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878620873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964047177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1317914080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3510199639"/>
                    </a:ext>
                  </a:extLst>
                </a:gridCol>
                <a:gridCol w="1643456">
                  <a:extLst>
                    <a:ext uri="{9D8B030D-6E8A-4147-A177-3AD203B41FA5}">
                      <a16:colId xmlns:a16="http://schemas.microsoft.com/office/drawing/2014/main" val="2167346835"/>
                    </a:ext>
                  </a:extLst>
                </a:gridCol>
              </a:tblGrid>
              <a:tr h="358346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/>
                        <a:t>Purchasing</a:t>
                      </a:r>
                      <a:r>
                        <a:rPr lang="en-US" sz="1050" baseline="0" dirty="0"/>
                        <a:t> criteria</a:t>
                      </a:r>
                      <a:endParaRPr lang="en-US" sz="105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/>
                        <a:t>Overall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/>
                        <a:t>Small business (N=XX)</a:t>
                      </a:r>
                      <a:endParaRPr lang="en-US" sz="105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/>
                        <a:t>Emerging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/>
                        <a:t>Corporate (N=XX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dirty="0"/>
                        <a:t>Enterprise (N=XX)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616192537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365074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iteria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0653446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3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2518495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827960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5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9752109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9018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942729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793073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66113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teria 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67984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KPC: </a:t>
            </a:r>
            <a:r>
              <a:rPr lang="en-US"/>
              <a:t>Segment level KPC</a:t>
            </a:r>
            <a:endParaRPr lang="en-US" dirty="0"/>
          </a:p>
        </p:txBody>
      </p:sp>
      <p:sp>
        <p:nvSpPr>
          <p:cNvPr id="10" name="btfpLayoutConfig"/>
          <p:cNvSpPr txBox="1"/>
          <p:nvPr/>
        </p:nvSpPr>
        <p:spPr bwMode="gray">
          <a:xfrm>
            <a:off x="12700" y="12700"/>
            <a:ext cx="72031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85026837394640 columns_1_132585536066547926 9_1_132574734567324920 3_1_132585535896783573 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40699" y="1268412"/>
            <a:ext cx="11510599" cy="5417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rank the 5 most important criteria you use when selecting a payment service provider for Direct Debit payments?</a:t>
            </a:r>
            <a:b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ich of the following best describes your company’s industry?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C9F682E-DF05-4A1C-8AEA-E22FC38C78C2}"/>
              </a:ext>
            </a:extLst>
          </p:cNvPr>
          <p:cNvSpPr/>
          <p:nvPr/>
        </p:nvSpPr>
        <p:spPr bwMode="gray">
          <a:xfrm>
            <a:off x="8260473" y="6395565"/>
            <a:ext cx="144000" cy="144000"/>
          </a:xfrm>
          <a:prstGeom prst="rect">
            <a:avLst/>
          </a:prstGeom>
          <a:solidFill>
            <a:srgbClr val="5C5C5C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 type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528054-AE20-4844-951D-AFA7E42C5A4B}"/>
              </a:ext>
            </a:extLst>
          </p:cNvPr>
          <p:cNvSpPr/>
          <p:nvPr/>
        </p:nvSpPr>
        <p:spPr bwMode="gray">
          <a:xfrm>
            <a:off x="9336952" y="6395565"/>
            <a:ext cx="144000" cy="144000"/>
          </a:xfrm>
          <a:prstGeom prst="rect">
            <a:avLst/>
          </a:prstGeom>
          <a:solidFill>
            <a:srgbClr val="46647B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 type 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CB7F773-F6B6-4D0C-96A6-C8B67EB7ADAE}"/>
              </a:ext>
            </a:extLst>
          </p:cNvPr>
          <p:cNvSpPr/>
          <p:nvPr/>
        </p:nvSpPr>
        <p:spPr bwMode="gray">
          <a:xfrm>
            <a:off x="10356386" y="6395565"/>
            <a:ext cx="144000" cy="144000"/>
          </a:xfrm>
          <a:prstGeom prst="rect">
            <a:avLst/>
          </a:prstGeom>
          <a:solidFill>
            <a:srgbClr val="507867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C00000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 type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88D7C36-CA63-4D87-82DA-3FF14A58F44B}"/>
              </a:ext>
            </a:extLst>
          </p:cNvPr>
          <p:cNvSpPr/>
          <p:nvPr/>
        </p:nvSpPr>
        <p:spPr bwMode="gray">
          <a:xfrm>
            <a:off x="11421501" y="6395565"/>
            <a:ext cx="144000" cy="144000"/>
          </a:xfrm>
          <a:prstGeom prst="rect">
            <a:avLst/>
          </a:prstGeom>
          <a:solidFill>
            <a:srgbClr val="D6D6D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</a:t>
            </a:r>
          </a:p>
        </p:txBody>
      </p:sp>
      <p:grpSp>
        <p:nvGrpSpPr>
          <p:cNvPr id="64" name="btfpRunningAgenda2Level895607">
            <a:extLst>
              <a:ext uri="{FF2B5EF4-FFF2-40B4-BE49-F238E27FC236}">
                <a16:creationId xmlns:a16="http://schemas.microsoft.com/office/drawing/2014/main" id="{3B2C61E1-6CFE-4331-8E2A-ECD344BBF6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3872915" cy="257442"/>
            <a:chOff x="-1" y="876300"/>
            <a:chExt cx="3872915" cy="257442"/>
          </a:xfrm>
        </p:grpSpPr>
        <p:sp>
          <p:nvSpPr>
            <p:cNvPr id="65" name="btfpRunningAgenda2LevelBarLeft895607">
              <a:extLst>
                <a:ext uri="{FF2B5EF4-FFF2-40B4-BE49-F238E27FC236}">
                  <a16:creationId xmlns:a16="http://schemas.microsoft.com/office/drawing/2014/main" id="{F2583BA5-F909-43A4-A6DF-75900BC0E9E4}"/>
                </a:ext>
              </a:extLst>
            </p:cNvPr>
            <p:cNvSpPr/>
            <p:nvPr/>
          </p:nvSpPr>
          <p:spPr bwMode="gray">
            <a:xfrm>
              <a:off x="-1" y="876300"/>
              <a:ext cx="1279417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7" h="257442">
                  <a:moveTo>
                    <a:pt x="1279417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btfpRunningAgenda2LevelTextLeft895607">
              <a:extLst>
                <a:ext uri="{FF2B5EF4-FFF2-40B4-BE49-F238E27FC236}">
                  <a16:creationId xmlns:a16="http://schemas.microsoft.com/office/drawing/2014/main" id="{5BF8C214-55A5-4938-8E59-C1CF06BC1E10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PC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btfpRunningAgenda2LevelBarRight895607">
              <a:extLst>
                <a:ext uri="{FF2B5EF4-FFF2-40B4-BE49-F238E27FC236}">
                  <a16:creationId xmlns:a16="http://schemas.microsoft.com/office/drawing/2014/main" id="{838C05B0-DCE4-4A06-B436-7FCDAD140A00}"/>
                </a:ext>
              </a:extLst>
            </p:cNvPr>
            <p:cNvSpPr/>
            <p:nvPr/>
          </p:nvSpPr>
          <p:spPr bwMode="gray">
            <a:xfrm>
              <a:off x="1144574" y="876300"/>
              <a:ext cx="272834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500631 w 1500631"/>
                <a:gd name="connsiteY0" fmla="*/ 0 h 257442"/>
                <a:gd name="connsiteX1" fmla="*/ 1259961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829247 w 1829247"/>
                <a:gd name="connsiteY0" fmla="*/ 0 h 257442"/>
                <a:gd name="connsiteX1" fmla="*/ 1606210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1829247 w 1829247"/>
                <a:gd name="connsiteY0" fmla="*/ 0 h 257442"/>
                <a:gd name="connsiteX1" fmla="*/ 1774526 w 1829247"/>
                <a:gd name="connsiteY1" fmla="*/ 257442 h 257442"/>
                <a:gd name="connsiteX2" fmla="*/ 0 w 1829247"/>
                <a:gd name="connsiteY2" fmla="*/ 257442 h 257442"/>
                <a:gd name="connsiteX3" fmla="*/ 54721 w 1829247"/>
                <a:gd name="connsiteY3" fmla="*/ 0 h 257442"/>
                <a:gd name="connsiteX0" fmla="*/ 2149847 w 2149847"/>
                <a:gd name="connsiteY0" fmla="*/ 0 h 257442"/>
                <a:gd name="connsiteX1" fmla="*/ 17745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1981532 w 2095126"/>
                <a:gd name="connsiteY0" fmla="*/ 0 h 257442"/>
                <a:gd name="connsiteX1" fmla="*/ 2095126 w 2095126"/>
                <a:gd name="connsiteY1" fmla="*/ 257442 h 257442"/>
                <a:gd name="connsiteX2" fmla="*/ 0 w 2095126"/>
                <a:gd name="connsiteY2" fmla="*/ 257442 h 257442"/>
                <a:gd name="connsiteX3" fmla="*/ 54721 w 2095126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2306749 w 2306749"/>
                <a:gd name="connsiteY0" fmla="*/ 0 h 257442"/>
                <a:gd name="connsiteX1" fmla="*/ 1926811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2306749 w 2306749"/>
                <a:gd name="connsiteY0" fmla="*/ 0 h 257442"/>
                <a:gd name="connsiteX1" fmla="*/ 2252028 w 2306749"/>
                <a:gd name="connsiteY1" fmla="*/ 257442 h 257442"/>
                <a:gd name="connsiteX2" fmla="*/ 0 w 2306749"/>
                <a:gd name="connsiteY2" fmla="*/ 257442 h 257442"/>
                <a:gd name="connsiteX3" fmla="*/ 54721 w 2306749"/>
                <a:gd name="connsiteY3" fmla="*/ 0 h 257442"/>
                <a:gd name="connsiteX0" fmla="*/ 934771 w 2252028"/>
                <a:gd name="connsiteY0" fmla="*/ 0 h 257442"/>
                <a:gd name="connsiteX1" fmla="*/ 2252028 w 2252028"/>
                <a:gd name="connsiteY1" fmla="*/ 257442 h 257442"/>
                <a:gd name="connsiteX2" fmla="*/ 0 w 2252028"/>
                <a:gd name="connsiteY2" fmla="*/ 257442 h 257442"/>
                <a:gd name="connsiteX3" fmla="*/ 54721 w 2252028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9946 w 1109946"/>
                <a:gd name="connsiteY0" fmla="*/ 0 h 257442"/>
                <a:gd name="connsiteX1" fmla="*/ 880049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6 w 1109946"/>
                <a:gd name="connsiteY0" fmla="*/ 0 h 257442"/>
                <a:gd name="connsiteX1" fmla="*/ 1055225 w 1109946"/>
                <a:gd name="connsiteY1" fmla="*/ 257442 h 257442"/>
                <a:gd name="connsiteX2" fmla="*/ 0 w 1109946"/>
                <a:gd name="connsiteY2" fmla="*/ 257442 h 257442"/>
                <a:gd name="connsiteX3" fmla="*/ 54720 w 1109946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1 w 1109947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270249 w 1270249"/>
                <a:gd name="connsiteY0" fmla="*/ 0 h 257442"/>
                <a:gd name="connsiteX1" fmla="*/ 1055226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9 w 1270249"/>
                <a:gd name="connsiteY0" fmla="*/ 0 h 257442"/>
                <a:gd name="connsiteX1" fmla="*/ 1215528 w 1270249"/>
                <a:gd name="connsiteY1" fmla="*/ 257442 h 257442"/>
                <a:gd name="connsiteX2" fmla="*/ 0 w 1270249"/>
                <a:gd name="connsiteY2" fmla="*/ 257442 h 257442"/>
                <a:gd name="connsiteX3" fmla="*/ 54722 w 1270249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1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54720 w 1270248"/>
                <a:gd name="connsiteY3" fmla="*/ 0 h 257442"/>
                <a:gd name="connsiteX0" fmla="*/ 1536793 w 1536793"/>
                <a:gd name="connsiteY0" fmla="*/ 0 h 257442"/>
                <a:gd name="connsiteX1" fmla="*/ 1215527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3 w 1536793"/>
                <a:gd name="connsiteY0" fmla="*/ 0 h 257442"/>
                <a:gd name="connsiteX1" fmla="*/ 1482072 w 1536793"/>
                <a:gd name="connsiteY1" fmla="*/ 257442 h 257442"/>
                <a:gd name="connsiteX2" fmla="*/ 0 w 1536793"/>
                <a:gd name="connsiteY2" fmla="*/ 257442 h 257442"/>
                <a:gd name="connsiteX3" fmla="*/ 54720 w 1536793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536794 w 1536794"/>
                <a:gd name="connsiteY0" fmla="*/ 0 h 257442"/>
                <a:gd name="connsiteX1" fmla="*/ 1482073 w 1536794"/>
                <a:gd name="connsiteY1" fmla="*/ 257442 h 257442"/>
                <a:gd name="connsiteX2" fmla="*/ 0 w 1536794"/>
                <a:gd name="connsiteY2" fmla="*/ 257442 h 257442"/>
                <a:gd name="connsiteX3" fmla="*/ 54721 w 1536794"/>
                <a:gd name="connsiteY3" fmla="*/ 0 h 257442"/>
                <a:gd name="connsiteX0" fmla="*/ 1697095 w 1697095"/>
                <a:gd name="connsiteY0" fmla="*/ 0 h 257442"/>
                <a:gd name="connsiteX1" fmla="*/ 1482073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697095 w 1697095"/>
                <a:gd name="connsiteY0" fmla="*/ 0 h 257442"/>
                <a:gd name="connsiteX1" fmla="*/ 1642374 w 1697095"/>
                <a:gd name="connsiteY1" fmla="*/ 257442 h 257442"/>
                <a:gd name="connsiteX2" fmla="*/ 0 w 1697095"/>
                <a:gd name="connsiteY2" fmla="*/ 257442 h 257442"/>
                <a:gd name="connsiteX3" fmla="*/ 54721 w 1697095"/>
                <a:gd name="connsiteY3" fmla="*/ 0 h 257442"/>
                <a:gd name="connsiteX0" fmla="*/ 1865411 w 1865411"/>
                <a:gd name="connsiteY0" fmla="*/ 0 h 257442"/>
                <a:gd name="connsiteX1" fmla="*/ 1642374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2025711 w 2025711"/>
                <a:gd name="connsiteY0" fmla="*/ 0 h 257442"/>
                <a:gd name="connsiteX1" fmla="*/ 18106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2025711 w 2025711"/>
                <a:gd name="connsiteY0" fmla="*/ 0 h 257442"/>
                <a:gd name="connsiteX1" fmla="*/ 1970990 w 2025711"/>
                <a:gd name="connsiteY1" fmla="*/ 257442 h 257442"/>
                <a:gd name="connsiteX2" fmla="*/ 0 w 2025711"/>
                <a:gd name="connsiteY2" fmla="*/ 257442 h 257442"/>
                <a:gd name="connsiteX3" fmla="*/ 54721 w 2025711"/>
                <a:gd name="connsiteY3" fmla="*/ 0 h 257442"/>
                <a:gd name="connsiteX0" fmla="*/ 1865411 w 1970990"/>
                <a:gd name="connsiteY0" fmla="*/ 0 h 257442"/>
                <a:gd name="connsiteX1" fmla="*/ 1970990 w 1970990"/>
                <a:gd name="connsiteY1" fmla="*/ 257442 h 257442"/>
                <a:gd name="connsiteX2" fmla="*/ 0 w 1970990"/>
                <a:gd name="connsiteY2" fmla="*/ 257442 h 257442"/>
                <a:gd name="connsiteX3" fmla="*/ 54721 w 1970990"/>
                <a:gd name="connsiteY3" fmla="*/ 0 h 257442"/>
                <a:gd name="connsiteX0" fmla="*/ 1865411 w 1865411"/>
                <a:gd name="connsiteY0" fmla="*/ 0 h 257442"/>
                <a:gd name="connsiteX1" fmla="*/ 1810690 w 1865411"/>
                <a:gd name="connsiteY1" fmla="*/ 257442 h 257442"/>
                <a:gd name="connsiteX2" fmla="*/ 0 w 1865411"/>
                <a:gd name="connsiteY2" fmla="*/ 257442 h 257442"/>
                <a:gd name="connsiteX3" fmla="*/ 54721 w 1865411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  <a:gd name="connsiteX0" fmla="*/ 1865410 w 1865410"/>
                <a:gd name="connsiteY0" fmla="*/ 0 h 257442"/>
                <a:gd name="connsiteX1" fmla="*/ 1810689 w 1865410"/>
                <a:gd name="connsiteY1" fmla="*/ 257442 h 257442"/>
                <a:gd name="connsiteX2" fmla="*/ 0 w 1865410"/>
                <a:gd name="connsiteY2" fmla="*/ 257442 h 257442"/>
                <a:gd name="connsiteX3" fmla="*/ 54720 w 1865410"/>
                <a:gd name="connsiteY3" fmla="*/ 0 h 257442"/>
                <a:gd name="connsiteX0" fmla="*/ 950800 w 1810689"/>
                <a:gd name="connsiteY0" fmla="*/ 0 h 257442"/>
                <a:gd name="connsiteX1" fmla="*/ 1810689 w 1810689"/>
                <a:gd name="connsiteY1" fmla="*/ 257442 h 257442"/>
                <a:gd name="connsiteX2" fmla="*/ 0 w 1810689"/>
                <a:gd name="connsiteY2" fmla="*/ 257442 h 257442"/>
                <a:gd name="connsiteX3" fmla="*/ 54720 w 1810689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420289 w 1420289"/>
                <a:gd name="connsiteY0" fmla="*/ 0 h 257442"/>
                <a:gd name="connsiteX1" fmla="*/ 1056380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420289 w 1420289"/>
                <a:gd name="connsiteY0" fmla="*/ 0 h 257442"/>
                <a:gd name="connsiteX1" fmla="*/ 1365568 w 1420289"/>
                <a:gd name="connsiteY1" fmla="*/ 257442 h 257442"/>
                <a:gd name="connsiteX2" fmla="*/ 0 w 1420289"/>
                <a:gd name="connsiteY2" fmla="*/ 257442 h 257442"/>
                <a:gd name="connsiteX3" fmla="*/ 54721 w 1420289"/>
                <a:gd name="connsiteY3" fmla="*/ 0 h 257442"/>
                <a:gd name="connsiteX0" fmla="*/ 1673563 w 1673563"/>
                <a:gd name="connsiteY0" fmla="*/ 0 h 257442"/>
                <a:gd name="connsiteX1" fmla="*/ 1365568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673563 w 1673563"/>
                <a:gd name="connsiteY0" fmla="*/ 0 h 257442"/>
                <a:gd name="connsiteX1" fmla="*/ 1618842 w 1673563"/>
                <a:gd name="connsiteY1" fmla="*/ 257442 h 257442"/>
                <a:gd name="connsiteX2" fmla="*/ 0 w 1673563"/>
                <a:gd name="connsiteY2" fmla="*/ 257442 h 257442"/>
                <a:gd name="connsiteX3" fmla="*/ 54721 w 1673563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54721 w 1833863"/>
                <a:gd name="connsiteY3" fmla="*/ 0 h 257442"/>
                <a:gd name="connsiteX0" fmla="*/ 2002178 w 2002178"/>
                <a:gd name="connsiteY0" fmla="*/ 0 h 257442"/>
                <a:gd name="connsiteX1" fmla="*/ 1779142 w 2002178"/>
                <a:gd name="connsiteY1" fmla="*/ 257442 h 257442"/>
                <a:gd name="connsiteX2" fmla="*/ 0 w 2002178"/>
                <a:gd name="connsiteY2" fmla="*/ 257442 h 257442"/>
                <a:gd name="connsiteX3" fmla="*/ 54721 w 2002178"/>
                <a:gd name="connsiteY3" fmla="*/ 0 h 257442"/>
                <a:gd name="connsiteX0" fmla="*/ 2002178 w 2002178"/>
                <a:gd name="connsiteY0" fmla="*/ 0 h 257442"/>
                <a:gd name="connsiteX1" fmla="*/ 1947456 w 2002178"/>
                <a:gd name="connsiteY1" fmla="*/ 257442 h 257442"/>
                <a:gd name="connsiteX2" fmla="*/ 0 w 2002178"/>
                <a:gd name="connsiteY2" fmla="*/ 257442 h 257442"/>
                <a:gd name="connsiteX3" fmla="*/ 54721 w 2002178"/>
                <a:gd name="connsiteY3" fmla="*/ 0 h 257442"/>
                <a:gd name="connsiteX0" fmla="*/ 2002179 w 2002179"/>
                <a:gd name="connsiteY0" fmla="*/ 0 h 257442"/>
                <a:gd name="connsiteX1" fmla="*/ 1947457 w 2002179"/>
                <a:gd name="connsiteY1" fmla="*/ 257442 h 257442"/>
                <a:gd name="connsiteX2" fmla="*/ 0 w 2002179"/>
                <a:gd name="connsiteY2" fmla="*/ 257442 h 257442"/>
                <a:gd name="connsiteX3" fmla="*/ 54722 w 2002179"/>
                <a:gd name="connsiteY3" fmla="*/ 0 h 257442"/>
                <a:gd name="connsiteX0" fmla="*/ 2002179 w 2002179"/>
                <a:gd name="connsiteY0" fmla="*/ 0 h 257442"/>
                <a:gd name="connsiteX1" fmla="*/ 1947457 w 2002179"/>
                <a:gd name="connsiteY1" fmla="*/ 257442 h 257442"/>
                <a:gd name="connsiteX2" fmla="*/ 0 w 2002179"/>
                <a:gd name="connsiteY2" fmla="*/ 257442 h 257442"/>
                <a:gd name="connsiteX3" fmla="*/ 54722 w 2002179"/>
                <a:gd name="connsiteY3" fmla="*/ 0 h 257442"/>
                <a:gd name="connsiteX0" fmla="*/ 2263469 w 2263469"/>
                <a:gd name="connsiteY0" fmla="*/ 0 h 257442"/>
                <a:gd name="connsiteX1" fmla="*/ 1947457 w 2263469"/>
                <a:gd name="connsiteY1" fmla="*/ 257442 h 257442"/>
                <a:gd name="connsiteX2" fmla="*/ 0 w 2263469"/>
                <a:gd name="connsiteY2" fmla="*/ 257442 h 257442"/>
                <a:gd name="connsiteX3" fmla="*/ 54722 w 2263469"/>
                <a:gd name="connsiteY3" fmla="*/ 0 h 257442"/>
                <a:gd name="connsiteX0" fmla="*/ 2263469 w 2263469"/>
                <a:gd name="connsiteY0" fmla="*/ 0 h 257442"/>
                <a:gd name="connsiteX1" fmla="*/ 2208748 w 2263469"/>
                <a:gd name="connsiteY1" fmla="*/ 257442 h 257442"/>
                <a:gd name="connsiteX2" fmla="*/ 0 w 2263469"/>
                <a:gd name="connsiteY2" fmla="*/ 257442 h 257442"/>
                <a:gd name="connsiteX3" fmla="*/ 54722 w 2263469"/>
                <a:gd name="connsiteY3" fmla="*/ 0 h 257442"/>
                <a:gd name="connsiteX0" fmla="*/ 2263468 w 2263468"/>
                <a:gd name="connsiteY0" fmla="*/ 0 h 257442"/>
                <a:gd name="connsiteX1" fmla="*/ 2208747 w 2263468"/>
                <a:gd name="connsiteY1" fmla="*/ 257442 h 257442"/>
                <a:gd name="connsiteX2" fmla="*/ 0 w 2263468"/>
                <a:gd name="connsiteY2" fmla="*/ 257442 h 257442"/>
                <a:gd name="connsiteX3" fmla="*/ 54721 w 2263468"/>
                <a:gd name="connsiteY3" fmla="*/ 0 h 257442"/>
                <a:gd name="connsiteX0" fmla="*/ 2263468 w 2263468"/>
                <a:gd name="connsiteY0" fmla="*/ 0 h 257442"/>
                <a:gd name="connsiteX1" fmla="*/ 2208747 w 2263468"/>
                <a:gd name="connsiteY1" fmla="*/ 257442 h 257442"/>
                <a:gd name="connsiteX2" fmla="*/ 0 w 2263468"/>
                <a:gd name="connsiteY2" fmla="*/ 257442 h 257442"/>
                <a:gd name="connsiteX3" fmla="*/ 54720 w 2263468"/>
                <a:gd name="connsiteY3" fmla="*/ 0 h 257442"/>
                <a:gd name="connsiteX0" fmla="*/ 2524756 w 2524756"/>
                <a:gd name="connsiteY0" fmla="*/ 0 h 257442"/>
                <a:gd name="connsiteX1" fmla="*/ 2208747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6 w 2524756"/>
                <a:gd name="connsiteY0" fmla="*/ 0 h 257442"/>
                <a:gd name="connsiteX1" fmla="*/ 2470035 w 2524756"/>
                <a:gd name="connsiteY1" fmla="*/ 257442 h 257442"/>
                <a:gd name="connsiteX2" fmla="*/ 0 w 2524756"/>
                <a:gd name="connsiteY2" fmla="*/ 257442 h 257442"/>
                <a:gd name="connsiteX3" fmla="*/ 54720 w 2524756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1 w 2524757"/>
                <a:gd name="connsiteY3" fmla="*/ 0 h 257442"/>
                <a:gd name="connsiteX0" fmla="*/ 2524757 w 2524757"/>
                <a:gd name="connsiteY0" fmla="*/ 0 h 257442"/>
                <a:gd name="connsiteX1" fmla="*/ 2470036 w 2524757"/>
                <a:gd name="connsiteY1" fmla="*/ 257442 h 257442"/>
                <a:gd name="connsiteX2" fmla="*/ 0 w 2524757"/>
                <a:gd name="connsiteY2" fmla="*/ 257442 h 257442"/>
                <a:gd name="connsiteX3" fmla="*/ 54722 w 2524757"/>
                <a:gd name="connsiteY3" fmla="*/ 0 h 257442"/>
                <a:gd name="connsiteX0" fmla="*/ 2728340 w 2728340"/>
                <a:gd name="connsiteY0" fmla="*/ 0 h 257442"/>
                <a:gd name="connsiteX1" fmla="*/ 2470036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2 w 2728340"/>
                <a:gd name="connsiteY3" fmla="*/ 0 h 257442"/>
                <a:gd name="connsiteX0" fmla="*/ 2728340 w 2728340"/>
                <a:gd name="connsiteY0" fmla="*/ 0 h 257442"/>
                <a:gd name="connsiteX1" fmla="*/ 2673618 w 2728340"/>
                <a:gd name="connsiteY1" fmla="*/ 257442 h 257442"/>
                <a:gd name="connsiteX2" fmla="*/ 0 w 2728340"/>
                <a:gd name="connsiteY2" fmla="*/ 257442 h 257442"/>
                <a:gd name="connsiteX3" fmla="*/ 54721 w 272834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8340" h="257442">
                  <a:moveTo>
                    <a:pt x="2728340" y="0"/>
                  </a:moveTo>
                  <a:lnTo>
                    <a:pt x="267361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btfpRunningAgenda2LevelTextRight895607">
              <a:extLst>
                <a:ext uri="{FF2B5EF4-FFF2-40B4-BE49-F238E27FC236}">
                  <a16:creationId xmlns:a16="http://schemas.microsoft.com/office/drawing/2014/main" id="{93510B09-3455-4F7F-B102-54DC45DE8705}"/>
                </a:ext>
              </a:extLst>
            </p:cNvPr>
            <p:cNvSpPr txBox="1"/>
            <p:nvPr/>
          </p:nvSpPr>
          <p:spPr bwMode="gray">
            <a:xfrm>
              <a:off x="1144574" y="876300"/>
              <a:ext cx="267361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ed view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9CBB4A8-C4AA-163B-69DC-84EC74CF765C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3684588" y="1984375"/>
          <a:ext cx="1082675" cy="418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45" name="Text Placeholder">
            <a:extLst>
              <a:ext uri="{FF2B5EF4-FFF2-40B4-BE49-F238E27FC236}">
                <a16:creationId xmlns:a16="http://schemas.microsoft.com/office/drawing/2014/main" id="{55153E3C-D6D9-4976-971A-549CC50D0C2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710113" y="219075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8887833-1BB4-47BA-BB1B-8A4ED1FCD0D0}" type="datetime'1''''''''''''''''0''''''''''''''''''''''''''0''%'''''''''">
              <a:rPr lang="en-US" altLang="en-US" sz="1000" smtClean="0">
                <a:solidFill>
                  <a:srgbClr val="000000"/>
                </a:solidFill>
              </a:rPr>
              <a:pPr/>
              <a:t>10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61883286-2887-464A-A562-1D5F54DF15E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703763" y="2592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C3412AA-D27D-4ED0-82AB-AE984A0125B6}" type="datetime'''9''''''''''''9''''''''''''''''''''''%'''''">
              <a:rPr lang="en-US" altLang="en-US" sz="1000" smtClean="0">
                <a:solidFill>
                  <a:srgbClr val="000000"/>
                </a:solidFill>
              </a:rPr>
              <a:pPr/>
              <a:t>9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3E404C37-6E27-4DA1-9550-DCB9F5C4BA2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646613" y="29956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844B4A0-94D3-49EA-939D-83D010E83412}" type="datetime'''''''''9''''''''''''''''''''''''''''3''%''''''''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EA2E2CE9-3EBD-4C81-BCC7-E99E7EF49B7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646613" y="339725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6BF8DAE-9174-4933-9CD1-682FA03ABF89}" type="datetime'''''''''''''''''''''''''''''''''''''9''3''''''%''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02BCE15A-C647-4F5C-8B23-3F70BA9EBA4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676775" y="3798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7A92019-54F6-4A55-840A-C648ACE8E8F4}" type="datetime'''''''''''''''''''''''9''''''''''''''6''''''%'''''''''''">
              <a:rPr lang="en-US" altLang="en-US" sz="1000" smtClean="0">
                <a:solidFill>
                  <a:srgbClr val="000000"/>
                </a:solidFill>
              </a:rPr>
              <a:pPr/>
              <a:t>96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8E0CE7D5-7C8C-456D-A1F7-9A95DEE42E6B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419600" y="42005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0688AFB-241D-4CFA-985C-2E2D917EBE39}" type="datetime'''''6''''''''''''''''8''''''''%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04A7B05F-E04D-44D1-BF51-87A3D3F443F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587875" y="46021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6C0DE96-F1D8-4948-A1A3-8DC49D95FE4C}" type="datetime'''''''''''''''8''''''''''''''''7''''''''''''''%'''''">
              <a:rPr lang="en-US" altLang="en-US" sz="1000" smtClean="0">
                <a:solidFill>
                  <a:srgbClr val="000000"/>
                </a:solidFill>
              </a:rPr>
              <a:pPr/>
              <a:t>87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F12924AB-A949-4CF0-8302-10AEA60C760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518025" y="5005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84FC194-D80F-45DB-90DC-B7D17F26E05D}" type="datetime'''''''''''''''''7''''9''''%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7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Text Placeholder">
            <a:extLst>
              <a:ext uri="{FF2B5EF4-FFF2-40B4-BE49-F238E27FC236}">
                <a16:creationId xmlns:a16="http://schemas.microsoft.com/office/drawing/2014/main" id="{2DC4E16B-0CFA-4656-B40A-15A31F974493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278313" y="54070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4659ED3-6273-408A-8EA7-788464E47FEE}" type="datetime'''''''''5''''3''''''''''%'''''''''''''''''">
              <a:rPr lang="en-US" altLang="en-US" sz="1000" smtClean="0">
                <a:solidFill>
                  <a:srgbClr val="000000"/>
                </a:solidFill>
              </a:rPr>
              <a:pPr/>
              <a:t>5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AC271300-2D1B-4BCD-B42D-B4B7EE82050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294188" y="5808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E6BAEEC-4EF1-40F5-BEF2-4BD4F16B2764}" type="datetime'''5''''''''''''''''5''''''''''''''''''''''''%'''''''">
              <a:rPr lang="en-US" altLang="en-US" sz="1000" smtClean="0">
                <a:solidFill>
                  <a:srgbClr val="000000"/>
                </a:solidFill>
              </a:rPr>
              <a:pPr/>
              <a:t>55%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FD0E34A-C3F4-ECBF-F811-08AAD3027B9B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5332413" y="1984375"/>
          <a:ext cx="1057275" cy="418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77" name="Text Placeholder">
            <a:extLst>
              <a:ext uri="{FF2B5EF4-FFF2-40B4-BE49-F238E27FC236}">
                <a16:creationId xmlns:a16="http://schemas.microsoft.com/office/drawing/2014/main" id="{562C7188-D9CE-4AB4-9D31-28CAB414CB6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332538" y="219075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9F0407D-BC33-49C1-9704-8A7E4FE5D822}" type="datetime'''''''''''''10''''''0''''''''''''''''''%'">
              <a:rPr lang="en-US" altLang="en-US" sz="1000" smtClean="0">
                <a:solidFill>
                  <a:srgbClr val="000000"/>
                </a:solidFill>
              </a:rPr>
              <a:pPr/>
              <a:t>10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EE198D60-F2F9-49FA-A120-8ABD634F738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326188" y="2592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A75D902-E98D-46F8-9A87-FE7F803F103C}" type="datetime'9''9''''''''''''''''%'''">
              <a:rPr lang="en-US" altLang="en-US" sz="1000" smtClean="0">
                <a:solidFill>
                  <a:srgbClr val="000000"/>
                </a:solidFill>
              </a:rPr>
              <a:pPr/>
              <a:t>9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9" name="Text Placeholder">
            <a:extLst>
              <a:ext uri="{FF2B5EF4-FFF2-40B4-BE49-F238E27FC236}">
                <a16:creationId xmlns:a16="http://schemas.microsoft.com/office/drawing/2014/main" id="{72834656-0C00-4863-A0F3-C956F46D6D8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270625" y="29956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3ABF79D-04AD-4703-B59D-B3BD9F3036E7}" type="datetime'''''''''''9''''''''''''''''''''''''''''''''3''''''''%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0" name="Text Placeholder">
            <a:extLst>
              <a:ext uri="{FF2B5EF4-FFF2-40B4-BE49-F238E27FC236}">
                <a16:creationId xmlns:a16="http://schemas.microsoft.com/office/drawing/2014/main" id="{5DA2F2F1-1A6D-4E7F-9C19-D8C9F33ACB5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270625" y="339725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5497BB-0E8E-47C7-BCEC-DD5BBEE19523}" type="datetime'''93''''''%''''''''''''''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6DF30236-0E03-4DD9-B265-4B1DA174D91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299200" y="3798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E4E69BE-BB49-4270-A27C-F8E38EA47B66}" type="datetime'''''''''9''''''''''''6''''%'''''''''">
              <a:rPr lang="en-US" altLang="en-US" sz="1000" smtClean="0">
                <a:solidFill>
                  <a:srgbClr val="000000"/>
                </a:solidFill>
              </a:rPr>
              <a:pPr/>
              <a:t>96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8B3F69B9-AD49-422B-955B-3753A1201298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049963" y="42005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0D4633E-ECAD-448C-B2E7-77732CB85C22}" type="datetime'''''''''''''''6''8''''''''%''''''''''''''''''''''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A36583CC-4E8F-47A7-BA0B-D702922297C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213475" y="46021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6E16910-1DE0-49A7-8661-1F1258A7052C}" type="datetime'''''''''''''''''''''''''''8''''''''''''7%'''">
              <a:rPr lang="en-US" altLang="en-US" sz="1000" smtClean="0">
                <a:solidFill>
                  <a:srgbClr val="000000"/>
                </a:solidFill>
              </a:rPr>
              <a:pPr/>
              <a:t>87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210845BF-56F7-401E-91FA-D5CD68E66C0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145213" y="5005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CC7E706-ED59-429A-B2C6-AC55CE1687DA}" type="datetime'79''''''%'">
              <a:rPr lang="en-US" altLang="en-US" sz="1000" smtClean="0">
                <a:solidFill>
                  <a:srgbClr val="000000"/>
                </a:solidFill>
              </a:rPr>
              <a:pPr/>
              <a:t>7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A7FC040E-FE35-40A9-BC7F-E97FD03FF7BC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913438" y="54070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7DBE59-02E6-4568-84E2-7796567DD7F5}" type="datetime'''''''''''''5''''''3''''''''''''''''''''''''''%'''''''''''">
              <a:rPr lang="en-US" altLang="en-US" sz="1000" smtClean="0">
                <a:solidFill>
                  <a:srgbClr val="000000"/>
                </a:solidFill>
              </a:rPr>
              <a:pPr/>
              <a:t>5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6E24ED90-7281-44C3-90B0-5871245E569E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5927725" y="5808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CB901ED-4F57-4559-9D49-F9D46864846F}" type="datetime'''''''''''''''''''55''''''''''''''''%'''''''''''''''''''">
              <a:rPr lang="en-US" altLang="en-US" sz="1000" smtClean="0">
                <a:solidFill>
                  <a:srgbClr val="000000"/>
                </a:solidFill>
              </a:rPr>
              <a:pPr/>
              <a:t>55%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F166822-B360-8229-9157-7431842B689C}"/>
              </a:ext>
            </a:extLst>
          </p:cNvPr>
          <p:cNvGraphicFramePr/>
          <p:nvPr>
            <p:custDataLst>
              <p:tags r:id="rId29"/>
            </p:custDataLst>
          </p:nvPr>
        </p:nvGraphicFramePr>
        <p:xfrm>
          <a:off x="6951663" y="1984375"/>
          <a:ext cx="1058862" cy="418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89" name="Text Placeholder">
            <a:extLst>
              <a:ext uri="{FF2B5EF4-FFF2-40B4-BE49-F238E27FC236}">
                <a16:creationId xmlns:a16="http://schemas.microsoft.com/office/drawing/2014/main" id="{B64CB83F-45E5-4E85-B1F1-C96A2F5159B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7953375" y="219075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8870E9A-B47E-4174-A8F6-0990183BDFA4}" type="datetime'''10''''''''''''''''''''''''''''''0''%'''''''''''''''''''''">
              <a:rPr lang="en-US" altLang="en-US" sz="1000" smtClean="0">
                <a:solidFill>
                  <a:srgbClr val="000000"/>
                </a:solidFill>
              </a:rPr>
              <a:pPr/>
              <a:t>10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6E9ACBF3-57FC-4781-9766-D01A295153D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7947025" y="2592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A58124E-5D42-4134-AE4B-E681D630F5C7}" type="datetime'''''''''''''''9''''9''''''''''''''''''%'''''''''''">
              <a:rPr lang="en-US" altLang="en-US" sz="1000" smtClean="0">
                <a:solidFill>
                  <a:srgbClr val="000000"/>
                </a:solidFill>
              </a:rPr>
              <a:pPr/>
              <a:t>9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8ED78C6A-354F-400C-A6C2-6506367051E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7891463" y="29956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F45CDD2-297F-4A48-BCD2-F705AFE95049}" type="datetime'''''''''''''''''''''''''''''''''''''''''9''''3''%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2" name="Text Placeholder">
            <a:extLst>
              <a:ext uri="{FF2B5EF4-FFF2-40B4-BE49-F238E27FC236}">
                <a16:creationId xmlns:a16="http://schemas.microsoft.com/office/drawing/2014/main" id="{DD3F5368-7581-4617-A635-33902DD37AEA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7891463" y="339725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EB30D11-F634-417B-92B3-2998230289B1}" type="datetime'''''''9''''''''''3''''''''%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88BF1941-15A8-485C-8496-14AE4087806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920038" y="3798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8166533-7D0C-40BE-BC9E-00EAA40EF336}" type="datetime'''''''''''''''''''''''''''''9''''''6''''''''%'''''''''''''''">
              <a:rPr lang="en-US" altLang="en-US" sz="1000" smtClean="0">
                <a:solidFill>
                  <a:srgbClr val="000000"/>
                </a:solidFill>
              </a:rPr>
              <a:pPr/>
              <a:t>96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B42EE4CC-3B8B-432F-B774-7FE0BA3602E2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670800" y="42005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754AF8E-0C9F-4C42-AFE6-32DB33DD04FB}" type="datetime'''''6''''''''''''''8''''%''''''''''''''''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5" name="Text Placeholder">
            <a:extLst>
              <a:ext uri="{FF2B5EF4-FFF2-40B4-BE49-F238E27FC236}">
                <a16:creationId xmlns:a16="http://schemas.microsoft.com/office/drawing/2014/main" id="{2D9C1040-73E6-4C9B-ACEE-FFED6C2C1E7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834313" y="46021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E3BAF8F-C00C-48DE-8867-19AD91ABC437}" type="datetime'''''''''''''8''''''''''''''''''''''''7''''%'''''''''''''''''''">
              <a:rPr lang="en-US" altLang="en-US" sz="1000" smtClean="0">
                <a:solidFill>
                  <a:srgbClr val="000000"/>
                </a:solidFill>
              </a:rPr>
              <a:pPr/>
              <a:t>87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6" name="Text Placeholder">
            <a:extLst>
              <a:ext uri="{FF2B5EF4-FFF2-40B4-BE49-F238E27FC236}">
                <a16:creationId xmlns:a16="http://schemas.microsoft.com/office/drawing/2014/main" id="{45891FAC-7F20-466B-BB79-D776382AC4D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7766050" y="5005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308D269-6584-4FE1-A52C-8F43CC4B0C0C}" type="datetime'''''''''''''''''''7''''''''''9''''''''''''''''%'''''''''''''">
              <a:rPr lang="en-US" altLang="en-US" sz="1000" smtClean="0">
                <a:solidFill>
                  <a:srgbClr val="000000"/>
                </a:solidFill>
              </a:rPr>
              <a:pPr/>
              <a:t>7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7" name="Text Placeholder">
            <a:extLst>
              <a:ext uri="{FF2B5EF4-FFF2-40B4-BE49-F238E27FC236}">
                <a16:creationId xmlns:a16="http://schemas.microsoft.com/office/drawing/2014/main" id="{DF0B58B2-C904-4285-90D1-8C3D605A7F3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7532688" y="54070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9B556B3-A988-4D60-9F42-7FD35BCABBE9}" type="datetime'''''''''''''''''''''''''''''''''''5''''''''''''''''''''3''%'''">
              <a:rPr lang="en-US" altLang="en-US" sz="1000" smtClean="0">
                <a:solidFill>
                  <a:srgbClr val="000000"/>
                </a:solidFill>
              </a:rPr>
              <a:pPr/>
              <a:t>5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5905063C-A49E-4D99-8E92-FB3EEBC9BB8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7548563" y="5808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E06AE13-75B5-4FBF-AD03-5C7632D79108}" type="datetime'''''''''5''''5%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55%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B4964CF3-4BCC-DE0E-1F55-CAEB819110D8}"/>
              </a:ext>
            </a:extLst>
          </p:cNvPr>
          <p:cNvGraphicFramePr/>
          <p:nvPr>
            <p:custDataLst>
              <p:tags r:id="rId40"/>
            </p:custDataLst>
          </p:nvPr>
        </p:nvGraphicFramePr>
        <p:xfrm>
          <a:off x="8580438" y="1984375"/>
          <a:ext cx="1058862" cy="418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1E9223D8-75C9-490C-9AB1-29D705B27F0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9582150" y="219075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5F82B49-9F28-4AC8-A262-041328577385}" type="datetime'''''''''1''''''''0''''0%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10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551ECF55-5C2B-46FC-99BF-B3CE13D94982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9575800" y="2592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DA0CC2F-A191-4EB2-B8AF-4363020D7D78}" type="datetime'''''''''''''9''''''''''''''''''''''''9%'''''''''''''''''''''''">
              <a:rPr lang="en-US" altLang="en-US" sz="1000" smtClean="0">
                <a:solidFill>
                  <a:srgbClr val="000000"/>
                </a:solidFill>
              </a:rPr>
              <a:pPr/>
              <a:t>9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5EA8DC21-3E83-4A78-B5EF-EE5504A86E9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9520238" y="29956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F5C85AC-D7C6-42BB-B17F-89ADBD0D41C4}" type="datetime'''''''''''''9''3''''''''''''''''%''''''''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4ECEBF12-743E-450E-A48F-2A8BB7F7CD24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9520238" y="339725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D41B530-9909-440E-AF1B-D8241452A171}" type="datetime'''''''''''9''''3''''''''''''''''''''''''%''''''''''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9E03E282-EF20-49A8-800E-76245B90E79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548813" y="3798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E5D197B-6E05-473C-91DF-B5607151764D}" type="datetime'''''''''9''''6''''%'''''''''''''''''''''''''''">
              <a:rPr lang="en-US" altLang="en-US" sz="1000" smtClean="0">
                <a:solidFill>
                  <a:srgbClr val="000000"/>
                </a:solidFill>
              </a:rPr>
              <a:pPr/>
              <a:t>96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BE52EB61-8038-45BC-8486-5F27A0B0F970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9299575" y="42005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1BE1171-D889-4066-AC25-DA3C8D775EEE}" type="datetime'''''''''''''6''''8''''%''''''''''''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7" name="Text Placeholder">
            <a:extLst>
              <a:ext uri="{FF2B5EF4-FFF2-40B4-BE49-F238E27FC236}">
                <a16:creationId xmlns:a16="http://schemas.microsoft.com/office/drawing/2014/main" id="{5A357BCF-30C6-4A83-BE1E-32522365AAB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9463088" y="46021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054CF60-5803-4191-8251-2A4AC2E613C5}" type="datetime'''''8''''''''''''''''7''''''''''''''''''''''%'''''''">
              <a:rPr lang="en-US" altLang="en-US" sz="1000" smtClean="0">
                <a:solidFill>
                  <a:srgbClr val="000000"/>
                </a:solidFill>
              </a:rPr>
              <a:pPr/>
              <a:t>87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8" name="Text Placeholder">
            <a:extLst>
              <a:ext uri="{FF2B5EF4-FFF2-40B4-BE49-F238E27FC236}">
                <a16:creationId xmlns:a16="http://schemas.microsoft.com/office/drawing/2014/main" id="{94A08D33-7E36-48F0-9FCF-8A37B6CA9879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9394825" y="5005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E10A5AE-D460-4BB5-8DC5-FA0A3E88624F}" type="datetime'''''''''''7''''''''9''''''''''''''''''''''''''''%'''''''''''''">
              <a:rPr lang="en-US" altLang="en-US" sz="1000" smtClean="0">
                <a:solidFill>
                  <a:srgbClr val="000000"/>
                </a:solidFill>
              </a:rPr>
              <a:pPr/>
              <a:t>7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9" name="Text Placeholder">
            <a:extLst>
              <a:ext uri="{FF2B5EF4-FFF2-40B4-BE49-F238E27FC236}">
                <a16:creationId xmlns:a16="http://schemas.microsoft.com/office/drawing/2014/main" id="{72A9C97B-6A56-48CE-A53B-065AE670E42E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161463" y="54070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4797EAC-82EC-4129-98E6-3F05768F46A4}" type="datetime'''''''''''''''''''''''''5''''3''''%'''''''''''''''">
              <a:rPr lang="en-US" altLang="en-US" sz="1000" smtClean="0">
                <a:solidFill>
                  <a:srgbClr val="000000"/>
                </a:solidFill>
              </a:rPr>
              <a:pPr/>
              <a:t>5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0" name="Text Placeholder">
            <a:extLst>
              <a:ext uri="{FF2B5EF4-FFF2-40B4-BE49-F238E27FC236}">
                <a16:creationId xmlns:a16="http://schemas.microsoft.com/office/drawing/2014/main" id="{AF5DC8E5-B28D-44FE-9365-4BB1C6ADAB22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9177338" y="5808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61C6E5A-5E94-46A0-9F9A-35E3219FB7E2}" type="datetime'''''''''''''''''''''''5''''''5''''''''''''''%'''''''''">
              <a:rPr lang="en-US" altLang="en-US" sz="1000" smtClean="0">
                <a:solidFill>
                  <a:srgbClr val="000000"/>
                </a:solidFill>
              </a:rPr>
              <a:pPr/>
              <a:t>55%</a:t>
            </a:fld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A3812291-ADD5-A78D-1FB3-F5280C88FC2B}"/>
              </a:ext>
            </a:extLst>
          </p:cNvPr>
          <p:cNvGraphicFramePr/>
          <p:nvPr>
            <p:custDataLst>
              <p:tags r:id="rId51"/>
            </p:custDataLst>
          </p:nvPr>
        </p:nvGraphicFramePr>
        <p:xfrm>
          <a:off x="10237788" y="1984375"/>
          <a:ext cx="1058862" cy="418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F4DCC919-563F-4BF2-BEC1-DA3B55F4CF4A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1239500" y="2190750"/>
            <a:ext cx="357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B2D8683-469B-4AFD-9194-8FEADDA56CA3}" type="datetime'''''''''1''''''''''''0''''0%'''''''''''''''''''''''''">
              <a:rPr lang="en-US" altLang="en-US" sz="1000" smtClean="0">
                <a:solidFill>
                  <a:srgbClr val="000000"/>
                </a:solidFill>
              </a:rPr>
              <a:pPr/>
              <a:t>100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4" name="Text Placeholder">
            <a:extLst>
              <a:ext uri="{FF2B5EF4-FFF2-40B4-BE49-F238E27FC236}">
                <a16:creationId xmlns:a16="http://schemas.microsoft.com/office/drawing/2014/main" id="{B9E657DF-E677-4F4A-8D0D-F4947F1E4398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1233150" y="2592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03D2004-B141-49EC-981A-2D8E441865BF}" type="datetime'''''''''''''9''''''''''''''''''''''9''''%'''''''">
              <a:rPr lang="en-US" altLang="en-US" sz="1000" smtClean="0">
                <a:solidFill>
                  <a:srgbClr val="000000"/>
                </a:solidFill>
              </a:rPr>
              <a:pPr/>
              <a:t>9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69644B8B-CBD9-425A-96E3-693E84180C2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11177588" y="29956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858F5C5-0BDB-4C92-866F-A062E4718175}" type="datetime'''''''9''''''''''''''''''''''''''''''3''%''''''''''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6" name="Text Placeholder">
            <a:extLst>
              <a:ext uri="{FF2B5EF4-FFF2-40B4-BE49-F238E27FC236}">
                <a16:creationId xmlns:a16="http://schemas.microsoft.com/office/drawing/2014/main" id="{C906AEA9-EF5F-4D6E-94ED-348FFBA071C2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11177588" y="339725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F6CC0F8-9836-4677-8555-9CEFDE610A12}" type="datetime'''''''''9''''''''''''''3''''''''''''''''''''''''''%'">
              <a:rPr lang="en-US" altLang="en-US" sz="1000" smtClean="0">
                <a:solidFill>
                  <a:srgbClr val="000000"/>
                </a:solidFill>
              </a:rPr>
              <a:pPr/>
              <a:t>9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7" name="Text Placeholder">
            <a:extLst>
              <a:ext uri="{FF2B5EF4-FFF2-40B4-BE49-F238E27FC236}">
                <a16:creationId xmlns:a16="http://schemas.microsoft.com/office/drawing/2014/main" id="{BB7F4502-E246-4867-95DE-B69C9D59C821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11206163" y="3798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6FA4989-C359-4B3D-B3DF-61FA3B504FEE}" type="datetime'''''''9''''''''6''''''''''''''''''''''%'''''''''">
              <a:rPr lang="en-US" altLang="en-US" sz="1000" smtClean="0">
                <a:solidFill>
                  <a:srgbClr val="000000"/>
                </a:solidFill>
              </a:rPr>
              <a:pPr/>
              <a:t>96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8" name="Text Placeholder">
            <a:extLst>
              <a:ext uri="{FF2B5EF4-FFF2-40B4-BE49-F238E27FC236}">
                <a16:creationId xmlns:a16="http://schemas.microsoft.com/office/drawing/2014/main" id="{73B8E944-5DC0-4DAE-B2B4-CA44E5C4ABDB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10956925" y="42005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5AD5718-7731-4C9A-8889-D25559E377EC}" type="datetime'''''''''''6''''''''8%'''''''''''''''''''''''''''''''">
              <a:rPr lang="en-US" altLang="en-US" sz="1000" smtClean="0">
                <a:solidFill>
                  <a:srgbClr val="000000"/>
                </a:solidFill>
              </a:rPr>
              <a:pPr/>
              <a:t>68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9" name="Text Placeholder">
            <a:extLst>
              <a:ext uri="{FF2B5EF4-FFF2-40B4-BE49-F238E27FC236}">
                <a16:creationId xmlns:a16="http://schemas.microsoft.com/office/drawing/2014/main" id="{165CDBD0-47DD-4FAE-B7DE-FF14F60CE24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120438" y="46021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357344F-7818-44C6-8495-463AD40BB3B6}" type="datetime'''''8''''7''''''''''''''''%'''''''''''''''''''''''''''''">
              <a:rPr lang="en-US" altLang="en-US" sz="1000" smtClean="0">
                <a:solidFill>
                  <a:srgbClr val="000000"/>
                </a:solidFill>
              </a:rPr>
              <a:pPr/>
              <a:t>87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0" name="Text Placeholder">
            <a:extLst>
              <a:ext uri="{FF2B5EF4-FFF2-40B4-BE49-F238E27FC236}">
                <a16:creationId xmlns:a16="http://schemas.microsoft.com/office/drawing/2014/main" id="{B89B5FA5-1D55-444F-9CD8-F19A4769C32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11052175" y="50053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0E24806-6BB0-4DC6-BD01-8C51F8390D61}" type="datetime'''''''''''''''''''''''''79''''''''''''''''''''''''%'''''">
              <a:rPr lang="en-US" altLang="en-US" sz="1000" smtClean="0">
                <a:solidFill>
                  <a:srgbClr val="000000"/>
                </a:solidFill>
              </a:rPr>
              <a:pPr/>
              <a:t>79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1" name="Text Placeholder">
            <a:extLst>
              <a:ext uri="{FF2B5EF4-FFF2-40B4-BE49-F238E27FC236}">
                <a16:creationId xmlns:a16="http://schemas.microsoft.com/office/drawing/2014/main" id="{86E63331-F697-4C95-8D2C-AC81E2EA4D4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10818813" y="54070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972BE76-08C1-4046-8B87-70004CD81E3C}" type="datetime'''''''''''''''''''''''''''''''5''''3''''''''''''%'">
              <a:rPr lang="en-US" altLang="en-US" sz="1000" smtClean="0">
                <a:solidFill>
                  <a:srgbClr val="000000"/>
                </a:solidFill>
              </a:rPr>
              <a:pPr/>
              <a:t>53%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2" name="Text Placeholder">
            <a:extLst>
              <a:ext uri="{FF2B5EF4-FFF2-40B4-BE49-F238E27FC236}">
                <a16:creationId xmlns:a16="http://schemas.microsoft.com/office/drawing/2014/main" id="{1D7ABD72-9F09-4FE0-BA01-6BF2752D5951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10834688" y="5808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82D3207-DAB9-46C5-A229-AB3B20B2EAF9}" type="datetime'''''''''''''''''''''''''''''''''''5''''5''''''%'''''''''''">
              <a:rPr lang="en-US" altLang="en-US" sz="1000" smtClean="0">
                <a:solidFill>
                  <a:srgbClr val="000000"/>
                </a:solidFill>
              </a:rPr>
              <a:pPr/>
              <a:t>55%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21" name="btfpStatusSticker411935">
            <a:extLst>
              <a:ext uri="{FF2B5EF4-FFF2-40B4-BE49-F238E27FC236}">
                <a16:creationId xmlns:a16="http://schemas.microsoft.com/office/drawing/2014/main" id="{8B1A40F2-B57A-2577-1CA0-F08B18EC8D12}"/>
              </a:ext>
            </a:extLst>
          </p:cNvPr>
          <p:cNvGrpSpPr/>
          <p:nvPr>
            <p:custDataLst>
              <p:tags r:id="rId62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22" name="btfpStatusStickerText411935">
              <a:extLst>
                <a:ext uri="{FF2B5EF4-FFF2-40B4-BE49-F238E27FC236}">
                  <a16:creationId xmlns:a16="http://schemas.microsoft.com/office/drawing/2014/main" id="{706800F5-4B7A-D11F-2D02-B6B5C0EA9B0C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27" name="btfpStatusStickerLine411935">
              <a:extLst>
                <a:ext uri="{FF2B5EF4-FFF2-40B4-BE49-F238E27FC236}">
                  <a16:creationId xmlns:a16="http://schemas.microsoft.com/office/drawing/2014/main" id="{0CE8D193-4FCF-A049-E11B-7647569F791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870847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btfpColumnIndicatorGroup2">
            <a:extLst>
              <a:ext uri="{FF2B5EF4-FFF2-40B4-BE49-F238E27FC236}">
                <a16:creationId xmlns:a16="http://schemas.microsoft.com/office/drawing/2014/main" id="{088860BE-6401-1457-5D12-0EC6D2E25A5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3" name="btfpColumnGapBlocker304619">
              <a:extLst>
                <a:ext uri="{FF2B5EF4-FFF2-40B4-BE49-F238E27FC236}">
                  <a16:creationId xmlns:a16="http://schemas.microsoft.com/office/drawing/2014/main" id="{0BD91628-6635-D748-50E0-A8830B00CCD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btfpColumnGapBlocker747219">
              <a:extLst>
                <a:ext uri="{FF2B5EF4-FFF2-40B4-BE49-F238E27FC236}">
                  <a16:creationId xmlns:a16="http://schemas.microsoft.com/office/drawing/2014/main" id="{FFF8E55C-A334-6915-3A4A-3250F84EB5C1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296148">
              <a:extLst>
                <a:ext uri="{FF2B5EF4-FFF2-40B4-BE49-F238E27FC236}">
                  <a16:creationId xmlns:a16="http://schemas.microsoft.com/office/drawing/2014/main" id="{A9EECFA0-CB99-7210-E954-542325EB2C5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166413">
              <a:extLst>
                <a:ext uri="{FF2B5EF4-FFF2-40B4-BE49-F238E27FC236}">
                  <a16:creationId xmlns:a16="http://schemas.microsoft.com/office/drawing/2014/main" id="{F43D7BE0-1BE9-8EEA-7A83-6FC167AD43A0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676836">
              <a:extLst>
                <a:ext uri="{FF2B5EF4-FFF2-40B4-BE49-F238E27FC236}">
                  <a16:creationId xmlns:a16="http://schemas.microsoft.com/office/drawing/2014/main" id="{0423600F-2CDD-8F43-8CE0-198195D69A3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503302">
              <a:extLst>
                <a:ext uri="{FF2B5EF4-FFF2-40B4-BE49-F238E27FC236}">
                  <a16:creationId xmlns:a16="http://schemas.microsoft.com/office/drawing/2014/main" id="{AF5C9BD7-F3E7-F9B9-5BD8-98E74C321AA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42858">
              <a:extLst>
                <a:ext uri="{FF2B5EF4-FFF2-40B4-BE49-F238E27FC236}">
                  <a16:creationId xmlns:a16="http://schemas.microsoft.com/office/drawing/2014/main" id="{C55D0070-B008-41C2-6A2F-7F5AD99626A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1">
            <a:extLst>
              <a:ext uri="{FF2B5EF4-FFF2-40B4-BE49-F238E27FC236}">
                <a16:creationId xmlns:a16="http://schemas.microsoft.com/office/drawing/2014/main" id="{62FF8358-5DEB-4FA8-7122-4877D790A15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355799">
              <a:extLst>
                <a:ext uri="{FF2B5EF4-FFF2-40B4-BE49-F238E27FC236}">
                  <a16:creationId xmlns:a16="http://schemas.microsoft.com/office/drawing/2014/main" id="{336CD8C9-7393-3BB2-9D5F-0FB9853877D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321951">
              <a:extLst>
                <a:ext uri="{FF2B5EF4-FFF2-40B4-BE49-F238E27FC236}">
                  <a16:creationId xmlns:a16="http://schemas.microsoft.com/office/drawing/2014/main" id="{26215990-8B3D-196A-2E74-864E95E40229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203678">
              <a:extLst>
                <a:ext uri="{FF2B5EF4-FFF2-40B4-BE49-F238E27FC236}">
                  <a16:creationId xmlns:a16="http://schemas.microsoft.com/office/drawing/2014/main" id="{BB7FE134-1CBD-E5EE-AE6A-064F7006A08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148717">
              <a:extLst>
                <a:ext uri="{FF2B5EF4-FFF2-40B4-BE49-F238E27FC236}">
                  <a16:creationId xmlns:a16="http://schemas.microsoft.com/office/drawing/2014/main" id="{14496C7B-129F-C933-A4DB-C192676BE4B4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986707">
              <a:extLst>
                <a:ext uri="{FF2B5EF4-FFF2-40B4-BE49-F238E27FC236}">
                  <a16:creationId xmlns:a16="http://schemas.microsoft.com/office/drawing/2014/main" id="{67FB837A-1BED-C27B-9548-FB4CFF93A0F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IN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977095">
              <a:extLst>
                <a:ext uri="{FF2B5EF4-FFF2-40B4-BE49-F238E27FC236}">
                  <a16:creationId xmlns:a16="http://schemas.microsoft.com/office/drawing/2014/main" id="{3EAA40A4-4CEF-EB52-D738-1A448D7E57F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980083">
              <a:extLst>
                <a:ext uri="{FF2B5EF4-FFF2-40B4-BE49-F238E27FC236}">
                  <a16:creationId xmlns:a16="http://schemas.microsoft.com/office/drawing/2014/main" id="{BBEDC815-EB52-AA71-3012-24E6182E89A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C7E039B-9F9D-425F-A1DF-76DA6EBFB7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5" imgW="384" imgH="384" progId="TCLayout.ActiveDocument.1">
                  <p:embed/>
                </p:oleObj>
              </mc:Choice>
              <mc:Fallback>
                <p:oleObj name="think-cell Slide" r:id="rId105" imgW="384" imgH="3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7E039B-9F9D-425F-A1DF-76DA6EBFB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btfpNotesBox117783">
            <a:extLst>
              <a:ext uri="{FF2B5EF4-FFF2-40B4-BE49-F238E27FC236}">
                <a16:creationId xmlns:a16="http://schemas.microsoft.com/office/drawing/2014/main" id="{28A6A88C-3916-4DF5-8619-077592814D4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06B1A30-BE69-40C3-BD1B-8181A0286A0B}"/>
              </a:ext>
            </a:extLst>
          </p:cNvPr>
          <p:cNvSpPr>
            <a:spLocks/>
          </p:cNvSpPr>
          <p:nvPr/>
        </p:nvSpPr>
        <p:spPr bwMode="gray">
          <a:xfrm>
            <a:off x="340699" y="1268412"/>
            <a:ext cx="11510599" cy="5417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indicate your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miliarity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each of the following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ors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97" name="Chart 196">
            <a:extLst>
              <a:ext uri="{FF2B5EF4-FFF2-40B4-BE49-F238E27FC236}">
                <a16:creationId xmlns:a16="http://schemas.microsoft.com/office/drawing/2014/main" id="{31875237-CF3A-4162-BBF7-CA50332EA5B7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582738" y="2073275"/>
          <a:ext cx="9174162" cy="271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7"/>
          </a:graphicData>
        </a:graphic>
      </p:graphicFrame>
      <p:sp>
        <p:nvSpPr>
          <p:cNvPr id="99" name="Text Placeholder">
            <a:extLst>
              <a:ext uri="{FF2B5EF4-FFF2-40B4-BE49-F238E27FC236}">
                <a16:creationId xmlns:a16="http://schemas.microsoft.com/office/drawing/2014/main" id="{5C57556D-6F28-4769-A33B-74B3A35A9F2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509713" y="46291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8B2CE06-A314-4857-AF4E-17EE027BBE3B}" type="datetime'''''''''0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8" name="Text Placeholder">
            <a:extLst>
              <a:ext uri="{FF2B5EF4-FFF2-40B4-BE49-F238E27FC236}">
                <a16:creationId xmlns:a16="http://schemas.microsoft.com/office/drawing/2014/main" id="{D9B18254-DC21-4324-89F5-989D7BDCE36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439863" y="41195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F07ABE5-C8A8-4916-B17F-C252AE6039B6}" type="datetime'2''''''''''''''''''''''''''''0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9" name="Text Placeholder">
            <a:extLst>
              <a:ext uri="{FF2B5EF4-FFF2-40B4-BE49-F238E27FC236}">
                <a16:creationId xmlns:a16="http://schemas.microsoft.com/office/drawing/2014/main" id="{C1C9B124-AD8C-4A93-9E53-4F4312E686B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439863" y="36099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60D8A9D-0B11-4833-8578-89F32EC017EF}" type="datetime'''''''''''''''4''''''''''''''''0''''''''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0" name="Text Placeholder">
            <a:extLst>
              <a:ext uri="{FF2B5EF4-FFF2-40B4-BE49-F238E27FC236}">
                <a16:creationId xmlns:a16="http://schemas.microsoft.com/office/drawing/2014/main" id="{5FE6B73C-7470-4218-AA65-34F935AF8E9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439863" y="30988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52B7E2C-A3EA-486B-A41D-59C05EA70878}" type="datetime'''''''''''''''''''''''6''''''''''''''''''0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1" name="Text Placeholder">
            <a:extLst>
              <a:ext uri="{FF2B5EF4-FFF2-40B4-BE49-F238E27FC236}">
                <a16:creationId xmlns:a16="http://schemas.microsoft.com/office/drawing/2014/main" id="{2FEA9F38-A599-43BB-81B3-D2C0BD256F8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439863" y="25892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1BE5F85-A5F7-4C67-89D0-4F274D78F369}" type="datetime'''''''''''''8''''''''''''''''''''''''''0''''''''''''''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0F19D3CD-BF1C-4EBC-9098-CE1DE01FAA7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257300" y="207962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27ECF27-C990-4C1A-8FAC-B7676A4233DB}" type="datetime'''''1''''''''''''''''''''''''''''''0''''0'''''''''''''''">
              <a:rPr lang="en-US" altLang="en-US" sz="1000" smtClean="0">
                <a:solidFill>
                  <a:srgbClr val="000000"/>
                </a:solidFill>
              </a:rPr>
              <a:pPr/>
              <a:t>100</a:t>
            </a:fld>
            <a:r>
              <a:rPr lang="en-US" altLang="en-US" sz="1000" dirty="0">
                <a:solidFill>
                  <a:srgbClr val="000000"/>
                </a:solidFill>
              </a:rPr>
              <a:t>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B565F52F-B514-4CA0-AE9F-EC44D65F2EA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916113" y="4748213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B4C5626-9799-4400-A4B8-FAB22ABCF2CC}" type="datetime'''''''''''''''''''Targ''''''''''''''''e''''t'''''''''''''">
              <a:rPr lang="en-US" altLang="en-US" sz="1000" b="1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arget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6D2D1B61-CFF8-4504-89EB-4FCDC62AFDD5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806700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09DC0F-5E85-45B7-8832-23DA4B41B020}" type="datetime'B''''''r''''''''''''''a''''''''n''''''''''''d''''1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BF892DA4-3620-4C76-8E01-937D872D558E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708400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EBC8F0-0B9E-44ED-84F3-0D0AE02C9D09}" type="datetime'Br''''''''''''''''''''''''''a''nd''''''''''''''''''''''''2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A55F9AD9-8C9D-4394-ACAC-0181F8B85288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608513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E1AD2A-0676-4D03-832D-E9B9D79DA324}" type="datetime'''''''B''''''''''''''''''r''''a''''''''''''nd''''''''3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3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567B8B29-4A45-4E59-B042-947C5217917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510213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707E72-9506-4A98-B171-A39E70F76C06}" type="datetime'B''ra''''''''''''nd''''''''''''''''''4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BA9D410F-325A-4F86-9630-51F077CB3F5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10325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A22B76-72C1-4E84-B880-0C2B20FE990B}" type="datetime'''''''''''''B''''''''r''''''an''''''''d5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970DD752-E4E9-439A-B857-A367EF7111D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312025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7957353-63D1-495D-B639-FBEC771FD442}" type="datetime'''''B''''''''''r''''a''''n''''''''d''''''''''''''6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6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5F743B24-1C62-4EAA-AF4B-E2820C101EE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212138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F0F6FA2-4E6F-47EA-94DF-FFCD4056A08F}" type="datetime'B''''''''r''''''a''n''''''''''''''''''d''''7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7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9ECC27E0-65A5-4F88-B863-156CCF00FE4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9113838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9631A04-115F-4D13-9D78-8378ABDDE95A}" type="datetime'''''''B''r''''a''''nd''''''''''''''8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8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046BE926-EFB1-463D-BE84-266CE24D486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013950" y="4748213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D9E17A-1400-4E8D-8E06-589523AF48B8}" type="datetime'''''''''Br''''a''''n''d''''''''''''9''''''''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and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738A5884-6326-433B-A126-E8B0DF0787E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746250" y="22336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7BE10B5-78E4-4E67-B1DA-0D74EBBFFA0D}" type="datetime'''''''''''''''''''''''''''''''''9''''''0'''''''''">
              <a:rPr lang="en-US" altLang="en-US" sz="1000" smtClean="0">
                <a:solidFill>
                  <a:srgbClr val="000000"/>
                </a:solidFill>
              </a:rPr>
              <a:pPr/>
              <a:t>9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08F8C452-FB08-4806-AB9D-DE7D9F48F9C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935163" y="24876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155E51-0E5F-4FF4-9A2C-B914BCD8039E}" type="datetime'80''''''''''''''''''''''''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Text Placeholder">
            <a:extLst>
              <a:ext uri="{FF2B5EF4-FFF2-40B4-BE49-F238E27FC236}">
                <a16:creationId xmlns:a16="http://schemas.microsoft.com/office/drawing/2014/main" id="{37A60A43-8281-42E2-AD91-7D1BAEC6E64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122488" y="2743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DF2BC2F-AFEF-4098-9B0C-63DF9718D030}" type="datetime'7''''''''''0'">
              <a:rPr lang="en-US" altLang="en-US" sz="1000" smtClean="0">
                <a:solidFill>
                  <a:srgbClr val="000000"/>
                </a:solidFill>
              </a:rPr>
              <a:pPr/>
              <a:t>7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DDCD33E-D79C-4CDD-BBC5-5B4E63247E1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311400" y="2997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9C719DC-BC4A-4FD1-80C3-C5EAA8088064}" type="datetime'''''''''''''''''''''''''''''6''''''''''''0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8BAA9CF3-70E3-4D60-ACA9-EC0C691A574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647950" y="24876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4B8776-B672-4306-9CC6-C675B683D528}" type="datetime'''80''''''''''''''''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8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219244B1-269D-4C43-84AE-89ABC7425B4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835275" y="2743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B7580D-96D3-4068-8CD4-0DB258C9A801}" type="datetime'''''''''7''''''''''''''''''''''''''''''''''''''''''''''''0'''">
              <a:rPr lang="en-US" altLang="en-US" sz="1000" smtClean="0">
                <a:solidFill>
                  <a:srgbClr val="000000"/>
                </a:solidFill>
              </a:rPr>
              <a:pPr/>
              <a:t>7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4" name="Text Placeholder">
            <a:extLst>
              <a:ext uri="{FF2B5EF4-FFF2-40B4-BE49-F238E27FC236}">
                <a16:creationId xmlns:a16="http://schemas.microsoft.com/office/drawing/2014/main" id="{FCE73BF5-0BDB-48E5-87FB-AB7F8F01B89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024188" y="2997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ABB563-2E63-43D3-A179-C516F6A54D96}" type="datetime'''''''''''''''6''''''''''''''''''''''''0''''''''''''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1267FFAD-4E20-4D61-BFFA-76C2AFB9F9B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211513" y="32527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1B40994-6179-444D-8BA2-459D385E84EC}" type="datetime'''''''''''''''''''''''''''50'''''">
              <a:rPr lang="en-US" altLang="en-US" sz="1000" smtClean="0">
                <a:solidFill>
                  <a:srgbClr val="000000"/>
                </a:solidFill>
              </a:rPr>
              <a:pPr/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5B0C1910-9288-41A6-B159-07E014BC44E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548063" y="2743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2B6A13-461E-488D-8887-CDB2144283A4}" type="datetime'''''''''''''''''''''''''70'''''''''''''''''''">
              <a:rPr lang="en-US" altLang="en-US" sz="1000" smtClean="0">
                <a:solidFill>
                  <a:srgbClr val="000000"/>
                </a:solidFill>
              </a:rPr>
              <a:pPr/>
              <a:t>7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79FFA213-83B7-4439-B8AC-7845B2918CE3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736975" y="2997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19C8CF-F67D-49F9-ABC2-010D36065EE5}" type="datetime'''''''''''''''''''6''''0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7649908B-85BE-43E6-B89C-AD919F8DF15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924300" y="32527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664CB4-DE7B-4610-9886-4E24938CAA01}" type="datetime'''''''''''5''''''''''0'''''''''">
              <a:rPr lang="en-US" altLang="en-US" sz="1000" smtClean="0">
                <a:solidFill>
                  <a:srgbClr val="000000"/>
                </a:solidFill>
              </a:rPr>
              <a:pPr/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A27D296C-B39A-4C5C-83B0-1DFE3FC7504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113213" y="3508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884CE1-1265-49B5-A3A7-C280CC4396DD}" type="datetime'''''''''''''''''''''4''''''''0''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74DB16CD-F76E-4DB7-8D3D-E09B401437D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449763" y="2997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7BB05E-3D93-4D01-AD74-2D667D1B7FD6}" type="datetime'''''''''''''''''''''''''''''6''''0'''''''''''''''''''''">
              <a:rPr lang="en-US" altLang="en-US" sz="1000" smtClean="0">
                <a:solidFill>
                  <a:srgbClr val="000000"/>
                </a:solidFill>
              </a:rPr>
              <a:pPr/>
              <a:t>6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446264CD-8738-45C7-BAFA-A42D092DF5C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637088" y="32527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3B5DFE3-6CE1-462A-9136-BEB85EEB73D1}" type="datetime'''''''''''''''''''''''''5''''''''''''''''''''''''0'''''">
              <a:rPr lang="en-US" altLang="en-US" sz="1000" smtClean="0">
                <a:solidFill>
                  <a:srgbClr val="000000"/>
                </a:solidFill>
              </a:rPr>
              <a:pPr/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DB3C2C27-1172-46EA-8E80-BF70CD691827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4826000" y="3508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DF8FD5-57E1-48C5-B6AA-A0B2A4A1E60A}" type="datetime'''''''''''''''''''''40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3" name="Text Placeholder">
            <a:extLst>
              <a:ext uri="{FF2B5EF4-FFF2-40B4-BE49-F238E27FC236}">
                <a16:creationId xmlns:a16="http://schemas.microsoft.com/office/drawing/2014/main" id="{4CF6DDDA-AF89-4E86-87D7-FDD5BEE645B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013325" y="3762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616A468-CBA9-46E7-8481-9AF23AA14F84}" type="datetime'''''''''''''''3''''''''''''''''''''0'''''''''''''''''''''">
              <a:rPr lang="en-US" altLang="en-US" sz="1000" smtClean="0">
                <a:solidFill>
                  <a:srgbClr val="000000"/>
                </a:solidFill>
              </a:rPr>
              <a:pPr/>
              <a:t>3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5" name="Text Placeholder">
            <a:extLst>
              <a:ext uri="{FF2B5EF4-FFF2-40B4-BE49-F238E27FC236}">
                <a16:creationId xmlns:a16="http://schemas.microsoft.com/office/drawing/2014/main" id="{C2C86299-61F9-45B3-BA20-9CBC374D217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349875" y="32527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5A2E1B-3B7C-4BCD-81C4-50CFC30573B8}" type="datetime'''''''''''''''5''''''''''''''0'''">
              <a:rPr lang="en-US" altLang="en-US" sz="1000" smtClean="0">
                <a:solidFill>
                  <a:srgbClr val="000000"/>
                </a:solidFill>
              </a:rPr>
              <a:pPr/>
              <a:t>5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6" name="Text Placeholder">
            <a:extLst>
              <a:ext uri="{FF2B5EF4-FFF2-40B4-BE49-F238E27FC236}">
                <a16:creationId xmlns:a16="http://schemas.microsoft.com/office/drawing/2014/main" id="{FFD0C48F-CD30-4138-80C6-6F914D9DCA8F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5538788" y="3508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16CF82B-A77C-486B-8B12-3C066EA85CA6}" type="datetime'''''''''''''''4''''''''''''''''''''0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7" name="Text Placeholder">
            <a:extLst>
              <a:ext uri="{FF2B5EF4-FFF2-40B4-BE49-F238E27FC236}">
                <a16:creationId xmlns:a16="http://schemas.microsoft.com/office/drawing/2014/main" id="{3606BBE7-11E3-41EC-B640-A60C6C36FF65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5726113" y="3762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DB1F2D-C479-469F-9F09-A43FF83C5700}" type="datetime'''''''''''''''3''''''''''''''''''''''''''''''0'">
              <a:rPr lang="en-US" altLang="en-US" sz="1000" smtClean="0">
                <a:solidFill>
                  <a:srgbClr val="000000"/>
                </a:solidFill>
              </a:rPr>
              <a:pPr/>
              <a:t>3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CAFF9C55-28E0-4A4E-BA58-E5BE3901149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915025" y="4017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9D0C28-731F-44FD-B257-FDAD8B8554AD}" type="datetime'''''''''''''''''''''2''''''''''''0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9" name="Text Placeholder">
            <a:extLst>
              <a:ext uri="{FF2B5EF4-FFF2-40B4-BE49-F238E27FC236}">
                <a16:creationId xmlns:a16="http://schemas.microsoft.com/office/drawing/2014/main" id="{4195A69C-CA92-4C5F-8FB3-363F60C25F97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251575" y="3508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A35457-47DD-4A07-9F2B-536AFBFEDB64}" type="datetime'''''''''''''''''''''4''''''0'''''''''''">
              <a:rPr lang="en-US" altLang="en-US" sz="1000" smtClean="0">
                <a:solidFill>
                  <a:srgbClr val="000000"/>
                </a:solidFill>
              </a:rPr>
              <a:pPr/>
              <a:t>4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0" name="Text Placeholder">
            <a:extLst>
              <a:ext uri="{FF2B5EF4-FFF2-40B4-BE49-F238E27FC236}">
                <a16:creationId xmlns:a16="http://schemas.microsoft.com/office/drawing/2014/main" id="{634D916A-6829-40E9-A153-DF98110032B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438900" y="3762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5F1FA2-4333-4AB6-914F-035335B22033}" type="datetime'''''''''''''''''''''''''''''''3''0'''''''''''''''''">
              <a:rPr lang="en-US" altLang="en-US" sz="1000" smtClean="0">
                <a:solidFill>
                  <a:srgbClr val="000000"/>
                </a:solidFill>
              </a:rPr>
              <a:pPr/>
              <a:t>3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61E80003-96C6-47F0-94C6-D3B415FFF92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627813" y="4017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67521F-4CF6-4141-A3CF-1AC856C71996}" type="datetime'2''0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FB095F4D-42F2-4FC5-80EE-A8892516569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815138" y="4271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A3C673-2D3A-4051-86FC-52233CE51937}" type="datetime'''''''''''''''''''''''1''''''''''''''0'''''''''">
              <a:rPr lang="en-US" altLang="en-US" sz="1000" smtClean="0">
                <a:solidFill>
                  <a:srgbClr val="000000"/>
                </a:solidFill>
              </a:rPr>
              <a:pPr/>
              <a:t>1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0A181E3B-0752-4CDE-BF08-26142F662F1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257300" y="1825625"/>
            <a:ext cx="1331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olidFill>
                  <a:srgbClr val="000000"/>
                </a:solidFill>
              </a:rPr>
              <a:t>% of respondents (N=x)</a:t>
            </a: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7CD0A6C7-C5FF-4A67-9CFE-68563864A2DF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340600" y="4017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21BAEF-7EDD-479A-BDFF-705B69E46E73}" type="datetime'''''''''''''''''''''''''''''''''''''''2''0''''''''''''''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D11A88C0-DE78-4695-803B-F704FA64CF29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527925" y="4271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CEA36C3-AF06-4FAB-BD8F-D891FA14F2B1}" type="datetime'''''''1''''''''''0'''''''''''''''''''''''''''''">
              <a:rPr lang="en-US" altLang="en-US" sz="1000" smtClean="0">
                <a:solidFill>
                  <a:srgbClr val="000000"/>
                </a:solidFill>
              </a:rPr>
              <a:pPr/>
              <a:t>1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03380080-91D5-46AE-A5B8-8102ED270C4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7751763" y="44005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1825E2-B7A0-4361-9A91-5B60D831FAED}" type="datetime'5''''''''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6D8AFC9C-AE9D-4FDE-A03B-16BDE1540E8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053388" y="4017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6DFA87-5967-4B38-AF3A-AF6D2DB58547}" type="datetime'''''''''''''''''''''2''''''''''''''''''''''0'">
              <a:rPr lang="en-US" alt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6C1DA23D-79F8-44CE-A63D-33BD3163E5B8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8240713" y="4271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74E859-FD1B-4549-BA2B-12565A0F1CB7}" type="datetime'''''''''''''''''''1''''''''''0'''''">
              <a:rPr lang="en-US" altLang="en-US" sz="1000" smtClean="0">
                <a:solidFill>
                  <a:srgbClr val="000000"/>
                </a:solidFill>
              </a:rPr>
              <a:pPr/>
              <a:t>1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F686B30C-2DE1-44BD-91C9-33994140AF6C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8464550" y="44005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0ED47D5-7860-4525-8CC0-4D4E84390DCA}" type="datetime'''''''''''''''5'''''''''''''''''''''">
              <a:rPr lang="en-US" altLang="en-US" sz="1000" smtClean="0">
                <a:solidFill>
                  <a:srgbClr val="000000"/>
                </a:solidFill>
              </a:rPr>
              <a:pPr/>
              <a:t>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D7C26B6C-EF80-46B6-9CEB-65733B2169FF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151688" y="37623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B8AD66E-A167-420F-8281-F53C47A67A18}" type="datetime'''''''''''''3''''''''''''''''''''''''''''''0'''">
              <a:rPr lang="en-US" altLang="en-US" sz="1000" smtClean="0">
                <a:solidFill>
                  <a:srgbClr val="000000"/>
                </a:solidFill>
              </a:rPr>
              <a:pPr/>
              <a:t>3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AA1862D9-81D5-481F-9586-3EBA3529539D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8953500" y="4271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8D99C6-1D27-4DD0-B380-1979DFB485B0}" type="datetime'''1''''0'''''''''''''''''''">
              <a:rPr lang="en-US" altLang="en-US" sz="1000" smtClean="0">
                <a:solidFill>
                  <a:srgbClr val="000000"/>
                </a:solidFill>
              </a:rPr>
              <a:pPr/>
              <a:t>1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2" name="Text Placeholder">
            <a:extLst>
              <a:ext uri="{FF2B5EF4-FFF2-40B4-BE49-F238E27FC236}">
                <a16:creationId xmlns:a16="http://schemas.microsoft.com/office/drawing/2014/main" id="{408A1A20-65D7-41AF-B163-D7420300AD2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9177338" y="44005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015E6B-9469-4CAD-9B5B-0D4E6AB53028}" type="datetime'''''''''''''''''''''''''''''''''5'''''''''''''''''''''''''''''">
              <a:rPr lang="en-US" altLang="en-US" sz="1000" smtClean="0">
                <a:solidFill>
                  <a:srgbClr val="000000"/>
                </a:solidFill>
              </a:rPr>
              <a:pPr/>
              <a:t>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B2D02700-F917-4618-BA8C-2696334333D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9364663" y="44767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973461B-04F7-40DC-9A2C-EC5577F84391}" type="datetime'''''''''''''''''''2'''''">
              <a:rPr lang="en-US" altLang="en-US" sz="1000" smtClean="0">
                <a:solidFill>
                  <a:srgbClr val="000000"/>
                </a:solidFill>
              </a:rPr>
              <a:pPr/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F74F4063-F866-4100-9439-AB6ED2DA6471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9553575" y="45021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446461-B25D-4BF9-BF25-500BE55559CC}" type="datetime'''''''''''''''''''1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1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5" name="Text Placeholder">
            <a:extLst>
              <a:ext uri="{FF2B5EF4-FFF2-40B4-BE49-F238E27FC236}">
                <a16:creationId xmlns:a16="http://schemas.microsoft.com/office/drawing/2014/main" id="{FB402D6C-4C7E-4303-BFD3-E7119F266D3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9890125" y="44005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4CE3C22-576C-4997-B48C-B48823F4E69D}" type="datetime'''''''''''''''''''''''''''''''5'''''''''''''''''''''">
              <a:rPr lang="en-US" altLang="en-US" sz="1000" smtClean="0">
                <a:solidFill>
                  <a:srgbClr val="000000"/>
                </a:solidFill>
              </a:rPr>
              <a:pPr/>
              <a:t>5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6" name="Text Placeholder">
            <a:extLst>
              <a:ext uri="{FF2B5EF4-FFF2-40B4-BE49-F238E27FC236}">
                <a16:creationId xmlns:a16="http://schemas.microsoft.com/office/drawing/2014/main" id="{D82C85DD-65A4-4E91-8F31-F7640E576FC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0077450" y="44767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DA00E6-1272-4E51-8DFE-4B3A67CC5846}" type="datetime'''''2'''''''''''''''">
              <a:rPr lang="en-US" altLang="en-US" sz="1000" smtClean="0">
                <a:solidFill>
                  <a:srgbClr val="000000"/>
                </a:solidFill>
              </a:rPr>
              <a:pPr/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5031A5CB-CB41-48CE-BA55-BC18765A584A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651875" y="44767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BAB914-D8C0-457A-9B60-B63F6FB85816}" type="datetime'''''''''''''''''''''''''''''''''''''''''''''''''''''2'''''''">
              <a:rPr lang="en-US" altLang="en-US" sz="1000" smtClean="0">
                <a:solidFill>
                  <a:srgbClr val="000000"/>
                </a:solidFill>
              </a:rPr>
              <a:pPr/>
              <a:t>2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D1CE9A2-66B6-435E-B8F5-A4A264064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/>
              <a:t>Awareness funnel</a:t>
            </a:r>
            <a:r>
              <a:rPr lang="en-US"/>
              <a:t>: X clear leader on brand awareness and usage followed by Y</a:t>
            </a:r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13AAF37-6A8C-4D34-B3B8-1EBDBDA027C1}"/>
              </a:ext>
            </a:extLst>
          </p:cNvPr>
          <p:cNvSpPr/>
          <p:nvPr/>
        </p:nvSpPr>
        <p:spPr bwMode="gray">
          <a:xfrm>
            <a:off x="1691505" y="2045232"/>
            <a:ext cx="875997" cy="4032295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btfpRunningAgenda1Level957375">
            <a:extLst>
              <a:ext uri="{FF2B5EF4-FFF2-40B4-BE49-F238E27FC236}">
                <a16:creationId xmlns:a16="http://schemas.microsoft.com/office/drawing/2014/main" id="{7BAC8C83-D6BC-45DB-8D15-E20F1E101EEE}"/>
              </a:ext>
            </a:extLst>
          </p:cNvPr>
          <p:cNvGrpSpPr/>
          <p:nvPr>
            <p:custDataLst>
              <p:tags r:id="rId60"/>
            </p:custDataLst>
          </p:nvPr>
        </p:nvGrpSpPr>
        <p:grpSpPr>
          <a:xfrm>
            <a:off x="0" y="944429"/>
            <a:ext cx="2283602" cy="257442"/>
            <a:chOff x="0" y="876300"/>
            <a:chExt cx="2283602" cy="257442"/>
          </a:xfrm>
        </p:grpSpPr>
        <p:sp>
          <p:nvSpPr>
            <p:cNvPr id="37" name="btfpRunningAgenda1LevelBarLeft957375">
              <a:extLst>
                <a:ext uri="{FF2B5EF4-FFF2-40B4-BE49-F238E27FC236}">
                  <a16:creationId xmlns:a16="http://schemas.microsoft.com/office/drawing/2014/main" id="{2FCCCE7E-7D8A-484E-9C12-8F6DDD76ECDD}"/>
                </a:ext>
              </a:extLst>
            </p:cNvPr>
            <p:cNvSpPr/>
            <p:nvPr/>
          </p:nvSpPr>
          <p:spPr bwMode="gray">
            <a:xfrm>
              <a:off x="0" y="876300"/>
              <a:ext cx="2283602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0 w 888065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146368 w 1146368"/>
                <a:gd name="connsiteY0" fmla="*/ 0 h 257442"/>
                <a:gd name="connsiteX1" fmla="*/ 727829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99642 w 1399642"/>
                <a:gd name="connsiteY0" fmla="*/ 0 h 257442"/>
                <a:gd name="connsiteX1" fmla="*/ 1091647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567957 w 1567957"/>
                <a:gd name="connsiteY0" fmla="*/ 0 h 257442"/>
                <a:gd name="connsiteX1" fmla="*/ 134492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782551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950802 w 950802"/>
                <a:gd name="connsiteY0" fmla="*/ 0 h 257442"/>
                <a:gd name="connsiteX1" fmla="*/ 72783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1145918 w 1145918"/>
                <a:gd name="connsiteY0" fmla="*/ 0 h 257442"/>
                <a:gd name="connsiteX1" fmla="*/ 896080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474085 w 1474085"/>
                <a:gd name="connsiteY0" fmla="*/ 0 h 257442"/>
                <a:gd name="connsiteX1" fmla="*/ 1091197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634385 w 1634385"/>
                <a:gd name="connsiteY0" fmla="*/ 0 h 257442"/>
                <a:gd name="connsiteX1" fmla="*/ 14193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802701 w 1802701"/>
                <a:gd name="connsiteY0" fmla="*/ 0 h 257442"/>
                <a:gd name="connsiteX1" fmla="*/ 1579664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963001 w 1963001"/>
                <a:gd name="connsiteY0" fmla="*/ 0 h 257442"/>
                <a:gd name="connsiteX1" fmla="*/ 17479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2131316 w 2131316"/>
                <a:gd name="connsiteY0" fmla="*/ 0 h 257442"/>
                <a:gd name="connsiteX1" fmla="*/ 1908280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6 w 2131316"/>
                <a:gd name="connsiteY0" fmla="*/ 0 h 257442"/>
                <a:gd name="connsiteX1" fmla="*/ 2076594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299633 w 2299633"/>
                <a:gd name="connsiteY0" fmla="*/ 0 h 257442"/>
                <a:gd name="connsiteX1" fmla="*/ 2076595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2 w 2299632"/>
                <a:gd name="connsiteY0" fmla="*/ 0 h 257442"/>
                <a:gd name="connsiteX1" fmla="*/ 2244911 w 2299632"/>
                <a:gd name="connsiteY1" fmla="*/ 257442 h 257442"/>
                <a:gd name="connsiteX2" fmla="*/ 0 w 2299632"/>
                <a:gd name="connsiteY2" fmla="*/ 257442 h 257442"/>
                <a:gd name="connsiteX3" fmla="*/ 0 w 2299632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1 w 2299633"/>
                <a:gd name="connsiteY2" fmla="*/ 257442 h 257442"/>
                <a:gd name="connsiteX3" fmla="*/ 0 w 2299633"/>
                <a:gd name="connsiteY3" fmla="*/ 0 h 257442"/>
                <a:gd name="connsiteX0" fmla="*/ 2131317 w 2244912"/>
                <a:gd name="connsiteY0" fmla="*/ 0 h 257442"/>
                <a:gd name="connsiteX1" fmla="*/ 2244912 w 2244912"/>
                <a:gd name="connsiteY1" fmla="*/ 257442 h 257442"/>
                <a:gd name="connsiteX2" fmla="*/ 1 w 2244912"/>
                <a:gd name="connsiteY2" fmla="*/ 257442 h 257442"/>
                <a:gd name="connsiteX3" fmla="*/ 0 w 2244912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1 w 2131317"/>
                <a:gd name="connsiteY2" fmla="*/ 257442 h 257442"/>
                <a:gd name="connsiteX3" fmla="*/ 0 w 2131317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2 w 2131317"/>
                <a:gd name="connsiteY2" fmla="*/ 257442 h 257442"/>
                <a:gd name="connsiteX3" fmla="*/ 0 w 2131317"/>
                <a:gd name="connsiteY3" fmla="*/ 0 h 257442"/>
                <a:gd name="connsiteX0" fmla="*/ 2131315 w 2131315"/>
                <a:gd name="connsiteY0" fmla="*/ 0 h 257442"/>
                <a:gd name="connsiteX1" fmla="*/ 2076594 w 2131315"/>
                <a:gd name="connsiteY1" fmla="*/ 257442 h 257442"/>
                <a:gd name="connsiteX2" fmla="*/ 0 w 2131315"/>
                <a:gd name="connsiteY2" fmla="*/ 257442 h 257442"/>
                <a:gd name="connsiteX3" fmla="*/ 0 w 2131315"/>
                <a:gd name="connsiteY3" fmla="*/ 0 h 257442"/>
                <a:gd name="connsiteX0" fmla="*/ 1963001 w 2076594"/>
                <a:gd name="connsiteY0" fmla="*/ 0 h 257442"/>
                <a:gd name="connsiteX1" fmla="*/ 2076594 w 2076594"/>
                <a:gd name="connsiteY1" fmla="*/ 257442 h 257442"/>
                <a:gd name="connsiteX2" fmla="*/ 0 w 2076594"/>
                <a:gd name="connsiteY2" fmla="*/ 257442 h 257442"/>
                <a:gd name="connsiteX3" fmla="*/ 0 w 2076594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1 w 1963001"/>
                <a:gd name="connsiteY2" fmla="*/ 257442 h 257442"/>
                <a:gd name="connsiteX3" fmla="*/ 0 w 1963001"/>
                <a:gd name="connsiteY3" fmla="*/ 0 h 257442"/>
                <a:gd name="connsiteX0" fmla="*/ 1963000 w 1963000"/>
                <a:gd name="connsiteY0" fmla="*/ 0 h 257442"/>
                <a:gd name="connsiteX1" fmla="*/ 1908279 w 1963000"/>
                <a:gd name="connsiteY1" fmla="*/ 257442 h 257442"/>
                <a:gd name="connsiteX2" fmla="*/ 0 w 1963000"/>
                <a:gd name="connsiteY2" fmla="*/ 257442 h 257442"/>
                <a:gd name="connsiteX3" fmla="*/ 0 w 1963000"/>
                <a:gd name="connsiteY3" fmla="*/ 0 h 257442"/>
                <a:gd name="connsiteX0" fmla="*/ 2123301 w 2123301"/>
                <a:gd name="connsiteY0" fmla="*/ 0 h 257442"/>
                <a:gd name="connsiteX1" fmla="*/ 1908279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1 w 2123301"/>
                <a:gd name="connsiteY0" fmla="*/ 0 h 257442"/>
                <a:gd name="connsiteX1" fmla="*/ 2068580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1 w 2123302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0 w 2123302"/>
                <a:gd name="connsiteY3" fmla="*/ 0 h 257442"/>
                <a:gd name="connsiteX0" fmla="*/ 2283602 w 2283602"/>
                <a:gd name="connsiteY0" fmla="*/ 0 h 257442"/>
                <a:gd name="connsiteX1" fmla="*/ 20685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602" h="257442">
                  <a:moveTo>
                    <a:pt x="2283602" y="0"/>
                  </a:moveTo>
                  <a:lnTo>
                    <a:pt x="2228881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1LevelTextLeft957375">
              <a:extLst>
                <a:ext uri="{FF2B5EF4-FFF2-40B4-BE49-F238E27FC236}">
                  <a16:creationId xmlns:a16="http://schemas.microsoft.com/office/drawing/2014/main" id="{F1E276B5-1D3B-4ADE-8100-70CEDC8CC41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8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</a:t>
              </a:r>
              <a:endParaRPr kumimoji="0" lang="en-US" sz="1200" b="1" i="0" u="none" strike="noStrike" kern="1200" cap="all" spc="4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6E5B48E6-2C14-4D97-A7EB-E683B88FFB14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729913" y="3948113"/>
            <a:ext cx="179388" cy="133350"/>
          </a:xfrm>
          <a:prstGeom prst="rect">
            <a:avLst/>
          </a:prstGeom>
          <a:solidFill>
            <a:srgbClr val="33333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72168B-1849-45A1-9C05-01EDF34EFA48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729913" y="4151313"/>
            <a:ext cx="179388" cy="133350"/>
          </a:xfrm>
          <a:prstGeom prst="rect">
            <a:avLst/>
          </a:prstGeom>
          <a:solidFill>
            <a:srgbClr val="5C5C5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1B8DC-503E-436E-B075-AE37D87A9C46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729913" y="4354513"/>
            <a:ext cx="179388" cy="133350"/>
          </a:xfrm>
          <a:prstGeom prst="rect">
            <a:avLst/>
          </a:prstGeom>
          <a:solidFill>
            <a:srgbClr val="858585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8EEA76-2525-4388-8CA1-C749644530EA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10729913" y="4557713"/>
            <a:ext cx="179388" cy="133350"/>
          </a:xfrm>
          <a:prstGeom prst="rect">
            <a:avLst/>
          </a:prstGeom>
          <a:solidFill>
            <a:srgbClr val="B4B4B4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2BA92792-A6B6-43CF-80E2-051C1C701A9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960100" y="3943350"/>
            <a:ext cx="358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68D3F6A-F43F-44F5-8600-F2283006EB30}" type="datetime'''''''''''''''''''''''''''''''A''w''''''''ar''''''''''''''''e'">
              <a:rPr lang="en-US" altLang="en-US" sz="1000" smtClean="0">
                <a:solidFill>
                  <a:srgbClr val="000000"/>
                </a:solidFill>
                <a:effectLst/>
              </a:rPr>
              <a:pPr/>
              <a:t>Aware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0" name="Text Placeholder">
            <a:extLst>
              <a:ext uri="{FF2B5EF4-FFF2-40B4-BE49-F238E27FC236}">
                <a16:creationId xmlns:a16="http://schemas.microsoft.com/office/drawing/2014/main" id="{08B1F8C1-232D-4A43-A4E7-8F3DB481EC8E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0960100" y="4146550"/>
            <a:ext cx="646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1A1FE12-A1E5-44D4-8A61-4EF20EAE720E}" type="datetime'''''''''''Consi''''''d''''''''''e''r''''''''''e''''''''d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Considered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5A602A86-8642-488D-9A35-3AB841A4DB6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960100" y="4349750"/>
            <a:ext cx="568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3C08756-9EC9-4402-9428-73F1A5D92E3C}" type="datetime'E''''''''''ve''''r'''''''''' ''u''''''''se''''''''''d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Ever used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79BBAB96-9C34-449E-AFC8-C5DE8729929E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960100" y="4552950"/>
            <a:ext cx="850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D7EE032-07C9-4F05-8CC1-0523463FFE62}" type="datetime'C''''''u''rr''en''t''l''''''''y us''''''i''n''g'''''''''''">
              <a:rPr lang="en-US" altLang="en-US" sz="1000" smtClean="0">
                <a:solidFill>
                  <a:srgbClr val="000000"/>
                </a:solidFill>
                <a:effectLst/>
              </a:rPr>
              <a:pPr/>
              <a:t>Currently using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411935">
            <a:extLst>
              <a:ext uri="{FF2B5EF4-FFF2-40B4-BE49-F238E27FC236}">
                <a16:creationId xmlns:a16="http://schemas.microsoft.com/office/drawing/2014/main" id="{4F2B963D-5DB9-3FE8-6D9A-942F7EDBABC7}"/>
              </a:ext>
            </a:extLst>
          </p:cNvPr>
          <p:cNvGrpSpPr/>
          <p:nvPr>
            <p:custDataLst>
              <p:tags r:id="rId69"/>
            </p:custDataLst>
          </p:nvPr>
        </p:nvGrpSpPr>
        <p:grpSpPr>
          <a:xfrm>
            <a:off x="10508416" y="955344"/>
            <a:ext cx="1353384" cy="235611"/>
            <a:chOff x="-7199214" y="876300"/>
            <a:chExt cx="1353384" cy="235611"/>
          </a:xfrm>
        </p:grpSpPr>
        <p:sp>
          <p:nvSpPr>
            <p:cNvPr id="7" name="btfpStatusStickerText411935">
              <a:extLst>
                <a:ext uri="{FF2B5EF4-FFF2-40B4-BE49-F238E27FC236}">
                  <a16:creationId xmlns:a16="http://schemas.microsoft.com/office/drawing/2014/main" id="{2811D04D-E989-03A1-F28E-3D0860F15ABD}"/>
                </a:ext>
              </a:extLst>
            </p:cNvPr>
            <p:cNvSpPr txBox="1"/>
            <p:nvPr/>
          </p:nvSpPr>
          <p:spPr bwMode="gray">
            <a:xfrm>
              <a:off x="-7199214" y="876300"/>
              <a:ext cx="135338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emplate</a:t>
              </a:r>
            </a:p>
          </p:txBody>
        </p:sp>
        <p:cxnSp>
          <p:nvCxnSpPr>
            <p:cNvPr id="14" name="btfpStatusStickerLine411935">
              <a:extLst>
                <a:ext uri="{FF2B5EF4-FFF2-40B4-BE49-F238E27FC236}">
                  <a16:creationId xmlns:a16="http://schemas.microsoft.com/office/drawing/2014/main" id="{12589716-0781-8C5E-4418-DE9477B6D0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19921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8" name="Text Placeholder">
            <a:extLst>
              <a:ext uri="{FF2B5EF4-FFF2-40B4-BE49-F238E27FC236}">
                <a16:creationId xmlns:a16="http://schemas.microsoft.com/office/drawing/2014/main" id="{4190E805-9459-459D-B2CA-F39D5834EE1C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330200" y="4900613"/>
            <a:ext cx="136207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0800" tIns="50800" rIns="0" bIns="254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4824BDC-45B8-4743-89C9-4551AAFA81D7}" type="datetime'''Ever ''u''se''d a''''s ''%''&#10;o''f  c''onsider''''''ed'">
              <a:rPr lang="en-US" altLang="en-US" sz="10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Ever used as %
of  considered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199" name="Text Placeholder">
            <a:extLst>
              <a:ext uri="{FF2B5EF4-FFF2-40B4-BE49-F238E27FC236}">
                <a16:creationId xmlns:a16="http://schemas.microsoft.com/office/drawing/2014/main" id="{9AFBF37F-B167-463D-A652-A044360CFC77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1692275" y="4900613"/>
            <a:ext cx="87471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25CBE3-D481-4D56-BC86-7BA4999888D3}" type="datetime'''7''''''''''''''''''''''''0''''''''''''''''''''''''''''%'''">
              <a:rPr lang="en-IN" altLang="en-US" sz="1000" b="1" smtClean="0">
                <a:solidFill>
                  <a:srgbClr val="000000"/>
                </a:solidFill>
              </a:rPr>
              <a:pPr/>
              <a:t>70%</a:t>
            </a:fld>
            <a:endParaRPr lang="en-IN" sz="1000" b="1" dirty="0">
              <a:solidFill>
                <a:srgbClr val="000000"/>
              </a:solidFill>
            </a:endParaRPr>
          </a:p>
        </p:txBody>
      </p:sp>
      <p:sp>
        <p:nvSpPr>
          <p:cNvPr id="200" name="Text Placeholder">
            <a:extLst>
              <a:ext uri="{FF2B5EF4-FFF2-40B4-BE49-F238E27FC236}">
                <a16:creationId xmlns:a16="http://schemas.microsoft.com/office/drawing/2014/main" id="{DECBB764-4D4F-4553-A17A-8E314687E0A2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2566988" y="4900613"/>
            <a:ext cx="896938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5D063AC-BD2E-47AA-80DA-0A29AC0F68E0}" type="datetime'''''''''''''6''''''''''0''''%'''''''">
              <a:rPr lang="en-IN" altLang="en-US" sz="1000" smtClean="0">
                <a:solidFill>
                  <a:srgbClr val="000000"/>
                </a:solidFill>
              </a:rPr>
              <a:pPr/>
              <a:t>6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1" name="Text Placeholder">
            <a:extLst>
              <a:ext uri="{FF2B5EF4-FFF2-40B4-BE49-F238E27FC236}">
                <a16:creationId xmlns:a16="http://schemas.microsoft.com/office/drawing/2014/main" id="{958672DA-70EC-4019-A045-049FAB337136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463926" y="4900613"/>
            <a:ext cx="90011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12515A-2EF6-43E8-9C3C-9695BE98F545}" type="datetime'5''''''''''''''''''''''''''''''''''''''''''0''''''''''%'''''''">
              <a:rPr lang="en-IN" altLang="en-US" sz="1000" smtClean="0">
                <a:solidFill>
                  <a:srgbClr val="000000"/>
                </a:solidFill>
              </a:rPr>
              <a:pPr/>
              <a:t>5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2" name="Text Placeholder">
            <a:extLst>
              <a:ext uri="{FF2B5EF4-FFF2-40B4-BE49-F238E27FC236}">
                <a16:creationId xmlns:a16="http://schemas.microsoft.com/office/drawing/2014/main" id="{50A33883-B536-4533-95ED-C8E7985C890D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4364038" y="4900613"/>
            <a:ext cx="9144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BC7AD2-E7B3-426F-8D33-E6B0881BD3D6}" type="datetime'''''''''''''''''''''''''4''''''0''''''''''''''''''''''%'''''">
              <a:rPr lang="en-IN" altLang="en-US" sz="1000" smtClean="0">
                <a:solidFill>
                  <a:srgbClr val="000000"/>
                </a:solidFill>
              </a:rPr>
              <a:pPr/>
              <a:t>4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98319754-7A69-4453-8ECD-D169DE14607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5278439" y="4900613"/>
            <a:ext cx="8985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8882F6-B254-47CF-856F-A8EA0CCE1EA4}" type="datetime'''3''''''''''''''''''''''''0''''''%'''">
              <a:rPr lang="en-IN" altLang="en-US" sz="1000" smtClean="0">
                <a:solidFill>
                  <a:srgbClr val="000000"/>
                </a:solidFill>
              </a:rPr>
              <a:pPr/>
              <a:t>3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4" name="Text Placeholder">
            <a:extLst>
              <a:ext uri="{FF2B5EF4-FFF2-40B4-BE49-F238E27FC236}">
                <a16:creationId xmlns:a16="http://schemas.microsoft.com/office/drawing/2014/main" id="{F0984BE4-41CA-4E01-81E6-9407BC4DBB1A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176963" y="4900613"/>
            <a:ext cx="896938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4A0213-B524-4128-B177-FA3AF0A6516A}" type="datetime'''''''''''''''2''''''''''''''''''0''''''''%'''''''''''''''''''">
              <a:rPr lang="en-IN" altLang="en-US" sz="1000" smtClean="0">
                <a:solidFill>
                  <a:srgbClr val="000000"/>
                </a:solidFill>
              </a:rPr>
              <a:pPr/>
              <a:t>2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31E08055-3FB9-4949-BE8F-BE17888D9E56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073900" y="4900613"/>
            <a:ext cx="915988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0CE99C-0C09-41DF-A031-452219411A85}" type="datetime'''''1''''''''''''''''''''0''''''%'''">
              <a:rPr lang="en-IN" altLang="en-US" sz="1000" smtClean="0">
                <a:solidFill>
                  <a:srgbClr val="000000"/>
                </a:solidFill>
              </a:rPr>
              <a:pPr/>
              <a:t>1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6" name="Text Placeholder">
            <a:extLst>
              <a:ext uri="{FF2B5EF4-FFF2-40B4-BE49-F238E27FC236}">
                <a16:creationId xmlns:a16="http://schemas.microsoft.com/office/drawing/2014/main" id="{66BDCF9C-0E18-42BD-8F52-2B576FAF6DF4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989888" y="4900613"/>
            <a:ext cx="90487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59D47B7-7EAC-40A1-AA14-AB2A205BDD26}" type="datetime'''''''''''5''''''''''%'''''''''">
              <a:rPr lang="en-IN" altLang="en-US" sz="1000" smtClean="0">
                <a:solidFill>
                  <a:srgbClr val="000000"/>
                </a:solidFill>
              </a:rPr>
              <a:pPr/>
              <a:t>5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07EFA71C-FEAB-4918-8CF0-07B575E88BE4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894764" y="4900613"/>
            <a:ext cx="89217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C2FFC60-DA15-4ACC-8C8F-19EE61667BF1}" type="datetime'''''''''''''''''''''2''''''''%'''''''''''">
              <a:rPr lang="en-IN" altLang="en-US" sz="1000" smtClean="0">
                <a:solidFill>
                  <a:srgbClr val="000000"/>
                </a:solidFill>
              </a:rPr>
              <a:pPr/>
              <a:t>2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8" name="Text Placeholder">
            <a:extLst>
              <a:ext uri="{FF2B5EF4-FFF2-40B4-BE49-F238E27FC236}">
                <a16:creationId xmlns:a16="http://schemas.microsoft.com/office/drawing/2014/main" id="{12927CA0-477B-4E94-B576-5C99D3819FCA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9786939" y="4900613"/>
            <a:ext cx="89217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270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B2245B-CB50-4D3A-95EA-45CAE8E6DBF7}" type="datetime'''''''''''''''''''''''''''0''''''%'">
              <a:rPr lang="en-IN" altLang="en-US" sz="1000" smtClean="0">
                <a:solidFill>
                  <a:srgbClr val="000000"/>
                </a:solidFill>
              </a:rPr>
              <a:pPr/>
              <a:t>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09" name="Text Placeholder">
            <a:extLst>
              <a:ext uri="{FF2B5EF4-FFF2-40B4-BE49-F238E27FC236}">
                <a16:creationId xmlns:a16="http://schemas.microsoft.com/office/drawing/2014/main" id="{82A07675-1327-438B-B48D-55D7CE929655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330200" y="5281613"/>
            <a:ext cx="1362075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0800" tIns="25400" rIns="0" bIns="254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8775090-AA54-4832-9445-FA2CFE5D9FC5}" type="datetime'''Currently'' usin''g'' a''s'' %&#10;o''''f ever'' u''s''''e''''d'">
              <a:rPr lang="en-US" altLang="en-US" sz="10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Currently using as %
of ever used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C92E9183-91F3-4610-8A5A-48470AA43AF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1692275" y="5281613"/>
            <a:ext cx="874713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FE801A-44E7-4B08-849B-56931272B741}" type="datetime'''''''7''''0''''''''%'''''''''''''''''''''''''''''''''">
              <a:rPr lang="en-IN" altLang="en-US" sz="1000" b="1" smtClean="0">
                <a:solidFill>
                  <a:srgbClr val="000000"/>
                </a:solidFill>
              </a:rPr>
              <a:pPr/>
              <a:t>70%</a:t>
            </a:fld>
            <a:endParaRPr lang="en-IN" sz="1000" b="1" dirty="0">
              <a:solidFill>
                <a:srgbClr val="000000"/>
              </a:solidFill>
            </a:endParaRPr>
          </a:p>
        </p:txBody>
      </p:sp>
      <p:sp>
        <p:nvSpPr>
          <p:cNvPr id="211" name="Text Placeholder">
            <a:extLst>
              <a:ext uri="{FF2B5EF4-FFF2-40B4-BE49-F238E27FC236}">
                <a16:creationId xmlns:a16="http://schemas.microsoft.com/office/drawing/2014/main" id="{342AB197-6CD8-4263-B70F-C500DC0A1CB2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2566988" y="5281613"/>
            <a:ext cx="896938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3E2B27F-A3C3-4353-A15C-5C4CE435F5E5}" type="datetime'''''''''6''0%'''''''''''''">
              <a:rPr lang="en-IN" altLang="en-US" sz="1000" smtClean="0">
                <a:solidFill>
                  <a:srgbClr val="000000"/>
                </a:solidFill>
              </a:rPr>
              <a:pPr/>
              <a:t>6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2" name="Text Placeholder">
            <a:extLst>
              <a:ext uri="{FF2B5EF4-FFF2-40B4-BE49-F238E27FC236}">
                <a16:creationId xmlns:a16="http://schemas.microsoft.com/office/drawing/2014/main" id="{4CD7318F-4B03-407C-802F-F2B6A0E1AC04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463926" y="5281613"/>
            <a:ext cx="900113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1FF41C1-A924-4CBA-935B-8479FDCD9555}" type="datetime'''''''5''''''''''''''''''''''''''''''''''''0''%'">
              <a:rPr lang="en-IN" altLang="en-US" sz="1000" smtClean="0">
                <a:solidFill>
                  <a:srgbClr val="000000"/>
                </a:solidFill>
              </a:rPr>
              <a:pPr/>
              <a:t>5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3" name="Text Placeholder">
            <a:extLst>
              <a:ext uri="{FF2B5EF4-FFF2-40B4-BE49-F238E27FC236}">
                <a16:creationId xmlns:a16="http://schemas.microsoft.com/office/drawing/2014/main" id="{59C84040-7A92-40E9-AE99-90FA4FFD1631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364038" y="5281613"/>
            <a:ext cx="914400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8B7BC6-72B3-40CA-9822-CEC7F4AABDF1}" type="datetime'''''''''4''''''''''''''''''''''''''''''''0''%'''''''''''''">
              <a:rPr lang="en-IN" altLang="en-US" sz="1000" smtClean="0">
                <a:solidFill>
                  <a:srgbClr val="000000"/>
                </a:solidFill>
              </a:rPr>
              <a:pPr/>
              <a:t>4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4" name="Text Placeholder">
            <a:extLst>
              <a:ext uri="{FF2B5EF4-FFF2-40B4-BE49-F238E27FC236}">
                <a16:creationId xmlns:a16="http://schemas.microsoft.com/office/drawing/2014/main" id="{E55BD540-FD21-4981-98BF-128E1820EBB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278439" y="5281613"/>
            <a:ext cx="898525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E5A2B3-072E-4931-BBE7-392C69876843}" type="datetime'''''''''''''''''''''''''''''''''3''''''''''''''''''''0''%'''''">
              <a:rPr lang="en-IN" altLang="en-US" sz="1000" smtClean="0">
                <a:solidFill>
                  <a:srgbClr val="000000"/>
                </a:solidFill>
              </a:rPr>
              <a:pPr/>
              <a:t>3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5" name="Text Placeholder">
            <a:extLst>
              <a:ext uri="{FF2B5EF4-FFF2-40B4-BE49-F238E27FC236}">
                <a16:creationId xmlns:a16="http://schemas.microsoft.com/office/drawing/2014/main" id="{DF7642F4-EF90-4730-B594-36030274DAC3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176963" y="5281613"/>
            <a:ext cx="896938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83E448-77C1-4656-8FF7-B43460B1A274}" type="datetime'''''''''''2''''''0''''''''''''%'''''">
              <a:rPr lang="en-IN" altLang="en-US" sz="1000" smtClean="0">
                <a:solidFill>
                  <a:srgbClr val="000000"/>
                </a:solidFill>
              </a:rPr>
              <a:pPr/>
              <a:t>2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6" name="Text Placeholder">
            <a:extLst>
              <a:ext uri="{FF2B5EF4-FFF2-40B4-BE49-F238E27FC236}">
                <a16:creationId xmlns:a16="http://schemas.microsoft.com/office/drawing/2014/main" id="{0FA3FE10-1113-4BAC-912D-07FFD9A3A283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7073900" y="5281613"/>
            <a:ext cx="915988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7C0073C-17F2-446B-A9CC-F2E3F74758D2}" type="datetime'''''''''''''''''''''''''''''''''''''''1''''0''''''''''%'''">
              <a:rPr lang="en-IN" altLang="en-US" sz="1000" smtClean="0">
                <a:solidFill>
                  <a:srgbClr val="000000"/>
                </a:solidFill>
              </a:rPr>
              <a:pPr/>
              <a:t>1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6A0F9774-D1FE-4641-BC8B-CA5AD69AAC8C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7989888" y="5281613"/>
            <a:ext cx="904875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4DAF58-D9C6-4F2A-9EA7-CC13826ADF5C}" type="datetime'''''''''''''''''''''''''''''''5%'''''''''''''">
              <a:rPr lang="en-IN" altLang="en-US" sz="1000" smtClean="0">
                <a:solidFill>
                  <a:srgbClr val="000000"/>
                </a:solidFill>
              </a:rPr>
              <a:pPr/>
              <a:t>5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F3F71039-9CFE-43D0-8D1A-99626A1E88EA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894764" y="5281613"/>
            <a:ext cx="892175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71BA3F-FFBD-48D0-952E-69BE192FE71F}" type="datetime'2''''''''''''''''''''%'''''''''''''''">
              <a:rPr lang="en-IN" altLang="en-US" sz="1000" smtClean="0">
                <a:solidFill>
                  <a:srgbClr val="000000"/>
                </a:solidFill>
              </a:rPr>
              <a:pPr/>
              <a:t>2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19" name="Text Placeholder">
            <a:extLst>
              <a:ext uri="{FF2B5EF4-FFF2-40B4-BE49-F238E27FC236}">
                <a16:creationId xmlns:a16="http://schemas.microsoft.com/office/drawing/2014/main" id="{92F84703-0B37-41F0-8089-EB432D9BD4BC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9786939" y="5281613"/>
            <a:ext cx="892175" cy="3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1016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4D1F557-3870-473B-B952-70AB3BF7E16E}" type="datetime'''''''0''''''''''''%'''''''''''''''''''''''''">
              <a:rPr lang="en-IN" altLang="en-US" sz="1000" smtClean="0">
                <a:solidFill>
                  <a:srgbClr val="000000"/>
                </a:solidFill>
              </a:rPr>
              <a:pPr/>
              <a:t>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0" name="Text Placeholder">
            <a:extLst>
              <a:ext uri="{FF2B5EF4-FFF2-40B4-BE49-F238E27FC236}">
                <a16:creationId xmlns:a16="http://schemas.microsoft.com/office/drawing/2014/main" id="{84DAF5DB-F06F-48DD-A37A-281C2A059F32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330200" y="5637213"/>
            <a:ext cx="13620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50800" tIns="2540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18FA8DE-0AEC-4D08-8AD4-395DB354ABB5}" type="datetime'Eve''r ''''use''d as ''''%&#10;''o''f'' Curre''ntly ''us''''ing'">
              <a:rPr lang="en-US" altLang="en-US" sz="10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Ever used as %
of Currently using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1" name="Text Placeholder">
            <a:extLst>
              <a:ext uri="{FF2B5EF4-FFF2-40B4-BE49-F238E27FC236}">
                <a16:creationId xmlns:a16="http://schemas.microsoft.com/office/drawing/2014/main" id="{04A3B355-CD92-4C7F-8CBD-4719A88B79CA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1692275" y="5637213"/>
            <a:ext cx="8747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8FE4D5-DB99-4458-9D8E-5F77302430CE}" type="datetime'''''7''''''''''''0''''''''''''''''''''''''''''%'''''">
              <a:rPr lang="en-IN" altLang="en-US" sz="1000" b="1" smtClean="0">
                <a:solidFill>
                  <a:srgbClr val="000000"/>
                </a:solidFill>
              </a:rPr>
              <a:pPr/>
              <a:t>70%</a:t>
            </a:fld>
            <a:endParaRPr lang="en-IN" sz="1000" b="1" dirty="0">
              <a:solidFill>
                <a:srgbClr val="000000"/>
              </a:solidFill>
            </a:endParaRPr>
          </a:p>
        </p:txBody>
      </p:sp>
      <p:sp>
        <p:nvSpPr>
          <p:cNvPr id="222" name="Text Placeholder">
            <a:extLst>
              <a:ext uri="{FF2B5EF4-FFF2-40B4-BE49-F238E27FC236}">
                <a16:creationId xmlns:a16="http://schemas.microsoft.com/office/drawing/2014/main" id="{A5C4FC0F-B225-4335-87D8-C6B953F15575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566988" y="5637213"/>
            <a:ext cx="8969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9F6D558-82C7-495A-9BE1-15FDC9466D42}" type="datetime'60''''''''''''''''''''''''''%'">
              <a:rPr lang="en-IN" altLang="en-US" sz="1000" smtClean="0">
                <a:solidFill>
                  <a:srgbClr val="000000"/>
                </a:solidFill>
              </a:rPr>
              <a:pPr/>
              <a:t>6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3" name="Text Placeholder">
            <a:extLst>
              <a:ext uri="{FF2B5EF4-FFF2-40B4-BE49-F238E27FC236}">
                <a16:creationId xmlns:a16="http://schemas.microsoft.com/office/drawing/2014/main" id="{4E80E365-4703-4485-9622-DDBD1D3FCE19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3463926" y="5637213"/>
            <a:ext cx="900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828269-A33C-4916-B4C3-57D62583AA0F}" type="datetime'''''''''''''''''''''''''''''''''''5''''''''0''%'''">
              <a:rPr lang="en-IN" altLang="en-US" sz="1000" smtClean="0">
                <a:solidFill>
                  <a:srgbClr val="000000"/>
                </a:solidFill>
              </a:rPr>
              <a:pPr/>
              <a:t>5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4" name="Text Placeholder">
            <a:extLst>
              <a:ext uri="{FF2B5EF4-FFF2-40B4-BE49-F238E27FC236}">
                <a16:creationId xmlns:a16="http://schemas.microsoft.com/office/drawing/2014/main" id="{838B5F29-10F1-48F7-9593-DB1F8967D5AC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4364038" y="5637213"/>
            <a:ext cx="9144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447DC8-B3F0-4B4A-961A-FE656848EB66}" type="datetime'''''''''''''''''''''''''''''''''4''0''%'''''''''''''''''">
              <a:rPr lang="en-IN" altLang="en-US" sz="1000" smtClean="0">
                <a:solidFill>
                  <a:srgbClr val="000000"/>
                </a:solidFill>
              </a:rPr>
              <a:pPr/>
              <a:t>4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5" name="Text Placeholder">
            <a:extLst>
              <a:ext uri="{FF2B5EF4-FFF2-40B4-BE49-F238E27FC236}">
                <a16:creationId xmlns:a16="http://schemas.microsoft.com/office/drawing/2014/main" id="{43B2E77E-FE32-4327-82A6-68D7C5AF60F2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5278439" y="5637213"/>
            <a:ext cx="898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AB6153-A594-41FA-8E90-5CFFBD07A207}" type="datetime'''''3''''''''''''''''''''''0''''''''%'''''''">
              <a:rPr lang="en-IN" altLang="en-US" sz="1000" smtClean="0">
                <a:solidFill>
                  <a:srgbClr val="000000"/>
                </a:solidFill>
              </a:rPr>
              <a:pPr/>
              <a:t>3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6" name="Text Placeholder">
            <a:extLst>
              <a:ext uri="{FF2B5EF4-FFF2-40B4-BE49-F238E27FC236}">
                <a16:creationId xmlns:a16="http://schemas.microsoft.com/office/drawing/2014/main" id="{159A76D4-6A51-4B4A-AA49-5F3DA07F2195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6176963" y="5637213"/>
            <a:ext cx="8969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FD2F79-BEE7-431E-86D1-C938C4A84853}" type="datetime'''2''''''''''''''''''''0''''''''%'''''''''''">
              <a:rPr lang="en-IN" altLang="en-US" sz="1000" smtClean="0">
                <a:solidFill>
                  <a:srgbClr val="000000"/>
                </a:solidFill>
              </a:rPr>
              <a:pPr/>
              <a:t>2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8F555A4D-0ABF-4223-8929-CC532EC2393A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073900" y="5637213"/>
            <a:ext cx="9159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B85F9FB-54CB-457B-A4F5-AEB3BDE93CDD}" type="datetime'''''1''''''''''''''''''''''0''''''''''''''%'''''''''''''''''">
              <a:rPr lang="en-IN" altLang="en-US" sz="1000" smtClean="0">
                <a:solidFill>
                  <a:srgbClr val="000000"/>
                </a:solidFill>
              </a:rPr>
              <a:pPr/>
              <a:t>10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8" name="Text Placeholder">
            <a:extLst>
              <a:ext uri="{FF2B5EF4-FFF2-40B4-BE49-F238E27FC236}">
                <a16:creationId xmlns:a16="http://schemas.microsoft.com/office/drawing/2014/main" id="{199FB25F-1E04-4C83-BDDA-D2333DF2E0C2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989888" y="5637213"/>
            <a:ext cx="9048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3971646-BB30-4526-A69B-80A037768D2F}" type="datetime'5''%'''''''''''''''''''''''''''">
              <a:rPr lang="en-IN" altLang="en-US" sz="1000" smtClean="0">
                <a:solidFill>
                  <a:srgbClr val="000000"/>
                </a:solidFill>
              </a:rPr>
              <a:pPr/>
              <a:t>5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29" name="Text Placeholder">
            <a:extLst>
              <a:ext uri="{FF2B5EF4-FFF2-40B4-BE49-F238E27FC236}">
                <a16:creationId xmlns:a16="http://schemas.microsoft.com/office/drawing/2014/main" id="{8A9D7BFF-D7FB-419D-80B2-717F97A1911E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894764" y="5637213"/>
            <a:ext cx="8921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86E0E42-D623-401D-8A69-C35868620C3D}" type="datetime'''''''2''''%'''''''''''''''''''''''''''''''''''''''''''''''">
              <a:rPr lang="en-IN" altLang="en-US" sz="1000" smtClean="0">
                <a:solidFill>
                  <a:srgbClr val="000000"/>
                </a:solidFill>
              </a:rPr>
              <a:pPr/>
              <a:t>2%</a:t>
            </a:fld>
            <a:endParaRPr lang="en-IN" sz="10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ABA423A1-ADD3-4F28-A1C8-605226FA570A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9786939" y="5637213"/>
            <a:ext cx="8921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01600" rIns="0" bIns="762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BB59B8-3712-4D8B-9AFC-7CFC43439F1E}" type="datetime'0''''''''''%'''''''''''''''''''''''''''''''''''''''''">
              <a:rPr lang="en-IN" altLang="en-US" sz="1000" smtClean="0">
                <a:solidFill>
                  <a:srgbClr val="000000"/>
                </a:solidFill>
              </a:rPr>
              <a:pPr/>
              <a:t>0%</a:t>
            </a:fld>
            <a:endParaRPr lang="en-IN" sz="10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3980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btfpColumnIndicatorGroup2">
            <a:extLst>
              <a:ext uri="{FF2B5EF4-FFF2-40B4-BE49-F238E27FC236}">
                <a16:creationId xmlns:a16="http://schemas.microsoft.com/office/drawing/2014/main" id="{C3601007-8C36-439E-9C59-9BC17498F5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7" name="btfpColumnGapBlocker423655">
              <a:extLst>
                <a:ext uri="{FF2B5EF4-FFF2-40B4-BE49-F238E27FC236}">
                  <a16:creationId xmlns:a16="http://schemas.microsoft.com/office/drawing/2014/main" id="{92447A4F-B6A6-443A-8D16-12A58570AC3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470351">
              <a:extLst>
                <a:ext uri="{FF2B5EF4-FFF2-40B4-BE49-F238E27FC236}">
                  <a16:creationId xmlns:a16="http://schemas.microsoft.com/office/drawing/2014/main" id="{C3167E66-86A6-41C1-B177-4954BE2507A9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857765">
              <a:extLst>
                <a:ext uri="{FF2B5EF4-FFF2-40B4-BE49-F238E27FC236}">
                  <a16:creationId xmlns:a16="http://schemas.microsoft.com/office/drawing/2014/main" id="{C91E86F1-FBBA-43A3-BEC3-17BCF3279FC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495743">
              <a:extLst>
                <a:ext uri="{FF2B5EF4-FFF2-40B4-BE49-F238E27FC236}">
                  <a16:creationId xmlns:a16="http://schemas.microsoft.com/office/drawing/2014/main" id="{DA88C985-492E-4D0F-8F22-A98F7C4FAA0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932724">
              <a:extLst>
                <a:ext uri="{FF2B5EF4-FFF2-40B4-BE49-F238E27FC236}">
                  <a16:creationId xmlns:a16="http://schemas.microsoft.com/office/drawing/2014/main" id="{438966CB-2232-4B26-9F72-A339D6404AF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65480">
              <a:extLst>
                <a:ext uri="{FF2B5EF4-FFF2-40B4-BE49-F238E27FC236}">
                  <a16:creationId xmlns:a16="http://schemas.microsoft.com/office/drawing/2014/main" id="{219CE4E6-E2D8-4F61-8FCE-080E2D547C80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93994">
              <a:extLst>
                <a:ext uri="{FF2B5EF4-FFF2-40B4-BE49-F238E27FC236}">
                  <a16:creationId xmlns:a16="http://schemas.microsoft.com/office/drawing/2014/main" id="{D94AFFB4-118E-4614-AD5B-A94142F410E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IndicatorGroup1">
            <a:extLst>
              <a:ext uri="{FF2B5EF4-FFF2-40B4-BE49-F238E27FC236}">
                <a16:creationId xmlns:a16="http://schemas.microsoft.com/office/drawing/2014/main" id="{C3EBB66B-4A15-4EFE-99FD-6AF7744F418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953870">
              <a:extLst>
                <a:ext uri="{FF2B5EF4-FFF2-40B4-BE49-F238E27FC236}">
                  <a16:creationId xmlns:a16="http://schemas.microsoft.com/office/drawing/2014/main" id="{14CF0A65-A7B8-407F-902B-7495306BECB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728809">
              <a:extLst>
                <a:ext uri="{FF2B5EF4-FFF2-40B4-BE49-F238E27FC236}">
                  <a16:creationId xmlns:a16="http://schemas.microsoft.com/office/drawing/2014/main" id="{51FD2F1A-0F7F-4250-A545-4A75727E77C5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202799">
              <a:extLst>
                <a:ext uri="{FF2B5EF4-FFF2-40B4-BE49-F238E27FC236}">
                  <a16:creationId xmlns:a16="http://schemas.microsoft.com/office/drawing/2014/main" id="{3BF8A387-7B3C-4F56-9026-ACDE27608B4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910734">
              <a:extLst>
                <a:ext uri="{FF2B5EF4-FFF2-40B4-BE49-F238E27FC236}">
                  <a16:creationId xmlns:a16="http://schemas.microsoft.com/office/drawing/2014/main" id="{5271115F-CC1B-4200-A74A-CE75DDBDF83A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155698">
              <a:extLst>
                <a:ext uri="{FF2B5EF4-FFF2-40B4-BE49-F238E27FC236}">
                  <a16:creationId xmlns:a16="http://schemas.microsoft.com/office/drawing/2014/main" id="{04DE1F1D-B3C8-4854-8D74-E7A8A15E712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06652">
              <a:extLst>
                <a:ext uri="{FF2B5EF4-FFF2-40B4-BE49-F238E27FC236}">
                  <a16:creationId xmlns:a16="http://schemas.microsoft.com/office/drawing/2014/main" id="{C86B62EE-CA81-49B6-B7BB-9496DDD149A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98302">
              <a:extLst>
                <a:ext uri="{FF2B5EF4-FFF2-40B4-BE49-F238E27FC236}">
                  <a16:creationId xmlns:a16="http://schemas.microsoft.com/office/drawing/2014/main" id="{D68975A3-3C35-4D7A-90ED-9E0B3584DD6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CA5BB85-BF4D-486E-B995-D7B4C97DA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>
                <a:solidFill>
                  <a:srgbClr val="000000"/>
                </a:solidFill>
              </a:rPr>
              <a:t>Demographics</a:t>
            </a:r>
            <a:r>
              <a:rPr lang="en-GB" b="1">
                <a:solidFill>
                  <a:srgbClr val="000000"/>
                </a:solidFill>
              </a:rPr>
              <a:t>: </a:t>
            </a:r>
            <a:r>
              <a:rPr lang="en-GB"/>
              <a:t>Survey </a:t>
            </a:r>
            <a:r>
              <a:rPr lang="en-AU"/>
              <a:t>covers a diverse set of respondents across gender, age, location, income and ethnic groups</a:t>
            </a:r>
          </a:p>
        </p:txBody>
      </p:sp>
      <p:sp>
        <p:nvSpPr>
          <p:cNvPr id="16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xIXCU+fi5VUJoSyKvqO1ZB4s5RpOBH0pcFM1FeInKvhB1GlWRPzKZ8F/5DLkwFBPM82wmeqIGiwpD/HlNExKvyWkg5/PW+yGC8GPgPiFY3NtIggS5TbWAPvZP8CMzTUFdtRcjxKxArMbicbfbXjVO7aH6jmYdPMtiW6D6HYBxMYQiev4mywX0cBl9QOjUZBsX6fTGQnfG3Dbd9rQ8t/mUfKiqdFm61W8OIg2bh/bhsFf/r4S5BELSRk0ykjWtIUtuHLOk8qSV+jeYfsSO1505Ddm0CnAvsAFLTgAEKnPZvR38j6Bk4Zsok3TEbGFpuGpu3gRjTnkv34XMk8xkWanxTrsl2sm6QXaFYrXtZXMCvCKDV/bQNe64OdHpIt8gDY+9L7xv9pZRexu1KbLhRW7Avi2hkZrW3BPCxhIooRKyKzT9Zo6O4Ue8p+P2XdE14KtQnZXAYFHmCij9eWD11ArxH29gpTu4IxbiDZrJKgSeuf21C3Yo1/IyQSMePO2AhArDfP4laqJYtxegw8faeFvyhRL56wrso0od3KxxcxXxnbT7EAjhHuyJkKwNde1kqY6aewOJsa87QqPDCHwfF+4gbMzt7tKd0whZK4OVTp5q6HsUSYRnOJiH7X4guFGzf/66RfVr3oISNA/1z5rbOBQJuWGQSg+u0hinH3ZADYBPARJIsLGfk0i6n8vNsKX+jVt1JAmfDnVOsqnyZCxw8Ce+jTf+b0AdYA9rRJKq1mkWSZT/Cq883/gPYH5LnpcnRFlw32AADEY40Iroje3mHA3SOiHJwJfkQ3KMlnJqgSbKPQu5ASAZFM6tjwcGQyuBJD1Cd6q0yUKefGMvujvtAIWVyjJ3AF/2lWKePYoRf/qVCPKfV21Wxo0zaOjM+J6TDSm2WFbvVb+hIR+LRoHbJLH4w1KRMJ1RESGHRAqOVZYTS1CC+hlInskGlAMVJX/KbMh9dVdcBqwGZzhLcrBSps1/2zJZKxpI2bIJGFqz9AwfgsP45H30Oj9NRrShyf9IKKOLbZ5nPBk0mqUzd7GGoFaby9fFtZBlQMJfObt3I7EqzK+XAv4EFdzb8RsavI7UvCoOKxxIUxdnfEsSuVUftG4hIhY6hUMdlBfi+CIvM0kSoDnSDVy6TP1IsqXbyN/BEOGcwwq5o7KqQfRTFssJVufUl6TDdwGTXVT95VhbmZCioGMT+5kqZh1cs6SsN23Et9/VW2MYrO7S8bTtLZa1JT8lJEwuJ9Sf7l6wzJS7kPXe+zJrGwkMko35jqWHazn4CbP9uSYXWcjkiuBAFFyx667bdGDG78DaW1gSKdSzbdQfYrmhLDFuXFzOdTlM7OMQcVg6N2G8vFi6R+yOxJPf/MHzTHhS01mAZ/fYm6RgRGJ6fe9xvaARpeNQqSAHVXTf65NoPd0vHaMRuSf1Q+UYEwYic4mYI+kxo3u5bWGve8RNfsU9i54ujG2MQef9ImpWIwgCJ73rzmXvbv4y8/UQcKB5Hikn+6LRpO90SxaLZGDIvjK1SNsT4pFVHUUpFPO7sWLekHo7npROx3BP44GvPvRpwnnJ69KdrjlbcbE1avvJQtKSSCgFS+gG41ZEj1JFwEZXIwApv3O138eByZ5TCbd6rlEPAy9u8wOwjiesbAILiD0vqqJprjHo2594zon5Vel5JSEm0ix1WsKodmOcYiOXQBm5tE4c+rYdsTiB6iZzyfDqJG/oMtssE+gggiFfLX3YvAA+PzJlNug1MDMLCZG7sUO3DT5K6YuiwYfrpZDgbCcxlMyvsnASGN9MBJE6YKE6zSXxP3kDDMVPNywRSOv5sJGukdw80T8n/5g+gFY6yXit3IM7D4MmpfIy/NwqUSy9m28uCG77CReice/48txlzC42psHTR/w6E7dJuZ+VFykR+nFIKa3eJYzpyue2m6pqM5GWx246HcE4KCAuWHzyugBiaRcRJhr4OYx9T3jyR9aGEaNevNdkBlwXSoaHcGY171lXVZq1uoMQQ8GefHteAeYpBS4uMy4nhGzUduf13V2hgYJIyjiKvc5LEk/ZpOJU3TWmekwBwW/ioYYMzxjJW5iIbGj0rSlM/E1gpqRzgJDKHbm5nsrvUNVOrc55Y1ybTZhnryczBhVzLjZpbnTKVBAnxCbYjfCUukLq+39d46PQFBz8pDJttqwFrvr9CYst9MmJ8gRN29mTI+o0Nwcf0KjZcOOC6Vjp7hV7Mvw3wXGzDce6b7uONb+69vry51+18uzg1UQfzRGwNmCenuGvW/BccaY/3EQwzP79uxxuJj//vX+s0rYf8C3hj4kEtmJCZ6WUnDIslAvpLpbVHSwvDZijbxGJum6lSBP0baolufkNsJmiDb85GzlGdeDeBftYrXL0AHyMfFBz5esG1cthSdM7jMP7rs3Imog2K3GiHoNcPFT29/+BibtppwD+h3Zv5D9y+Ei/mbv0F/fSbB3tcGfZXNqB3nnQdTFlEsYZm2Zej5te8EaNPdM8Zw74T2D67jXWo0E3AO1xZkCGctjmCV6uEIF8fyofKEIVAmtHW9ASkkOZ7ZPoCejRg1gCsCCLY1l9fzwhTxbK0+D+pMX6dVNTZhciTsqX1/Wo1fRRB3H+Y0vgavHs4nzmii32WYeJOL74FmFMLx/ZHUxU+njbIJG+FXGW3W6axEElY/LOn4ZDW8jbBZXIgNfHAHQOAOhcvLOJE++MF61lMtkLldF1YLOYlzSOJxbVhdjoPIZ/kMK4QmKR/wThQibFUvx+ZDA7PRCwKC0Zuf5zNAbVXvJUr41xYKr8E465PCQ0wUJnCor3ZanA/mkrtY113QIyeTsT41s9490Jsg2d4uNT4mPT9jiebivUVuraUj4vJk/YPo5+9bR6W8MMdr2CfoXkiH5DFveVUkCOPR+gD441eSi6FizOakY6m9y5EWmtMbQhUrEtJZintZUN0Fs2tylYJesEUX0kcuwd7PQWPJT9wN+hB1U4S9MqykmBnsEI+hMVREtAQWUuu2c2/ybhzUq0Tl2hWZMupV6xdv9oLZ28efCTjlSn9FZzfYVpVd07rMRLt6kynI4+/G8lD5Wyf2W0EgJdMOSV96oXIk88yzx8MbsPQCMhrnuyFEVDrYWhhh3eb99fZWJoOXIl9QKG9G62JE37JlFN3fpbiYNffYlhJlrC2DvAL89niOgwDvq7yF7FCMrKpnQqz+a52lVO+/8j21TvY4oGOERl+6ZUyQa3FjsHdiGIReSNakWswlpq9bIPdttheYqDQp+MsnOqIgD1spW9cOknUfGNtEL23aoLAK+znjOWdW5DNmDbuSI+xL3V6sG5ONnr6rFmW6WVvEo9qSlBCOWtz2m7Ey3oQlGBNq653rdQ7rkxB4vPCqKFf04EG75WTxKCLiTwhcTLinXt6yMy5lzzbKAG3sZWFGUgrPzlPgWBPp4Y5i5mn2FC5iX8kKq2cz4kqVZPuzUTYG+AxNfOFuD8DNyNreh7a3ZK0KFz4ql5oqC/CX39oz+puNots/5/6GOTHZ5WRMabtHCOdbe4K1BuoIdHR9EEJADQ9arr+RGagPY/A4WABgwYkXSyrtyaRW17k6Wb9lSKqk2ujRMK99uZjGHSuEyjw38yVXd1b1+tfCT2Ii4o/rK+LDW/+iofttFaB9W/97Zv72KKPTGrtubfL41kZWPED+zaY+x9ZYe62/XJJfAA7Or+MRkkZukXH7Q+iJcUeZxVOgHL0AY5fvSVdUgvrwYWzwOMJgrMowXmOR/tWecEEm2BC/8yivFGfvar5uLDptnb/b9GdzZTaPgEDhkXBZ4uhjpm+nxYx+7cuCVWpHQWwYESwR60HiFkCAKHsS/e6WJb/jYCRFn/ExZpXHhrYXp99yMHbwtCpsDKYvU+Hr0nFAmdL/FljT5hXvz+R9C6URA2Ce8jCVNX8RcwsoF+kn7wRQkadQQfVEk4LIFQvlteK8RJ1HpeOj/9V+8mMze9YcyvkDOYbLCT96Qzp0rEjac1FLeWXHHur8xdAj5KMqQ+OmfFVxuyn8Lys6zqhOca1iPlYjemdVgKk5JO3yb7gAh8Digb5p227qeP+dgDlJSUV916bghXywMUgd3pVU5qgDlop3WtYylxZPA4r90KE6M2jqyYqCPF7Yhh3BndXH1gEDWUMW/h++/1OnPeLllw/qUV4hMJdO6hbTkNMmYPHos4iDxvoeBFytKMd+gltNgwNLKgqyZ/fCucpr8x3ICKvzepjE1qhCnKwB9eNCfNKF2J1tjeBv2H9CEcmWD+WE7jC8F0xnlYSlYMikiBVIB0pGHaV74MKfSAfKiKbI+jC8khI08cBOkK/ihyHMgjjKZaSKcTGXCuWvi1OgGp0TP+s2iIgTJowRLyF6Lgdq4Hz2LlB5j4pPTUuuQTqG3gBfmvftx+Jsg43mw01kEpFwqmW9U2YkSXw3C9R8Zqq/xd9RJ0mxkmlZIr5AZ/D/hkJhs7JQx+mryfF7mmwWNV5brg4uWU1CfG4rCKYxx461oJwy6CxXf3dGcujUqbNWXKVUcDFPBfJJb8N9M1TbsQeuY5fPKVcB+JbkF8onfwrmvrmS8s1pv97PO/s9ZvyRStbC8hogVFbaHGUcSHidEDeGtkSsh5lKfhCOzAtWX3x57TgWDVeOkr5oetgB+H2Hg6rOq7D8EdNG1UEgvC1J07jIXDrNK4DBJzTFy4paVZQU+qCy42tXAaTvMTGmBvcuvFFRqP0Np+5Uw8ejqzcS69IquU3qmDcVL0W8WmwOYXIPciTwrcfjxrWe0byAVf3+4wBb5zXtpc56dGjiskI6bwSIgx0CYumJTNfSaAdFbDipF3xUUeNlufp7M4+N0/vqp+4zbgq4AbTmx+Flyl8WJc7SIff/O0gHNWE8rTAo4yypvtbpuU/9C0pZoDTcN7mKPlyIWQUUMtsBywY03Rvawc3jpSSjKfDmMG6xDqaPVtBATS2KouXDQ9EiHBS5dHqGLUvC/vmMBMJetmN40157iU+CaIaYxC3o8rBzVFIo0KfyR82ykdDuyQDdWCJH6fVENiQPQ5JS0Fczsd+kuG6A84x+GQhfmBoUX6512LXqn6CmdoiH8NHpxQc2dEeyXsBc3vpUZr9AyDS3Zb2ps+EO62iuWh/PRaZ7FqlbKFVFnHWXsujoQLAMKXyWClMOPHl3hjDIClEntllrU0hMsX1PrkQEzOEqUug6ZXhT2JsR7xQL7NLg/mn5+C2Pv0F/VbRRdHAaTvHPtDSjzVww7pula6098zoQT4HC88TKyDH/53c6yFWVkcGj+CSUjImWp98vBI6tEShcIwv40sanKzcIqnW9dl/cEwqeXIjUBPuKB7x6tTwAlbrHrQSRjK5YtOX0FH/DU9APnVwzkxE3jz5/GLL68zT9vOST0dsETAoB7BVhG+sXaDRtTsEGTiZGTxOTkryWWmLYR6LXpQ5OlPylMu4ILzPJAEt5xbe6kY12yedciCOjZPIgTajv5tWpS2oSIm4vVtnzolfUw7vChit83rpqjU9kkEIiGf1AH1yaovfAnuactUGCAbqaCzIPYpAZJylki204WSlLJvcIJfQC8/XXZPcMtMypcnNcPyhpcvlRnrXD3sdRMtsOALWdssVM+uJ3DR/WplmOVgCju4O8Qu+L9m3/Lsk8WDr0TSAZgjcLxopGEsP5Z7MvEfUDrKDY52T9x5zGfMxuFG6uIaWBOBmBHmvCgEW5vUw3o4FSaj6GNX3dT3mR4XK9ApSRr4VLAhDMvUm82xoI028EsPrMj2cY6vnke6t6BNaYdIaq7QFlczSgyoxISfcJO0s2ijm6H2l2ptQwyelhPImSVDDzbZJBTdlM5Qzse6PHGj8e3EnQmVoMedmii+7PuV6wELhIbTWWv9utpIOHs5cZGCtoJQPq6p1+eghJJb8Z9C3oXvA6kFFYqbImMeJFh0CpoUE7cNZFtlsi4iWbx9AuI2J1WIDaZ548b6RDsIXyC9QwrwhjRD4UDUA0MMM+OKGYy5NKfHJSvP2pAnhppiUlwT4sH+C6YENw7LwhryDmFR/Xl/5enD7k3iJcgrWtLtkyxJ/5sUyOj9rF9bDoekKxbwwJ/Xbc+7wj92+B2iwayCX5nSazm0cSdKppqwBRP3Mb1WT/HjRlr/4qGDH6gJCiDwoNHpIQDEtELCTKF/oPAYxXqqmDNsAagxS6zUuRrYMuim6L+R3tcf7f1SXd4l3kxQ/us6ibL9Axn2wVB4BDXJVySyX7r3u9+Zs1c7sQQLJGhO0HqLHB+MjZcyelq4AKHOVja0BQGIbgJjDy/BeDzte/gI5B74zQY71ZIPAq39BkgNeWSR7LgRsvB32TFBUFC2ylfkGOT/8kMQ9RsTYjTc0mNQFRdEy8N3lihom59EUvbb9ngMmsL1iHZ8ZPk5Azi04z585md79KgcDXavd8OWtXAngaeN/2AqLjSngwiqayQik3yK1G/jW1R3GqQ+fxre7k2M7+UULTfO0qEpLHSHsyUSGA4nxCYg5NIz32d9ZZMr6o1Oh8xDi7hh9XbBoymf9rOyxBpF98w2fNeNdkfC0kPBCXVGS3a1yCcFSelyDn1gcEjYwu4OJn/AwOW8VwAbbN5rHRc39DPN1hcwYPcut7eKoORi29Wqn2KaHNVt9lq996QkdKpAXYv4BawX6ZPorCiFchXlLgYzNNH292cXzdrLk5UWAodjaWhLsY9taBlc3hAgwrjCWyhScYKXfNeB//D4HrDYbEVv4z8SaIMPSqi8uCcXtqr8r7i7khQTek2Cne55dPgvpgbH5VX7H4YvpPkx8uGhvrsFEF0jufQSVSoUOpxMlESIsx6jtt0hRSlt2ic43a4a14vC+PTNUsZN7saabJwcd/8KTAc6+DECqcGTngjUvLnX1IRq7E3IyNqh/8hp5wiB87MHqYLh7a0M8Cu8+acg86Q0aaOSVrpqqGy20KRcXmTykm3rvHq7RUZR5n2cHaoFduSPG/R0fu0Af3OjW55bL2uoZ36Jo6ZfxjEsZ0h+Tnw9NQfTqkmBumu5wXcXpf/nnJc6Yud/nJDSvL5bxLrljLIwBuPhhC7X/8CVu/w4ZrNv6RCLOjyBM4xSHYFWf3OV5x1ghUD3D1h8F8o7Gp/OxC1pJvJ77liqOmIGiBeFL55Nj4dV+6XnRoxZQzL745XCViTvU2Ffo1EayOlHb3IHifq9VYIwj5pipgHXpGEL/KkuiiY/oezJgA98133lLFtdOYZ+9xI16mZYdaQeHo0txLFwa+gCbt+gG4QqM+sM8y2YCOoIDJ5FOteg1/zciqv5gZ68N/0EBghhVljFSYH1s9G2IvYoAxelbwhZnT8kLS/M+LZ1W/saVfYrHlyvZ4OoCBVS78aeCPp2HpAVlWynjSOzSyuDyk+/TFldI1BSo4rS+MG0Pzr7Hsy2Vyqqt3Onzw+gykXK3kv732iu5d5J8HRxVL53Z4esDhG1EzTPtxtuXRiEBru5rRcwbIccy4HanIDEw+QGwWIPRovWyHBMdVN8i8x4x9/QTf82uGjq+H6EY5/t6rXdS3rbhnRp9ybmv/HedvIA5J1lkxVWS6nIZZ0XjQimAjkAsq+MJk/QUn7k+yVrjd65fHIZ6coRvPp5pwBKbnm+2TBaFNEykViwgU5AGiw9vR5OuLl+LaFeEH5CDuPmbQb2w46Xo7OUUXULW9VbOEHJn22t/2z7nP/SCchX72naubC7++3JmdwPiUt2BIlhWS2FqDV5fWmQh0+tX9c1sLKes/vTniL/MjfHhmNiFfmG/gE5goCn0ZPmGIjE0hhDxULaNyDsftiLeV14tP9EaIJvjmQMIAFi64kPltPzW/qapg8DmbE/lIk7tT038xeQdrkAhaaKlnWl1VAszpNQxusFLypaFBf2lwfRuiAkAvoGI+2mr1abik1sEQq4tTj4hb4REf4jKRMyP3gmI8iuNkf4O3dThTMuRQOpYcWp9BDOWrMhXvDdTvPAV8TIHhSg4Qo5OEZ+oBKfGnOU2XUaFXlbisBGcvzQnRLaJd2mhdOYyS0T4igofACv469zeOLNEfRsC/5BTxH0huSLJEWDxl/ugoFJhMt6if/g8FXpAKPvinBH/3E07YzJyRMbRscnJ304wpYxAsdDk3K2jmBvWSocI8VADKgC3KvjTe527Y3mC4AAllwJoYmIEqG0sCSMWKopW1n2VPX5rkXv3VqfogBDv5Pgps/c4NgRnpYPJQKxQ37ZSSZK5zXbZasNVvyZGsLezPSSv875MOpj+Q6A1KXTuGy4A2kq9EKauGJMZi49VliTtsTVhmyCvuR7slSp3k0C3YZa09jY5J7IBmBA71VSrjBdyj32Lih59sJL+VaA9OFqL/umWyoj02n2//dDSRqaaNz2/XYTpJ0k4IjoGNA6+MPd/fZHMxmtSZziQu/z4yR33OnRYsc2sZKWuAZVS9HDMy5g2erswK13YYyIou4qfwpmX5UCAy3vWUfgDa3l9KQ+AEay0TdoMZmBMVxD6wK+ZoYcCb4+TFzbnzkNaLGUqqIYHjtXz39/FWj10zdkxxwadKWESImgDthfMVNOe+gLNE5kvw2+SPa5WrolN0N7cUm0QMNzlo6Jew5lVmKolat09WD5oSWDKo4b2iGjvzR2V9Xgamh6wZZKGEjQMUE3arYTk6F47key2GuMAJLALD/27+/UvxSIxSsgZouj7YIvYn5XUWNDIKiGnfi7NRZggY2sBtXFPRayyfu5mDTuQ7akGvgu3AmOFjlaCMW4M64avRixi1ob7vMpEUm5qALZhjesdT2GJFxLJILQRu2on2fRHcWS0dXjSJACKnbUQjQtkeNd7NwgIS4U//NMefKSLriuGUYgaI9vPwCIjvTTjtho6hUJ9RqQay8kngxk9rZriCn33e6kDlw9IwE0SDayjK6TfVweMg1KOSIvWfay3BbMZCAUCycwPCf7i3jp2rthbtjJskh4NzZThajirR7hAoDJX+3O5nM/YGesr8zgCmXJg22Oyt/5Yzz7gpfABcGftrgzKRO1Llpi8eAIy8/f+24+doYkT4Udi9eGDnegnFxOmtAnoDMtoMrBKU0xQGXdtSBDbbEch0FlKTj9VvB0IC/5iVBlbdCZtdAfukakna6Jb70cDoaFudpH3TBKf2aC3/iVxORZtC3FXq9PXlkBgo+iO/gG+9n+gzI1IqBzVEyXzHl9pml9VggXUKuIoZgfflSAGAomAZ32hxDr432g0if84HK/1r5Bwd3bWGR8/ZIaHgpKo/lwDS0f8pzrmRUeOl6tvo7pFfVuF1Ux9y7U1OMzHWfJNRT6uUJJNgLdCvUGeWmmPeiZbMFmC9/OoByBkl6bQUqMWX2kF/kcAKv8DQOKhQlBigfyBSQAe0Ngma417Bwhq+NXVz6l6QNqspwxT7BSW/eaf213lVXO5ZQecDWVXhPPIuGrGT9UBDbZehnVq0Y/Db358NWb7ahUdRVu1t+Gf+YwsHs/ufrHfDqZyjvOCRQigJhsP2GLu5aWJFkQhFT+4+Ne/eTkLWCKSkFQzqbyE7lK8LuzNibruEkzX5v5X8dO6ocIx2iVeg3VuHYuc3vB+Ur14Ix2I9YI+0vyOW2n8Ikp3EuceLg4vJFfmMvPDZsQXNIj1COx9MHRRAhmxUpZY0ngu6nREDye+a+NzswTVG/7UrcVAhjr3E0iIVe6aXwB0r2ygIqGg/bI5O/qOgvMV+2FL6DTSPnlHJlrGc8AA5P9CX/4xhdKa2Xt3mwWPMA5kpFaLG+UfCEliEffYF997aZS9UsgtJfrmOcvdLoz0vbEiPaCvHVzsE/FvCDhgeEsFVR73XjSQGJTsU+qtDe2bXYoLbU2LFenoNI/Dn/4wS36BmLFCvyT0CckltwaIqzGVNFKq6OFQad3KjfC3ZhyM47OIXUhvpC+6by7AqcnukA8+clQKKkt73QK9kbgXEq7XbfTYT9VNmQ+HbbIFuKcFKiVYFHwFl+CZ3AZOD+GKOnq3npIMpoMF7OYo5rSaVce7hdSiVFB+4u6bazvFDePOhdCHikrP/nwFwJPDes26ntzFtmNwJd7FlVVKuWI1Jscv+mtwM6EIvsZg+UjGhTMXflp5zndCMGn2ktaeQOiS1G4qv68DbvbKO93Mf5ytSfyQ/H+M6vhMgAVlYwb9q4ZEWSz0mJgEb2uINg6qEXVgtsdYl6LR80bY1ChwEVa+pHCfna5aNkYW71wX5mFkS+D6/ds/7gIIBtGXPCVvrL+E3+dlVhgENuWFnzNHu/Mvs2v7YbsFfJ39IZ9gb+M3pDZt/MnwxQoVAFxYAjnMcTvm9vlEwSB5DKD8oN7NHPMPJzQXpromt9A2WfhnJ4alOl+xH72P7/2HBKrM/Y3Wrb09+GqrFjrU9QloTJaVdhIe3NbbXAOFz75w9TFVUDGnIn1hHUtbddziK0BdbLsCplSUdrvBRnnNsnlzralf+2xSstglzvRSf7y665NQ/twz/2g8zLeew7ICkaKjy3jxqQ6gOWN2Im8iGGbDeCuLjB82/oteDLNWvlddwmzr+/RLrCyCKbZxb1DN1PbGRveBHTJraChHlnfJPiRaLQTtX6sYLeKidvlPcLR89rqpt2FUIS7Ns610RnZUeOxE46C3FAs1DO7CCzjWbMyMnot6nsjmNZY+m8HY6UNI/LBuLunr02sUtjwscyp/e/kUJhZ4wkPNExMuXu+Lm8Snbq0IAFyDC8MDuJTR5M/UZEigf0o8gR7R9OWBtSF9qffl30jwhN0Rjo1w3pFOaKXbyhvp9TmX+qAK3qMjLJigIRPerAco0iERK9+qBmXzITND3rpaWcxAIIixcgfuSMZyh1Kfk1+hLbaLypECa4+1D+OtWIlGku0Tjis1sG6M5+QUTP2juVhVQcELYmWvqkDQM4cMzJS+zTqtaWGEuXMAu3pQPXKokVrGDvzHk/7YmMcI5Zv6od1ZiQhIQPEeJwfKieC1Mj8p5Nqvvhb6kVitRYT9BbsO48QtCdiXLhmNC8lVUzoJVIe3hPXZ+N2QqI83K6dRaVmGgFoHsyOChc9fIQUNIlbJa9qJ1GTYhZLdnshS6Dn0uCDFbQ2tYr+NCved97SK2xFQPBKAUY2oAfXS8vUszv/0Iv5qdAT1BTe7xutXC0sglnG7iV7PPWkHDZUOjMiXq/M/LI8c/BivXp35zR9kie11RAP8+bqviUTPUOqGXAZoRTYFC+x3FUP6+FpBNnIITCzNS8MpITo9OXqMF64Or5YWYw/xNWdPwZIw8efFkRag+r9vZ3Z9iLZdX6rGvrMxddYedzvtiCmm8ecU9oVthPlKkB2kjbyzWnOXGOkvcnZZQrfTdMUQUYGK61H9wIyw372JDc603NqMXU7dQM2ZlZaBf8QoaJMkEq+EQQJZ//AVh7Bzv5MwKWzzdLn5gJvYAZsdpP+Z6/dNjAt6Wm6+ad2N6dZEpLQuIinGJl+FuF2hKWjUSMci9/qtQpzkJrecwx+Bd2ShE9tpBxbCZvUnr1vyJVK0dNcx6xnwOe+N3YJrKXs2RYC3DiGnN0xRl67jiYyse679JjgFlSr0ivVPDwDhGd80+QqnyWkme7/YsWH3FRi1uShRtVPVLFfJJALy43EQvloEUdFyFU4AopWZu32PnL3/2tYZNhjzFP76cDXhVq0VWSj7LoyFVFoYeVqJ/6Mt+MDF8h6C2Zko2qmmqMnKqRRhUzyW8oI6orx0C+ARLjS4Soep03IXyZDKv20W1T1CshMDdzLTxZKEW9v32Wkmabs8fOtPoEgfjM2SPyXSKhu0BfJcgkNHnXCP7E/txXJeaGzznPXvw4fOXoF9aNVnYbxtmsZqIbhyZdxtsZ6PTau4MBVwjjNKszpgPwuJDDq5QBJUjQqu5gJRF1io3R1CLwv9DxToAnYeNjQQmiztPuzls5xeoOMSuG3kboCYbBe3Wedps45ojMe45PMBNhJsBUoiZ6nu7TCTqpUXStkFxuKa8vZmGVr5HfYW9Au349c3LBP5Ix/I01ZbhafGVMd0iEKhAY7I7t63dJf5IBm175sFKFKh+ZRTebOCvizoZJ0B6UQ6miIvfE3tRiiOuX/RZiJsZ6y/4mY3Kyh8XAkaVJCLgUU5EmHCX2jz/KuH8hyCU9kiiUIR8bRTJODmUV4vDJcPwHR0YSwnnvJzcY2EaI08BZTuPRM6LdmyaOieJQe6gDOdt69Nm+VExmfAJReum8bF9b+D1PPsjX9GlQrPSmGIffDfG97HBRHo69YSsosYQuSHy6UffeZSWZhc0jEt8NV8z2rP2EshPoBQ3ooW57DAwVndqh2ifmxVmdlLHrOMwczZqSkO2llKPJ12waaaJ2k9hhXTufA0dzI+wH7vIQglLO9KqqLHFKENJQtaY1Flp109eHGBPX35B2sbi2pwT0Fu9YeE/bXpseLhqZDJtbAF41YqPLBnNE6kCnKc6zUDv5ArRYB9a+LWqSSHIyncV3kPrXzeZjAOBxq1lQZ6vuADqpp3Zzzt8uaDzZYEquPyzWOD3rAvByJJMnnOTGlNu8dLauIW9Agwao0GnZdGgA+tmqm24bJjMamyvqtCy7Dw2bONl7FCfSoK3RYDT+c06NojyXCZJpC71fTIraL39I7uwwbK3gTNQp4igOFHpEYGt5Ozag2MxdVX33BDfXc90spZ+lbabSOsMDoLIqzLGRXgVZl3YRxoK8y9Z1UVltvfH7g5m8ljevf7SCj8MN1eNt2qpwyIzGedCImwzx2ZCSzCsk7fwDxOD1d4W3NtvvVRFg3mx+/asP3DjOu9wZehaUAVEq0wWpEvMEg1QTPEvnNMc+GIsqBqfDyvDm1QSZ+ijjuId8ytrxx9x7CkXqyny7xwDfy91+ju6URFocEPTE/NjVTGBX54+UNPu8oout4jhLmtYCmiZD8abQCmRX03zfxfsN/9Z/gshPhD414npBq9/s02DjpaS+8yRjFrApYaUBY0SMY3lhSwNjVbDe6s6trAmVE10B/j3rzKgI8f98/FHxLBk25fAznk1C0dZzVNEt+jGI8rLpWOOEkqhQ7AQqFKEDeFt284794vQSJ6NnwevNb5efPgKM/YPgJZ+xvkCoIs0vQXwF1WP/rgiffEtPRPOsjzOYcgtIjPThs7tkeaf5o0QTRhK9+4k8EJyNTqd87w1dilcUeR5PNQ84nN2ZgzM0CzyduI2uLfkSK8Rj1hKqzXW/Ky2RqdgBRwY0lAvYqldlmw0A2OwgMG46aGYiV6wFzAwQ+A7vFgDWI4tY9khgHi/TIPXL5xeVgNWxjU7yTT/sqnjCNIyoEpHFmfuHg4G+m8+g0KruTQ+OX9RA/3Wc4GsxPvlguSH9fZmTqjlyP4ife56MIwDxDpGK6kMJF3FDMx3qQarmyp7Q3ZZpwZgTWJ66ahzyfmgVHIE20I3Jvo+M++i4xqtpvxSOESCTPBw+XNk+CqWJzXVoIoTaAXvmoLjo4+DShi5BnO/p7dkJErisZYKkOjZP5wsDt0N740pAts7NPWUMslijCWZGLThFHdSPp4J40Ib+nNmCdGIBfTyluH86j0xd472xehx0puEZ+z90M+cqZY+/6RJ+94nvgkrneWqswwShvU9Sb8fzoeuTdc+6gAywQc5uvFUOJXIQrlsJsxeRebuhwy6KIpmGBAx8RGOXfnCzPCqqh9Rm+Fu73vxHGckgMexmAtgfN/Dby0HO7iQErhenmVQMBh23q/vv4EJgw2cxcDJC/k1iZLmlHjr8DeX6iBJII223zB3Tw6fyJpWDqNIwLiDNkje1PzWwtDrtBiHmY0CvwEGx57vbSl6tSvj3cmcTgOpNWd8sYh1Ujv2mDN4I41edyRMmoPfN6t6etCVJjHLwtxZtasEd9AP5aSn83GyQZ2vHWWjfruozCAd83RHuNpbdrIod4qkfdMEmxrDiwNxTKLyHS1VM+5y0cazzuGi8cVdsBNlYbYqYmRYCI6jU8WmNFNdvwtRmnOah6qQFuDb9zTedWSUN65i/cGXin4cszb9Y6Skq8xxNkp2C2KjISecndJqiGLBmN9BVRQ2xlHmRpq2wu1S03RzyEHtxFDyvATTJzf8DrOB0SSb+5bBszCiUKgLK4lgogAQWuHVozjUQvmOw9/BjzIPfD4DulyYL5hA9tR9axPm7t4erjuCHeoKhGSn6FHSyR8CLMasjc7Ilm4egd7SP6WH1FA53fqjOdt6YAjSBJUVH/0lH0PEuRPPq7MZgAPINkB775kTpcaz/q8Ttj1ExkDoKhXWXI2PdcB2GuWa/WU7a+GrLTXh6eCcFd6544vFRq4CdpDvkMkFGzZKriA1MGRuz7mMPF3DttCuqj56H/IeeMxl2mU4NTyI0Kq0KVQpN28Ts6pKgwqowyp/EGWzwwffS+4ki30szyGtS/YGquhYv3YdkF/4Hmr+1cdxDRK3hjkuv+MBzL+277Ug8FpwKKDf5h0zKbwnDfTzv/+RWSkpH0/sFBjGl1q5zL7Ix8iJPoidM8/9a8bQd3OxvPy+5n9hHXrorteccnxu2HjWNvkRM4Kzs2N/Pn+b4osKgCpp0ax3n3gAkrKfS7BjeKNVdJ9Occna+t0jSBpo2owvqzyD5A6fRApA8dw1lux8Nj2vD8VZFvEjdtMfc9BKgbeWX3rWqQw6Jl5WlAsdvBS5NEQG3JRtb0NeK+/+hvljTP2iBgsH//zCcEJs74Ye/Ul2Qa23o5gYVhFRZ+PJN0T3SLMcpd6o0y0+jKVK/niVNhPiafuVLa2vPZ4UJNp/Ahz9NyvFOLz4ipCiaDu/Gf9epFI5y2YJ8g+bg9gHYoF3wkovk7VfqFIPq1uNFSl/3TA7gGqp0T7SqkS+7tYYDkNN1pWf/Vj6Vh7r/WsXsWN9qUTfycS0yH0A1aaz/Z1jh9xQZ/9dX0I4zwGPLv0QvfJ0D/jDPb8SQzx/+xj2HOdM5Tql3TUxfhsaw3GV/Ib4yWcJouXG+a0r8elf3NTg4E74JcKUcdUwHtbywasC7CKyJ+PrtlDJGr4aGvh/dPMOs/4T+jdorxzEynj7eoYtMQwnu/pP6byhS2OSD67JUtuctvfhasVFxu7Kf/SyLB/u/a6bFDb6yYRhqR1HlZo63OpsZwmOprcbFvZstLCvxG4Pz/WbpMGQg0xP/RnSffiKzUUsmbgdteP87nxJFfa48fVRa32dxqqiRnnegLwltEHO8qBEeQjZ0GoEAHjr2/HAotDuJFjW61VKR9D4BhQ2eI1lLh7sT7MwUUcx9Gi88WpyJTR8xYVQFfYQ+Cr05uH0QFYVIOuhO4NMbQsKM/0Yy6nhBSIb0wMPuUZoSrw6e9sfmLxw0DryxE2pLILR8mHHtCMmxIX6b5T0ZjCENd/JGm/JjuRtl82v5TAZTT6LIuDxMMTi5MjFe/Ob4WLvVQqM6CAEqFXZybhCI1VzrFaj9wMPhF4nlOP0dc6hXIBWa85ownGcGgyFV6USIMhOzmYNggzRTI2RfjVPdlYTsYxC8pvIbK0JyIu5Ta2ZhmCvRY1QOmFCpnaYQXL3os8rrzlEDJTrG06kjyVg6szdyYSnHdDbSqdiWIF9Inap84nokLW9VuVrBmbLQO+T5tJXq7FrT7aLvBK5VcM3MYjYNNEMjolS72TH5cg1y7F6oOaop60VQt/Ye4N0+rjKBd7kpSQ/Flo1aNt6tDMJ+h29cHStLxrrvL5aEAATTlQBNgvnY4NCQZEOnQaypDbrZP4WNZAWLzjtYpAxvfDdlfUiKbvbFG1fOyR43LK2sK6Ej8Ak3jJVzWl7MCaF8hS1K6NWW7Oyjrq4yqLhz5woeFoKzCjBljU7THWQAkzZNrKiI81ipy2FqLUpSQ2LR8TFp0kWIPP8v11dfNwbU0Mo946f5cXn1R6mqO2WszZhUsq72A/3hN2B6y7RCTq9VMwxaRvMzvehfzwjvEiT2PU+whQmVqvYFwYx/ezuJeZd87dqVFi/uUPKABzc5J3DZMUoItGnP4MxmHy5GB/h87jgi6AYsBpmOpHvma9dmRhWn9xq01syEfSgf9YiwNNZK5UiV1jBxN04i66RZ3IoaqjiRcYDnzQQVHDt5JzkuP1wvRrgdIKvz4ZzFh9pUXCCEVo1+5O89ITwrlp7JGRCQSur1XNeBmYgczymHqGQ7894GPMHgELyl6Z/nfwsbpfyqe0jR2I0CVmwsCfjI6l8M0g8Ta77dq3/Hw2ZoHzXf0AM7cP9Tus08uXrhoYAwxWJ98TyiPS0vLpqOSdwPS/R8ZM0fBu8pWxHWOPwtA/SzJzM9tmXw1pO8S9yNX89WOp2chn7K62vWn2/F4aq1yWbxxL5HbD6rDABjWz2AnTBQgL7qftgOuj0Znd+XUtaX8gCSEryZfW8bIvf8WTJV6EPpz+vwO3AMV73Anx7QLNIg7yrcAKov+fdQ8kMtqaOsKJUhjth6lxqSbcIbO2LU96M44gn/impegPf5SKR4S2/5tK56ZsBuS2Kxv6Xq4XMTAdaUJnN3Z2e5Oo5Ckl8C6ONtX4B5dTJPsCX5w8tWE+Yqil0RtUDuprb1/rsydSfsJIvdh7xzCqMWLv5trzfgtjp4YbQKlMsvUiCxmv3ux8tECluWqF1d238rf7vESNfXiIbaSDt4UClU5S30IHAFXeUuxSaZs2xbCAQGXfrb7Vfuway9M30CMaoa22yVcB5e+o0d+qrvgz2n3AalqT3Q7LXwVRYVA6+U6NVn85MgEDz5y8e6P3wE+65fm9foUGvfCTUxECfIXARF7FqmGgRgrHHt7sPK+I/TRH2CyGrIqO+Mc16yRGDONWiTUXrNx8wKxptbl+aHaquDkj/qbc9tTvR1FpFY3zGpnD25sMgFaDUiQUViWBjCXxMSGr1rbImOY1nRN4VgE/KnGoh/VtLePnNTIlRPCnGW7yDvBbOimS6UmkNyj4O5Php6jUNi2fKaQW1IIlsaxdEgkKsba40QgA2oAjgcdULFkcDP+/lMzrFPm0JAz50A0xcBKM9jnRcf6WxgPy98RoId6HKi8M77WcY26HpN2pQA5ctAWL5HmaXFv36bW1RIPTxvwNVpI0BevrkVOTxoadsKWvaYEAvzQtDXYMgZjQVtezzeLfH3W9DMRKAcgg9MIs6x3vZlu8HUYhp+FU65oLB6uSxmyIR8GIIaS8E89BWG7JuuxYHyD0peZZXjeYzjfa7XPb0BsP+m4/cMyZ+hoMwQ7PxUgTvx5FC82dUic/wxxxykcVfQaCO0d+mDCt814z46OxMuFOePPdQON9o4c2Lz+u43lHJsdf6ENvOFxTiK+1TZ5jACLNGbF25vULyNdS7sVuPe82DYtk3kTSaXFN2F3byDKINSKHinN5fLPP2cZU3le5T5IcFt8ewckZ8vyDGGSscSaUZnlqW8SUht6Y26Lw9kBoq7SvkeQExxV+jCFtw43u4CKVNB9UGV6a/W9FluXxtWpyUIhpq84T5DnBi2Yo0h+gIBfLOCCogjQ8Lt/+8GiSSkt21/sQV1iuOUraj8DoYkZNTsbpAc3Zoc/nVb+LMzAosZxP3QAxjn+2uhXWFe+m/LXBVNMBUHrkEvvt7k4RmrTgNu0XFlv09FWHjiAFhUKnZWGqaI1E4uePath5HR5YJmd9fqsGhEaYUvxu2DNV4AZ4LDah9C77UG04f7WOI7OtRY8ukIlU6p4H/M39DJ9Itd+auk1UZTuecOn+ndM1qTMszZU53CMP6SDOjAp+aga7MZwaW0a3Kx6pUorGtoEEEtLM3JDw7Pdi5COMCVgbvM1f73CM1rRXAL5wbic6jl3gkuAfs2u3un0q2YqDtQb93HZ6s+ea5Z6WxkHcsGrW71F6Xfmg89Ia8hMBleZ/S/R+ATITF0hW/f4G928OZW9U0CyL59FC2J140KiK/syQ5/5umwQXNt7ycX2RwyC4JB0BXZkWtKfeFaZHXf/WsSTzOls09DhJK/25gwRjCAVnqHsfglUejq8gkrDIGRDQ4fI79pi1/zcqfENRFhMYn+ilvP0gj5N6/uLKSpH8qF58cpPl1VGd5fFBPeSjFts0rVsxbC9nwHWbS+Uq8eTj0cTqPF4WNWna2RehWDKa7nXarTa2rHgWDk3WOI/aPgWSaHqHmg8UBEjOJ0q2YFFmNf4dOnxJmkavx1zYkfrIzr20aIyVHJhuvBOn/vtsWmp2RUHQsjcRU/v4nMYvKJ7z2vqIut+lC8PRNA7mWoBqRHLp1IcXGVv0aq0SILbk21aGN7Z/Pf+MRzFc3R+7TTuP8MMdXmQDDwm1SHcF49vjHVD2cfaS1yabAIY82P3u4i/+6yfkShjNfrb7llyEmIffvYRcvLkqhEl7v9M9i6jgCIyRWrBFa8jbn5aDGy1fsZWqgm/R4Scx1ljxMMO08oIrJt9f7G8gGM8tDGlQF9YXCVQwNyCq5iSUEYjUYoogRvwM+NrGYUEgBKwJvUUgjO0DtKVTK9HMoUM9LtiKfkTe3hxQT09kq8oyRe28XKbcJAlRXIBvyoJlRWjh7deJE4EkYeA3szFArI7pO7OOwjyUBzNO4KRDxTrRq5ueLWsvrdF4OJoSKX2NZzRN8I5zV3s9KTlSzlxt36lpuLlzKQyiBgpO6P56SXljr7LrOM6AbKPAazUdRVVKEKGf+xU4AiEuyqvDyCoIomjLToNMV935L9GAbQZb0Yylr60lMYXtBM2NZ4JBsWtfmS14DhOuEpQ4B8SsmM9VDSWkXe762LpnB5qsTPhuIVIltzrKKrLBrQGK8QbhUgVMYvIgDLHuHRPiiwb+58kxwhxBwMXstJ2gTIryqiEz+F4jDkzwCHbL99jN/aof/jGACbSwI6QfnStFBIv2ADwljVxNlpAlDYL9RBesdFZ6P7eqoUFeSJhNgiJ23ALkpkhzSB20xAkejs7nmvJuH5wBRaOjjUDDG1N4eIS+u1aZD9BoWbrMxh9ARjSfhues7s/nMYEoQbtIJ4IpvDEq51/V1cIaML3+bJrg6vv84CWt9qCnzAN/vQ4djGT8Jj792V8/wGrDjtFVVDSOvQQV8XkAmoNL1un2FoiYTKHIERJQst0eRVhSTydo35tgHvyGKxT3Z/D2f0xdO/FTaycj9pX5Wz9Bb+zhetpdWKMzDH41afoLc9ygtCTrkl6Mz49/Pq95dJsSFZG5DAhrMiDYTv/CI58DEecaU7oYf9WC/sAMcp7JV6sucTVi9HRjvixRPyF/hotxhl38Yy9hdIS2/m8a8kc27hGvX+R2BEnKOtitfr/6mHPSrLiTyQjQeiNZgvU/BACYcTXLFoYmWRtzMm4O9kN36FrBjJAp85oORQ2skbSkwaD1FdqiHePD8VAlG3IS1X5SWSZkNjOzWN5TGJX1jSGRDPRJMWUUqaiVZeyr9OW0QlV5vUEz512fw6FFbcBkrbR5c0CGdfeLTiwwBmN0CbS+vXE8EC9+nNRxiYlAh27dAQyfcDkks+jFpUMrFD3wP0Cm5WVAouezUwEVugSVNUlzLooaiZBH38BUD7PULE9NwQ1xl3AJBJJgubpk2DIW5BcG9Afm4QhWPyCodgnx54A7JEGBVey2Ynm23Ne/RG4UNo0e7YgXUG3VvBHpNWKEtUGomXpGfe+6NLGjAToJmaVqfDkw7QUQprLJQL2Rgqp7kPbBLOh9tU0xH+Sc68X2cM2CZGmyjg/FpVYiAKO36tne4sOeS52BHGrJ1CrOQJf3dmYFfWfkxilqDcQY4T3TalFCvg8YBhIx3KgVTDlrXQIC4PP5HIWmTJnYVPJSoVLYTquoDDmlpuht7WX8ajMvvthAQqHU6Pt9z4qkMC840RaOcKBZwMboxtQmqxXWBdYBaemGvWCRrRAqPa4qwLS1NnJB5FkSmhExQf+6nXI4rLprsiyi5S/YJExNSNtmd8OHAfJJP92BjCg7PHawYk+mDYQrDgFyxFKWjLUdF+hoItXSh4jcI3rkKL2tMplemibRcE6BxnbX5BBDQ6tS60T6HrI43c1pN2WcnDQV8fb2oZm1j1WgwoarLLaGt3qd8Pa9JJbtUmhyLJ+NoezQrT7QpFegNDSU5xtzBKXXH3OmLv4rvDzRK2FTkofjbWW4cIUYL/pJdlwoXSxFlBMsAznRo/wlMNrHP2D37Ud/rHfB2Tny2u/xlIfSz5qWVbeQ+MmldtG8PUdnEgVQTeUF6E6DozfiPrse1Ak5ko251151DmXqfrwnWtzk9InU9ThJRDFMqDHLZ60yZvfqT3mjJ7zuCXgMysjQXz3OnqZQAN/fCnV+G9yskKdMy31jWf/pyvH0QV3AU+3I+k+/yGLhDdGf2utClBKllBQba/fy+HXl5q/4QDCJscFyiu0XfI8VD6NUpAp53vWO7e4ubBbVfnKEnDs6AY1aZGVKp7fNRGLLafESV7DDMvxNPSFyWNRgBZnvJJt3bAoIgBK3zaX/bqKVJjCOWPUEjzZAlDABy+LOhDzQUVivvcOby04R9kVIojQVGqaSqLiy8FnqyEcXw2txRjE0mnPsSK/nvAZZ7GRI7iiwy7eAA4cvdJJVnteumWu76Of172pH0nuQIF0G8lo6NukCuZrLfjkNbBRGY1G6Rw6PipA2BSA1DClo0ZSY0MHBmjlprkea+/q63dTf/qrYpbJcK4R7iIM4YO/G9VFMEHHfR7um0Ipv7eCbbVnT9iu76hcQCSuiaEtFpgZoV0eIE2a5VxSETZ83CtBr8zorcRDlKr3nEjq0ww2xEBSwCcEMiBZMaLf8dDCf9Eai97/8+2tqG+b9Bxk/H43EOUTr5M869mlO8rN4h6s7lX6/ynDtljexhsmU1lhFJzBE9Ho6VGMWDcj1/TbxFCzrzpb1sIRmgyRgmXYhosfvJzwGHOG48AzZ79rRpxaQ1byd++rrxtop58mpbTe9gYrhPlFg1u8TJyoxxEzcQt695hd9jlZmn8N5O3O08AGdWYOHff7mnPjZbgAZAzA7ooqn1th88teO1cGrZVJRooDRyz/ai+DR2e/rloQM7hS5NKJ9Ns3FpzCBh7afVsN17bCHdXY3tg/WTjb9yIRh+IciV/D+FElF/x44A8O4k+HYgMR+wSxvDy1PtxeAVlp3MEpCHfIsJ0q3zX4G4Zfgihpn9z7LwIvG7gzx9gjIQ5tVDWyL5ULYdFwQRiZkZNOX0xsOaAZJVwIGOKRz2OOzOcrhQ8rf5eD+CPFjf8vBtkP/GULaS7u88l9NqAoeXHKyyDMq15rgtKbV4P14DzNTZNWYORR5GOHqkb9fh0ePqTZOPX4ituZv57iTb4MmtLPBVM8gxKUEnU1SX8xzciw13avdnsLxEiedLqBqv4MTBLqWkctEL3iS4Fso6FgrxG1lU85tuKJVKKb+0xl9B7ykgpPJWP0ghCu29JY0eJ2SeNjYLqzOjFu9s45mxse3yu+YLsnLwL6TGokL6RTSZhBj8SiO5816E3cVmxriwIbmhrC5B941UR/E9hX22vmbuWHnmOwi4FJGuKUi8Y//cUIA0cJv8030B+2rtWRXOUJEmxvCyEvo3DIAu102d7g7/vkLvE3Bq5hNOOMZOjfOAaT9B139Yv86nrwBJfE6ve5Zrkl+eKLmx/gBVp2OInHg2IYWyOL/ylyhG0v5tD1UFELXOqZxJ3GA3nHXzF4Ryj58RSQNg4W26wpqNgyjiIyVdOCyEfJWqCJMpI2ljBRWQ/Oy6P4YNP5D5PmyJXt5oj+7NCpyanSAod6sVkA85q6ODKoorrOWEgDlDfyFy/A55bKF0ZNoYp0xuyXeGuRKuOpa/MxyH30xIcvFZg4Hw1jRb9eG7VE7qiNbRZmJZevWXg3/HO81P6Wdr/1ymB3knGdMZ59suAwaDizXeFZ4kn2jVEOQ2wtkpIWDopKBlTZKbY4oJ5JMqFDFneEWifW52fQi44sGoTterOiutJm/hU26NQLE5obeyS/XHQB5aQmJ1iusscoFGXZnCF+yYdyeksgs9Aa5Hjfe/hfBeQXQRaMhHpi2u54uIJAl2/8Ip9jTz1vW1vih1ghW8/bUG9znGg3N3MfDsykKe2+3Rsj1zTdmjt3Yy90lOg/d1jw9AGklvqH1Z9fM7+iOdJV0AN8BOSDHQ+25A9DnEzxdegr0q1plUOvDdBNUR8eR0Cg8SbZS3Voc151KEQr/gFmCojGBg517k0/7Boy9xLOFYhFEUnP9Lmk3S+fVPSO3izRm6Jcncy7iLjDXgHolgcsL/EYe/WainYV2wDqWLsCmlfqTWP23vJ8o6N8n27miFNuAcJDZno4Yd9a4STVY9Fr2r7gq/leo5GPHvJ+5QXL+CmcN8CM3UOesk7wOcxzzEdANXLMFlccCi8sCXb+j+HXTo1jQC0/W8COSaGZUBkDPwlCO7Pn4tdPDXAZYO1aWTPIAzSDPG4aZiknaX5KlWgpfGRSNQfYKt6FMdfXZYv/keMK77/T9ZV42kH3Wx663IMCps3qSLuxozev6XVa/JRwShZ306dxaneyJZMChYy9spIFbZhR4WqTdUv49QhXY54j2hOuOrsBCOwMQXyTxFUl2lMR6ud7gnFForRdRMgEQLLxfcBPhRB5EtUBEHb5mfcdmII8FG0e5A10Um2mkoGg8x+na1j0Z+AdbAR2MrAF/pGrfdG597GxJu73ZY4mTvyXmS6qcCMEzTQfJF6PRB5rJdjZWymcN+kKgxGbO/d+EEpPskvMfNVqyHkgF98Mqz4qA53rKnPuLSjkkhiWCRPJH7+axCFRCalsWCCioYK/kcEnqw56qdLnd2ph2bz5QIvc+woypRagcey/4o46vhtMYgDc6sOU+WeJJYv2YECsvU4RC2mqjcKkraHviebbi1T8XshtC6cv7o7hFsByv5/6dew56nLNyE/VGytkmjZhOBwZQdC1lCUWNosIeWzcrk1bRe+Ii6wJyLUjnLA/EeuDlR552U2+3HgJR1qPT6AYyEuPoiGTomSzQbe4FeDG72+UGiWbLWOagL3kqiewDSIAwlbCaZiznQ2YedJP1GHAqRNIbvVKMpWXzc+Wkm1e+PSIajwXRwEcw2j7GUGs2bVZkLsBUb21lOH9aSAxNy4UQAjsA5QRwrkLmbFzQsaQ7tIK4PX18t92Gam9Ki24S3TT4rPpVO3mkaeWbNBS474rYgJ9EnNN5Xlbgidxyr55ivrWuksoM0O+EjmJAkS9n2OTigDhvJfqRHvgdjcr2vjQp8j6B6ELFfa/QPpwXD0RsZfHp7igKHwuY33Hhw7Y0qfY6ZPHkVMnIb5WID1jMTQishmbZwIB8gUzTd3cnRCZm1uioVQHtotwA46ImrVCdOw5Ns8fmLQA22QLVaOIEYJR4IAeGpT7RWeCc56bhOA+XmZRqwf5zdn3iev5WTEOf/SUaVfJwgb+7iea24NZq8qwLTrYt5yHTcIDpLOj9otHlCnXDox5SITwwbvgzrlngpBuCqdYtD5g1PZaKl05vrlvOGCFfiw8lGv5Q3nr0XCQFnNq3I1ql66fzCy5ZHqCUrX8Rs2QG0DywMKQznnYwH4ruXMIc3rMqVPWhgCOcPdSiMhq88h8TOFULz857UYzIsHHPby772XDnFAjX1+cWLyqt8Uliybf6RYHn+SU88NHsNpHTOKK6XtB0//mfpbtei57WkfFBTHKQoU6sqHkRgb9J43+gpyVk8UFGj/qETIvQ+f4ly8kM/QwcWj+MsH5kcO9O/9KeEF4AWc7Jgs8i3G9eKrBUQucBfAIHVxANJdLYGOXQfqP5blV4yHN6NbZ7CNS2XJYDlwv+l4gHwU9WF1+WhDJI6TE+XqNFzzJoRlBmMXFgf0QxCkEPLCe38yIjYMKSGhB7V0luB3BB/a4br7/sjKH8g+mmH+sJYOG//z1iq7gBbHqGRlQB9ZPgD7FAjdfaWK7SCqfS40dZ5t2zC/y+3pypbL8diDuOseQw8Mr5x+vo28PnUvo57V96TNTdFPyYHi7ceKktIP4+GOTymNZho5TaI8g+9p8fP5qRFybsfcbLp0KoD7j35j3rY1T2LlJJ+0R0eAQu0=">
            <a:extLst>
              <a:ext uri="{FF2B5EF4-FFF2-40B4-BE49-F238E27FC236}">
                <a16:creationId xmlns:a16="http://schemas.microsoft.com/office/drawing/2014/main" id="{1034FED9-2B69-4325-8C2F-82F112F7800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2742483" y="2098760"/>
            <a:ext cx="1869122" cy="4177892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1" name="btfpColumnHeaderBox587463">
            <a:extLst>
              <a:ext uri="{FF2B5EF4-FFF2-40B4-BE49-F238E27FC236}">
                <a16:creationId xmlns:a16="http://schemas.microsoft.com/office/drawing/2014/main" id="{271FD1FB-E88C-44DC-8B6B-21300EC14A6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87915" y="1270000"/>
            <a:ext cx="1869122" cy="318997"/>
            <a:chOff x="9987915" y="1270000"/>
            <a:chExt cx="1873885" cy="318997"/>
          </a:xfrm>
        </p:grpSpPr>
        <p:sp>
          <p:nvSpPr>
            <p:cNvPr id="119" name="btfpColumnHeaderBoxText587463">
              <a:extLst>
                <a:ext uri="{FF2B5EF4-FFF2-40B4-BE49-F238E27FC236}">
                  <a16:creationId xmlns:a16="http://schemas.microsoft.com/office/drawing/2014/main" id="{99C91028-1F67-427A-8020-CC7284455DE6}"/>
                </a:ext>
              </a:extLst>
            </p:cNvPr>
            <p:cNvSpPr txBox="1"/>
            <p:nvPr/>
          </p:nvSpPr>
          <p:spPr bwMode="gray">
            <a:xfrm>
              <a:off x="9987915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le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0" name="btfpColumnHeaderBoxLine587463">
              <a:extLst>
                <a:ext uri="{FF2B5EF4-FFF2-40B4-BE49-F238E27FC236}">
                  <a16:creationId xmlns:a16="http://schemas.microsoft.com/office/drawing/2014/main" id="{17F79414-F855-49FA-80CA-C13478C038D4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btfpColumnHeaderBox164498">
            <a:extLst>
              <a:ext uri="{FF2B5EF4-FFF2-40B4-BE49-F238E27FC236}">
                <a16:creationId xmlns:a16="http://schemas.microsoft.com/office/drawing/2014/main" id="{13F00A99-73C5-45D4-9756-EAFC95CD969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573487" y="1270000"/>
            <a:ext cx="1869122" cy="318997"/>
            <a:chOff x="7573487" y="1270000"/>
            <a:chExt cx="1873885" cy="318997"/>
          </a:xfrm>
        </p:grpSpPr>
        <p:sp>
          <p:nvSpPr>
            <p:cNvPr id="122" name="btfpColumnHeaderBoxText164498">
              <a:extLst>
                <a:ext uri="{FF2B5EF4-FFF2-40B4-BE49-F238E27FC236}">
                  <a16:creationId xmlns:a16="http://schemas.microsoft.com/office/drawing/2014/main" id="{1225F934-7D97-43AA-A406-E42BFE4445C0}"/>
                </a:ext>
              </a:extLst>
            </p:cNvPr>
            <p:cNvSpPr txBox="1"/>
            <p:nvPr/>
          </p:nvSpPr>
          <p:spPr bwMode="gray">
            <a:xfrm>
              <a:off x="7573487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3" name="btfpColumnHeaderBoxLine164498">
              <a:extLst>
                <a:ext uri="{FF2B5EF4-FFF2-40B4-BE49-F238E27FC236}">
                  <a16:creationId xmlns:a16="http://schemas.microsoft.com/office/drawing/2014/main" id="{B3761324-1721-41BE-BF3E-355026157FCF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HeaderBox610456">
            <a:extLst>
              <a:ext uri="{FF2B5EF4-FFF2-40B4-BE49-F238E27FC236}">
                <a16:creationId xmlns:a16="http://schemas.microsoft.com/office/drawing/2014/main" id="{B909E665-CE78-4FFF-8E4D-FBF9A20E7E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59058" y="1264536"/>
            <a:ext cx="1869122" cy="315913"/>
            <a:chOff x="5159058" y="1264536"/>
            <a:chExt cx="1873885" cy="315913"/>
          </a:xfrm>
        </p:grpSpPr>
        <p:sp>
          <p:nvSpPr>
            <p:cNvPr id="125" name="btfpColumnHeaderBoxText610456">
              <a:extLst>
                <a:ext uri="{FF2B5EF4-FFF2-40B4-BE49-F238E27FC236}">
                  <a16:creationId xmlns:a16="http://schemas.microsoft.com/office/drawing/2014/main" id="{C99CA549-0DD3-49EA-A240-71C4694C0072}"/>
                </a:ext>
              </a:extLst>
            </p:cNvPr>
            <p:cNvSpPr txBox="1"/>
            <p:nvPr/>
          </p:nvSpPr>
          <p:spPr bwMode="gray">
            <a:xfrm>
              <a:off x="5159058" y="1264536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6" name="btfpColumnHeaderBoxLine610456">
              <a:extLst>
                <a:ext uri="{FF2B5EF4-FFF2-40B4-BE49-F238E27FC236}">
                  <a16:creationId xmlns:a16="http://schemas.microsoft.com/office/drawing/2014/main" id="{7BCB958B-97B5-4F55-828C-626F576FC492}"/>
                </a:ext>
              </a:extLst>
            </p:cNvPr>
            <p:cNvCxnSpPr/>
            <p:nvPr/>
          </p:nvCxnSpPr>
          <p:spPr bwMode="gray">
            <a:xfrm>
              <a:off x="5159058" y="1580449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btfpColumnHeaderBox481559">
            <a:extLst>
              <a:ext uri="{FF2B5EF4-FFF2-40B4-BE49-F238E27FC236}">
                <a16:creationId xmlns:a16="http://schemas.microsoft.com/office/drawing/2014/main" id="{AFD9952C-DB97-41D5-9CD4-0A68CC748F1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744629" y="1270000"/>
            <a:ext cx="1869122" cy="318997"/>
            <a:chOff x="2744629" y="1270000"/>
            <a:chExt cx="1873885" cy="318997"/>
          </a:xfrm>
        </p:grpSpPr>
        <p:sp>
          <p:nvSpPr>
            <p:cNvPr id="128" name="btfpColumnHeaderBoxText481559">
              <a:extLst>
                <a:ext uri="{FF2B5EF4-FFF2-40B4-BE49-F238E27FC236}">
                  <a16:creationId xmlns:a16="http://schemas.microsoft.com/office/drawing/2014/main" id="{6D6B9DF2-F1AB-4B39-96B5-22C830C0E240}"/>
                </a:ext>
              </a:extLst>
            </p:cNvPr>
            <p:cNvSpPr txBox="1"/>
            <p:nvPr/>
          </p:nvSpPr>
          <p:spPr bwMode="gray">
            <a:xfrm>
              <a:off x="2744629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der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9" name="btfpColumnHeaderBoxLine481559">
              <a:extLst>
                <a:ext uri="{FF2B5EF4-FFF2-40B4-BE49-F238E27FC236}">
                  <a16:creationId xmlns:a16="http://schemas.microsoft.com/office/drawing/2014/main" id="{D26F6349-0568-49E4-9072-D9619E31AA27}"/>
                </a:ext>
              </a:extLst>
            </p:cNvPr>
            <p:cNvCxnSpPr/>
            <p:nvPr/>
          </p:nvCxnSpPr>
          <p:spPr bwMode="gray">
            <a:xfrm>
              <a:off x="2744629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btfpColumnHeaderBox961069">
            <a:extLst>
              <a:ext uri="{FF2B5EF4-FFF2-40B4-BE49-F238E27FC236}">
                <a16:creationId xmlns:a16="http://schemas.microsoft.com/office/drawing/2014/main" id="{4BB8BCB6-E0D0-411C-8BE5-A1F3FBB518F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201" y="1270000"/>
            <a:ext cx="1869122" cy="318997"/>
            <a:chOff x="330200" y="1270000"/>
            <a:chExt cx="1873885" cy="318997"/>
          </a:xfrm>
        </p:grpSpPr>
        <p:sp>
          <p:nvSpPr>
            <p:cNvPr id="131" name="btfpColumnHeaderBoxText961069">
              <a:extLst>
                <a:ext uri="{FF2B5EF4-FFF2-40B4-BE49-F238E27FC236}">
                  <a16:creationId xmlns:a16="http://schemas.microsoft.com/office/drawing/2014/main" id="{4A747C9A-5698-4A9A-9EFD-DA4372D881A9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</a:t>
              </a:r>
              <a:endParaRPr kumimoji="0" lang="en-A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2" name="btfpColumnHeaderBoxLine961069">
              <a:extLst>
                <a:ext uri="{FF2B5EF4-FFF2-40B4-BE49-F238E27FC236}">
                  <a16:creationId xmlns:a16="http://schemas.microsoft.com/office/drawing/2014/main" id="{C23BCF52-9662-40F7-BF34-186A8D2A336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YBTi5dncSfPznmq2FLxzTDnxCnXaQE1l2LZ0/UiDOddGLVcD8xsbv8ijI7IUlWCizC1fUVmGYnecoIStYh5kUZVhfi5KH2XL1I6LKzWli7Mc+wClVgRaSHioA00zihjLCzt6jb77kkwqb61/zDHGVMMB7BN7b0ZY/2VZbSz8RAE7wHD7u+P0xqzUO1BJnlBJecS3gF83YddB0kWs7oZHsIf6TW9Bw8s7R4Bi9ag9OjQ+ZLT21Fn5eOqArXmoA7A/eUNGz/oLIhT5mx+A1aHdoJIdbTnbY1GAc8LzpGH5gJlVuxQoWawwzMBIaLhtHKnxu32HJ09SqxWB3/jqpcD17MNIMkazDrZk5K4lRQeFkzJv2o1aH4ywE/6NCpyw4VnuangborPdKtbKzA3cxnhhB4k9KdhnuEomAmIZVJzfSOkqDUPHYMG5eIk3WSPzRmgnZ5RIss4a+U+mqiQtH42YfFJwrDtsaVTnQb+wklGswg92PO0Mo0CdvMOS7Es2dTueGDpVT/4jsjbfpxJX6juKxcH+O7ycCTaGlUi1h55KOGiIeewLBK86dwJrALUhWCeJqdJzcN5X85dEY6pvWj5isiqWbkkpFtnkuYqH7t0JXeMs7xq7wBe7ZWna2UezmrT2lUHWYdAEpzoC9B2h2el4ANZRqH82TxKsz2QZM8C35n7Ce/prohXG9SZBLLUj5aAlX+/Ayeh3/8SJ5N5FP3rG9v1g0So/qqZuJLBH+RBaEh59skL+DJMznRZqGStkmd2InD+DdfBeFYrsJspKAnmbwiC+rgcXSZ9RcLI/rZBSsqJyfy6Hjr+TiU7sCHo49rImITV4ARGJ9pRiWknCe3QMknnwz1tmwNbozpCgzygzy9THNZOzM1ILRcfKVHMnljOJLKqxuQSuEfMDqz4A0vBeeH3zSb2B7BRcrqwAHNNvMjHYvTJP8+huGaGO00MUbAk4cZACc7G405D4GixmQl2/OVaMt8zFLacmqIUjOBuzxX2zvkmYqv+GwYCYCyoO3vCskCREkTp4kQqeucxYhv4sHbTmNIbEfzjIj/4GvaJ+n1o+BK8Vi9HkrGkAAldCHL959oKGHt5exDbYHT9dkjjFNcqlVWnBoTwZkYL6aBUZ/MsHRh2y0waQjgEBYaonwT8K9b6UTEEccfMpQ/EQh5HCteh71bUsOM3I4w44+mSSG6I+YnZQtwy64pkfguV7v5LtGnUy9DZzIqKXfflP10/VBo/n5UeXnl+IZtTrZ6NicSjDdP9NsOkRAMQvlGbbLpjn+nlfBb4lNuFWTQgasFbvQ8cA8mGmON9P2qbjS446Pc/DxAq4kw+uylhPGIgdWt3TT8Wnf+Xe3wBD9kJTh7wHtjXI35flHZkS8B5wkDcWrMW5EvGbTS0SLq4D/6M2eCAXsHYnMo7LXesEHQpVPLdVuMfnX2sYE827Z++Y9BIguou+xxTRRc5TbMpUpwE/nxGaZn2+yY08omi4FsmmyFFz6rkXDfPRMsXSwKPv7rRpvc0nonr/AdzEP0Wv8G/W9odbW5tgAU1cZmNUeb2AlxmF1AjnIDReoHfeosewv2iALiucNqbGUEFNqE6cmCRhYoatzPE4eq2FIFehQbvC30xc5+D+9YptWlX3XsbJ6Kzvt1XV+aKe2bzUWv6zCTSeFN8q0Wa+T+/EqSzp5KVqK8MJ1yJ1tW3S68Ljb4t+O5ZOufcVreqpl8PEK5Axn4cDfaE/VQ6Uhjg/l521kZ5FiHAcbzo1ufqLzDGd0XtLQzBuXe6oLOR0IQeHG7tnjYnKYCQdSp9vzI+591GBoVygBhUjgWfEGJD0lOZ261+3lskHMNrCOJQ9CkD7yVATiCPeLZq7cxT1l9lio8L1Hk78BjEhaI1VrNoAvdBGuKBckddxLfu5mwF6TM8Ez5cp6V0vACB2Ha96ELX/0BWAvuO3ylox26bQ3QH3JelNIccebDMX/Ow535UXjnGix+KO89mTGaOSdpduS97HG27ljRf0Ey1qIvrmfvVD1wlGFQeyaG7+DmbmBHec9OMaxWDziE7XUjNTK8oKfSarxu1kwUOdvYx7V1UflTu5Lot6Q6sRRsdsdTsS7HSIu3CvcieZQMBk6VPIJnRhQK3qWntfCIo30I7I+sKCp3fS+ZtpVIXW+KJHWdRqTmHpeuLaxeyfJo5mVNViVHWsCjpnNwRwd3Jlf5gj+7gqDEs9S3M6sDC0Hxyc2QyFZb+z5Att20BuUINxnM/xMOuvauhjWs2Tg/MJ7c3yMZ4DB21ztYAzsm6w3GFSv37lAE9x8rjyYXJMPIGSIHlHhMnO7hWGfOPEXIPDNjZonuCDZZhA9cFsM2VkSm8wut2WxgBw6LdyvIKx4U60MiwcLNma0omhaAukzxASa7QSBuF52vqNoR86H5qZ/XGT+GpiA6Mv0XzUEXZRiT0r5dCNxK260OO7pUkKhvO1DvtS9K97Fmyluluz3gVHFyI+Cq5R9Slk1Dhisny5Uun+gNvvWOnj7AdyhBht/0aVEEnEW39/mz0JmFVYULUGmH4YVMlrHzbyVPAZaEtvuak+5E0ANvWomo5UvpzT6ONAhTD3iNcTaFi+tPoVy8ePa99T23QWTLg9xt3pKmfwzMeZIC3OpHfbPhPL4o6f9g32j7iqPy9Ybm+kZiBm91pXQJ/l1d4clEzO5qvHqEKAIGUdPS+Wx9CKR7ud/RUFUTEC9OwkmDAnnE6YSEK9dQPZf6iPI44k1HtABH7OTj9mKCd3PFR4NgcyVWgoaXy/iEarwLuYc7wMz54kAIKK6A4uhY+53DFrBuFgB/fm+d4mVWWZChPNqGyFyGA21uKSL5EH61FCAFXo4kxFlONdth8icfrYqCnQYSnSzgiJV7sdCuQFyNa6iUoV/N8GaSfj7QWW51izYsq9V3f3+Jh28fiMEzdIuF8ao9Cb/6kYDzpNZpqWRRSws7oAgKc2ACB1OmfE3BUt0ZgrjWeH+LpWr4Pe2Mj0vW8b2fgEBmF4En907q0HpIAq4s/2NQ9ohFQaIhQ2ulszQVzI5N6UdoqIL6Ns8hMr2tOXlA2oLxoRAiw/5ffFXvBXYgmKx3hoI0QOk+j3P3S1ZZpJVN1+rxB7jzleLn1wo2MR5UgmZskFLhBCKAOLUwQB0d4L3xXVUkHOaqB9zCzZtQPoCqZjSnwzza+S+x4tfFI+h9tz5YopiWwT2AT2zpRqSM7ggfU5wnoGS+UpwBAxqu37O+9C909tkWpZ9/fSICnUXK+2QNKAKKCpP7iQCIqdP4XOPwu/qrwWHqYYmsCJZRN2giLUfpvur1zDztVK332TD2jIvv/miaLWNN8nCvL1CgIUMoi3kTvsSuHDlPN7hPSkMsviazQAK3pOlhajkk3MDcJrpjl8tU98m2pLiUktGMSiVvPaY9fKJhjwnspD57f+ldHyQkCoyxJQ9y7GiUsxeHsenlkXtU+JyV5WCo6FGI0WxSsxqL/N7I3+EgTjqbA/0mYfCF2cdlzdkNungj+MBYlv8iDOK4JE1u+ZhtvRjng7zm2n5jJQijZGH60+IuRrbfj5lqO58JiMyNyf+efxTUdAgKS8UUgAhzZ1ikSChxZsjIP/jyG2EKCdPxsn0Al+1BOjau1vKje/763ny1+GOuVtkJ1Y8NUs2af1jF8XAuthP1Q9m/2kMDdGoCRK3pna+cF0VXqMRChaQxAQzhRd/qpOqdQ5W2JDaQrH2cUTS2/h1aROPgCeh7W9MOoXY2ExOPmVUBl9HSCP4/6ie5sA37rP1cUD0vzTMhoEFzeTi/6iDExf+L33LBbAf9mcKyIN0s2PX1WZOONTSj9WXy62sh7JexRR7S8bezEoexS6X/ItaKHlwATO8+6kOMtczVvO3eGzdAGIP3v6oTAH+qoct1z6+ypQATPYpPYQmiRhwRqZG6amN9biptQ3dFGM4/Hfd+eK7xpASXfKqCG5LxDNCTY2+Ftxw8vESMcqRlSGaGQ4GyyQUNAGeYYgAWKDsxG8CsUujUmZT4yJMwlidYXer10jNF28MGXrrOzeSX89CGdxYARhwNNFUBhq0EqOgJseLnQfKKvRfiG3idkIItzUMbT8mFA6VcuMCpAipbbSEKV7MsbDV5QLbXQ0/wX19fX0aFVSGZlFpWt8PNoJe4qBXY+v8lrVy3+VH5J64ichg759y7ts8fEaCwCXZY+SEFrLP3bdhwtHrDRvsrJCbvXPAL0kOtTEZg0UqFMNzBLdq8JGXNCfOzAVusYXiT3yembMPTUxnsutNDT5ORlb223Vst+IdKaKmzdQ9F0HO64QF2dOFhZx30V2FygWlXod0PwX8dlYhMP+DYp10t6M1YeYZHgBTKl7Hu5JYpKJLoLLLeeFL66GjjIyKQTv6qcIjCZHNqCd8CJatBDJJFdG/f1JA29PvoxOFqxDnrDILT4rl79oQ+MfCNuqMxrFYtyA6V7eRhO/iWwaPBJU51l51A64M9p0V8ialNG7+h46SxU4BqoDfD1RBoETNP4KlFqNurS2+lORN5S8FJ47ii25+5iW3N8Xx4LD5zY5/AC/usc14rZ5ZywCWu8/C2voI0xxT53QI7MH9aWZh6vQ3bwv53XXf5ChDoHoTzZ1+PDAju/WH+2/+Y1GJOKmMZXSvyoqCyaQS9VdeP64sGFS4eX3wgfVYcBYw2eZN2EZdRR2xQam9+L2CXJ2DStWk2EJihMGkxYeFsdYIpDSQUDPdWaIeTIT/wYq1jSK5EQcKwy0aN9wPjCaPtsjUVRo2jiwYOGLlmgKfsrygYN7wRNvlAuNeTF/Sl5/pxnOgKV/WZDEQNqZ5uHR+EvgexZIyRRISkz6ImrbZ5ijO01hCXoe0FBxudS+RkXH1wO1f+squoYJzChaVvxd+TKZx6qf4onGXHlGVmQ5ZcSBFnoVRdTI3Thceslk9SN4E8+qb+sUVhEM8JdCCZBMm3J1jRdDx6Z5vUVcsTJjzkWeRLR9wQcdWBG09CpvvoKETqem/TrG2A+S7R0qbgJnYNiOQv3f2HzG8Nf9sXX2CIhDvus7JqI14SxnTZGlaz9BwfScOMcyBLD7RupNxh6aWDlhRjmntya/q7Vb4bfl04pfhuHZk2LDyY4o4kpsL3krgKVTzRSdZGvoViY+VHIdjloO2K/irjrdEedFJfaExHQthRnWd1aDqbcQgcP+fRAXLsFL77jGbpXm9HuZvtNUe5zWns5aFJVmYl443sUMDmQvWfSy6pU0CjMtZgV5Wrx0ROAfC9VKTM7K9pBq6J6476m5v607bARiYnXk7crU+7yimO6gGJN/TIP/GiSIrKI42MdCDCv5tuuP9AGP+m69EngEtkumwbGqYvJT3lLxHD3EqSiO79ff+r/yM7EZLHuWXeA6eRYzMGWYnyeDewguvFJ8dtkeh4Y4uwGgCEnPbOP0CFogOn+fZfyXInbjSQpXPOKm48bYeLP1fcHWtlqYv/M22XhpKpkahkdUk7R0NUPBxZ7gp8YTWBDkSWCecZtoDmu5QMtWDxi08h3g2i0+YxMRt2CamsqGa/WCaDarRgqUAoTU6rfLRd+0DtiZfmS0JN2WRwL07PeOqGn++z2HbwxqZE1uptKVERBMJnE9nh48hp50FbxzZr9nvW+P2l2dBI0PvsFludjkcYzOqpFTFVHP1kGvQ2b8ANG3YXXhokAQrZFechcNWhHU1WP+kgPmFIvHGDn3Yzm8pVqJ8XqymihW+ai0PAjTkueZH8q2SziHQwPam53RIlgk6szTO+ZSze+UI/kdhlb29ryDpyncREXN10/TGrVt2a2lm+NGjIA7Y8CQYwNWJTlQ6Ep0r+KVX/wqB8agfZ7M9oTQkmdU4P5KNQIbWpcI4c0WKwmq8Msjl6OLKr8by/T/ttT1yNiCm9nhsNWKfWmmCEdAGM1mPX19EzZ+uSved6IvVB0F6MevAV7B4lWX59WYZ3T6ljhBLwqkTUUc/8Aqr/Kr2bHBgS5INvo3CY9K1y6L2fQhiRUwDJXO5I8zGzVjAMA29Wj7etAftVEZwGsAQmqyYd5Bo530pJ94DCDflHZs6YDZ4kNd09cCSkQMHYRFbFKttpzUcW31L1mDK3s7A6CS/XdwIu0N+z1dCbXMi3q5Wpa/FHviCasw9r4mnT92lJymUwimZv/LdGWuI8k2HJzF6Mt6fL50lq3x4TG3YwJr0iVVEGXsC7S0zzZU0r0KRZBIhHotUmf5GMMDfSHIdnl9iccQK7mUMLyJsyx1Y0r95pFdmd4uqmk+kOPdslRGsDUPn2Rh59tfD/F8inDb01Pzn4tJad4WHLOwjsREEXyjpiekZTTk1Uv91zDkgTFYVXTu9e+MacF7yJIxzwOpls+UN5yYCLYCGDjvBp6bXXGeoOZfr6no6ipr7D4liP7hz1aSyXGW1J061NlLWn9uEUKF0PaH3iHd4c2tou8/rENfwiTDGzokU4s4YE/UyWWuT56YFTESpSykSzKXDczitE4MeuecA9DCmS4Y88a1qaJYnzZM5g0IUb9vUf7XXY64yduXDS3BMWv0fzDaXorN/XzjtVfn2FRErb4Iqd0VmdVKft6ARViRkYqlbElVgWpqerjbcqXEbLwReRJuSChEwIJU2ZOVsoTHnjEyeb0bYfWwJ9tp/eqjH8mjcmxc0gebQ2i1LWMmqi9avUKFs4YlECr2sr57u9sdo20ideKhDAnd6M733fV6i1TBJPZVuc1V3m1T2pIqjLKRncml8cl0o8StaV25egOmTrgSvaAzmfqvh2KVJpzVAnwTPPkTkzd9vlrzY3dRXLqDs4nt2qX1eTmzinIx4rDuv0z76dmh2L/V2W0Gw5go/cBIdz4qeP5LfE/66oGnmTDq+1MGvdVu5Pu3s0kzsfNzrFfLgTFLvoMvxIVSYvxhiZNw5sKUOKS6JcTXrpAM/2vb0SRIRful/kobfDnYxEJHBQo+RLMF33ManNcjLtUzb4mR7EoXSIcO2vbJY2FO8LyhpFEusy11wlLAvxCy5TIFDeG3wss72uM66iFcVEjHdQzv6t6l4OUdngnBwQGtastWD5yV00+vCw5VOrcKXHqBc2Qpsg6bE5lwVqfFcLaIg2zUVN9mUXqyw09JVT9G59aC7HdjmcpJ9o2fzm9xO0x6NzVwmjdyOWAlusWqCDYIbXoSMqPbQErIWmNYQuEofUyHruFdTm6R1OJZlFktPc101H5D0DBH58zOS0pGu98WIKcjlxQepSpS8qz8yAqh1V9awDrhpsRwLlIemBsuICcatRjqkRYcd1I6RHPjptdsmYDG+QP4xaF2+YL0ewH82pwdEYzU9bdQAWaPnXf7wTlk7mOqQTVW+U4A5Nki0Q8zuY13JlRsRxKxIhorUqlfn/8W2BDWPEe+jki/TRxE5gx2y3Tv0bvHP49hYM7YlwUvRYs7Z0m5ZW39dJZANKpm04EVsW+vmVyUTq0y/C6OCXNU+yjbE8vjUWFbe0yk1UiBMCxFA8xyBqtSD3ijERVa+27R81AYtR4MqE0L2NwP4knv3YIIG9DHBF3ey3A/ueGhZMr0W7HcPz3DJFH9EDyGRzt1DTyAVDqHMm1lMrvsqTvUfvwDywB+SCQm2FWgYHA5Gv/DIxj0j/BhwI3ZJQd4dARmN9+3Cn/0S/jo8Z1boi7HuYaTMB+5uJ5lEOkvdTC9Hd7WtOd4M7gi39uenZSFnewiXe8YmJ4r9KafJ0/UdhrLarWG8Ngd+9d5JOt3EXpruZkSnHhOxqLGdRNDW9+nmwViMqrmIpc8MHu9DpAeK5CMQ7Csf4em+WVvjfD3G4IUlY7wLFO/8o6itpg945TLlgTmUSrddM8f28oQD2Z9U4KcNCpoQm2XhILVGzih5v2hRo1f5TNgaGzxJrZfSwCaQ6f4utFPFMAP02jS4nAoZ+Ja3QU9fsA+w0hUQE6cIg4aC8j1zy1BRfJQMYFI9lPpAefoAOjQT7vi7A5/ICC1Ve3do43bZ7ERmVyUw67zvTZVTuwHB0pVPIhKqBS7NfSK5EZaZDdUDQcpH4VnkyndkO8SRcWxDvtt1dDTY2GN/4nuqLfyfKpAMByAoL2wM7eNSMWUy+unZO91OXVe8RI2V0J8KUP+krex0FP+iU/R4qg+vRcItYPYy2wHsxA9GcjCVJSysse+dDmVAwUeJcc/EFmJAeqnM5/ZrNg+Dcc/xnTO+oUCzt74rEO1UYcgz7iir/TdfdNVTLQX43NYEAwyfnM6mRzxVQUCc9aIKg46grzOf74d5GBm3+Siod6ExFdc+gwRZHTTj0UMpvefHuvz0ZOK6hcY8Ns4oXRF8UaocOpIPaHC8d83SfHe9hUgD5DLSIGyw6dZDclXYnrRHKkWH15V9a0U7ae5OyCM95GZkonD0l130YzkBJH8bdHlUXYqW4pvGOi4MgfD0DvFwPIJIqwE2TUymwBRH5vucmgV7l1LQQOeAesZqI7iaTR9uLPhDEf2ov3aD9g69XCuDq8xyWaMMFdBTPJTfbA4IWJLhZ5NKTpyD2kinC9bBeWPUg4Qu4BQn+ZOLaNJoiqF3mZOpBC691mWzXYApJvrgYjqU52/fMKUB46B7A7hajQX+W2UJDwdhgE9BmrTOGLg/YQM0eZLHd3WBt7971AH+9rNXgeN0Ukdr1aaQ/YGn/rmGUf86zZoKSzMigO3gitDbhdvfQgDABnT3II5JYSR58ZGJ9521Bqon4yFIbnn2LVRFwWc/pdHuDF9aQcJvpWCbD3p658CVNwQnXba8uUWAnatJmIiY0XpgHrtIHd45UxXjJvufjUyzbyrUIvVOvk+bCCRHSX9VYe5x/xmsr3s4XridrthNvNiRimkSXSIhvXQCMPlf0hVn8G4BNkEHJtjXAWSqlN0QcoXkFPv+9T4Izmgnk8z/5zcUuTBnv0isld3+A2Cl9KCz6RJRsbduf58UDi825do3JleX0NhBB7CzwjEo6kaoLelJPGYxMB7Yg5BQINRk2fk/vixI64x1gkehaEl7X5YYcNBhC716UykiCucZyuJtWWuayN9qYq37VFfkenUWV6f6utVAXZM0L/y6k/fFOcUl56C1U8E8HkywPdND3pcKf+A95HU9IAx1pHlgtG7JoUdoRsbRkP56z9QJlX0kqATrd124bY/wwg5FYn4tPjI5i1OaCea0VKZB2toOyw2eiWPkHrCzdLEkfRcT4qth3qjbY1pwLFuPMVqnlNsFNl3sYKDsvpDK9Q1LKoDjUJ8rHYNhsaoy14HMDN6jJVlAyOs+16+fkjkW7Uk8YpR5qPGSp1rSGS+zswVYdQjRTp9tR0m9RmmEAeeXLLVzsdA+V0WTb8WTk9hxwukcl+MZkvECUdw/Dn1WObYTXfWphXg7/8rwjThOfgWjuutAwDEzO7imBT6DY5hC9B86Rna81TLHH47JfOOw+mhyEenIvNdszn+9KwYJlUar/st9VXUrmQod4fE43kBwDilQyYffPxHnDV/Bhk/X3EA2RNSxT5cD9exgUoKlLPLriNLcSdUrUYx3g37R+ZRH2X/mtsSER3JkqOCUUcsgPUE8bcxCFYQYj6fzSzGsx41pt6EsS0YSpo56nbAXvtAb9BmwiQQUm8+QcRKmnRZ+I+sUz6G0r0yqO5RrDrUVRD6bjIUEOAOdO3jROtnU293sXP6mu3GiFRV/OPrOzTqa4n0sK1y+tLCq3iAKyu1FyTX7TZx5RKhqaLAwSUuenkOWwnbqQdkr8HvPiQJAiIYGXC0BZV8LfQCc92QA4Yeb/9tkV6vsqBqjJrfbRKCtmLasHgkc6x7foIxR6BXKJF4c1aITy6sAQvMx/Z5QnuWPl52RzPCq3/MKOFFm1jiioTxg74ubQh6SLFpPJzVlWudz4JFlcDzMlX25K/b6OcW8d91d3vrCN+oua3Bka8+fX1XJ/Jcj+Ox51aF693dnpnR0pek6eWp6+KCKywXKX2oX1wHa7qChtLdkLRT2noKyqAXFnPsua11O9HtwM8qPE5hllMOVbIZjJDMLr1oFqzdpCtq0LLLt5V0w9UI+EMbmBjljJfBTWRgJO4w2h0APbzNP7ruhf8l5EarkjyeOn9LybPGxOeuibmOx5oD/1MJkrPBRPIPyLRWlQkAJNoOLRYLptUkZEgFIp0BaLE9v1pMX14GzoZfnyTeWSn+uOxdxydwn+WsFZiOc3AnkoeYi4Zdz+WMHC1I/WqjPSjuvksFhVMlZfR3lrJnYWQ0EEvT8ZmUiZbTc7lmrBRB8fKEZQQZF6JqdTLwEQryZQks9HuAEcc4h3nUlWdQ6GBEN+02W+2bypOcL8en/w39vt8wt1zQyl8C+LWlcC3O7twjtLQS19csRaJ70DfUPvthPwYCBIc8qDeUWh4yyGxM/teZixYAS2sewStdnZAz18z//YMqFb3cCuw661c79cuP7EUIaZ9/y/1FQBMP0aebr1CNp0RwRnviwmPLP1ss3oKH3/0jSYzkz/gmWjWZbdf7KZYt6pxmRJbDaUV3ViUKIlYqTNZEUaGuI2rryR1x5EcgC1/zXgCTqQzaDbfCd0toavRllIXXOPN1xF850IzfonXBncHODk2AATDDkeG98rsc5hyzx8/aNjvfTU4LvX0ykhRwu1uq7tYxyndtMdo746MnnTJ2VL3GpMuDn7GigyoUt+4lb83I8/oNeayZnWdqwhcIG1jygeL0ot8BwVtbdhKIBtO1ePw4A3GynwrVykqRMEv/fDWQ+7cDnI9WaOQ6Ud/BEC6z0KZ97FUbLNk0A5HCU7qP3GurAv21lB4+yBOsFL7Ac4immt5s/vpsZWtKSE+CMkqUw5LIQHFuAd+9sN+8QKo+FHV8YHufIUTY4WnutcLSSQH0OlsGad1bZB6WHpV6rK0mr9SRMvX32kzqiHZPTAewFESP/8liIkjs33fTvlUJ7QR7nQqlcvErrb18hc+53SOVwMOFAljwizY9bQIP/s8j64r4Sf1jYHmE54xIX80bzp0jqZQ4k+f4/37TqmURzFvEnGexzlW6V8naB8gCEW/dwoiS5wU1uADNDQFnQPtEjvSZDLq4Li/6327eoaGvOq5vW/30+kl9+OQWP+xYFCRQxtjENc9NCnVIoZWxjhRCHpRDdxK/uNoGXiPshf1vkeTvp98DHLdPyRFqcEuvpGX0Kowot6dAJXSwJAXu3F/VGXwkNNOdeYXQA7zUF7MC7RsV3fj1grXVH0W3E51he2aQhxZL4YFZiMFh5HDRKeViIVwBFIiEykKYOTEytXGui+Uzz9MRWOz1lIrr35aVbQ88kCRqpAhuW3UHLJHiJZI1Ro70yEbpa/ryRnIvKy6jUr0RX9SZvSXGR05kg3/QQtqQnRl+3YjNID/5gsP4KPMBbWZnJychSghTM69SL6ErAnGnitjGhUv+74rt0+kejx5sCsJnvTSsJEvXTH6O4Wzh9BglCsI/X5is5TRZe4z1uY4RhfMGDb2StdcFVZaNiX91LYTj1eFonl1PGutLGQKggniB8AcZxcsvgizAOSnokVbagX4GZlKvQUkAxXkphW6LOgWgyBh1XF3xVlBhoCb42RjOKNsT4wrPGJepaHuPZ16OO9GVQv7wR/AjSsSTMSjmQIYjAZLyKfZu9dLyYKoGXvR92L/bJM1T84FGLrEiylk+wMnRqEUPhqKtK7IP8gVNFzfx1FerHgi51qC239/nnLtuxnk1DNN4/DEnDHLCwF3fMJ7Yobn5vz03Rrx0Zpq45BvAEVD8yCoCH/YknwKcdNx9t6kaH+izoYl2Kd04hkfD8YcgnY3XOCo91dNMP4O0gUXJukXW9/C5TqWTL83hDm65ErW2lvX78t0Ocnwat0C3Q7zJJBU4IPFYaqn/BsVGy5/2/8jzIKGO3TkFWO5OxE6Xk64EAUAh2/IYJ6BWlSrXR6pDuX++yI4bCGnw7b6DY8h2QJJ0kXBDC99oGaITMjhFtmq16og2JE6zXKgWwU674U8HPItFUAdt6cXWWV2T3PI5GtWllf0QKTQE2Tb+yosEcwHTzCYkxAMaXKVyVGcdoJmIMhPAkTJxKKqXzA8L9pL7bd1Ii0Z6pBTCjn7oumYd4TjlpJM5q3udkrGIibH6QdzwkrxoJIlAq0B27pZcw+ZzREikeAm5mHnjwFIhgG3uchHb+5TYpfhEqkSaR/yKsAtF5jsKSk7EtHM5zdMV7jIpa/8I733NJ0+92G/XjQMRdR4EntuzS4lDqWJHGaoI1i/4cbxI6N+ch80Pm+VTRV0QNgHeg9EdON8HlVcQ0D1Lf+EX6FW6J4Wsna7f100NdYmbA76UO89FkYufc84kGrmmullHf0M4uYa5qSyTlGgrUzWeW1aZWT1jTMFLtE8o77Rf5ykFFleFzRkyokeVXy4Bs/b+CwxEgRNJxWQ62JA01EOUfdOckWNQaBDq3gOYfsKFTs1tiSsLXm0NhEpCF14O4sZsdN+QDd27MvdxqcYMZV1G3oFv1NoDehJxYO5qq8i6wCl/pDrax3KFwnqvzJ2j+v8DBS2ihTvYqZRaZ/Ojl3ekmQYBcOrA8juAMei0a3c1OMqhEr6h69/tlCymhpF1YtcOkJDbnBPmm+SO+QJ7IWaW/XwcUoJuXXZHsE0z3PaDoAiEv0uG6knjO0l0SgHCdrc78odV1OXmy+s2aPBd/SOlQX50p6LmcdCUX7M7dqpLOx18IGZNlTAsvO9oo2yNTJwexGE11DgGJmIuoWYaBJfOHkwwXObHDBeiP1YD0If/ialg5gwuw2g7kbYTcqCwqfOqyu4w03mnFhc/n7XN1QFTJaskUfjQMzRLN/TDjXkKWuC8fXiZLm2aWYUiFhqC4As91PFnJ4DO/Ss+PsjPP9R4uBJckwQXxrM+GaFk/yh7gTPH2BXFM5CL77541t/Arm5eMF+VBNNX2JdHosaBGZzkM/myDgUCQq/qBZLB/NGwD4MUHeSMkuiy5CRBPo6Ycpgy39VEVj1wOqhiFw99ktHKWIgJTuVwcDdBvjdO8PA4wvKB6uvuhuaxXOtfHhtuQOQVZj8gbDrl6Ok8VCEfx5qiWtexHGGAyrOz9JyJ78Ef24IE7DHTMFW4wXuy31bXOa4vHmIdmxFGURzgEToxO+As6JTkOmlrq9wkclEWP2uaH/ikzKORZP9wwaiFxI8wJYGZ8DRh6VcnL+Ya/dFVZL3/SusrOjFX5vIHHOxX7E++IYhZ3gYAir3qCIo3CnBJy0+jJNt7ERB2Uw3MQFt+cbayar3OJ2b+h4FwLG04a9OY11krMwe5ywgdZ0FazslqtFruhk4zEYaKOOjFQ2XuN02y0Ex644TjkIqFwPSB6m/GomgqpxiwGDK3GOjWyoephU0GLJ4KxKbyzxgwhFtLbpbyGo3PLU5sCqRmuy5iVRiJp85xyqgfl9KAs3m8B1b9uU/EXbvimUhfQPQYbiBWuBRyxjJuTbiWsTdqvrdlzGG9R+mphqc/wuCQkzJVBAaXI4+FUd0lI5IStGq71Y0iguZWldq1YkhpOrl/AYbXQxYhcOdC1cNn4ImxDayle6dRSTJRA3LVVPsNr+MDtYHtE9G0SyEyyQy23L04vWxmkjLdcL5Y3qKuFQuw7b9zKjtmnK/4Frr1DXLqqcnv0ZXQa4FmTbaGai/tXhOSXv6fm6XvfFflzlZh4ktjm1vcSU9krWpDOeBM1G5Fm9g55kekTZ0MoEeUbJO5+/ondWT5Wug4zk5dm7yFVIG5wje3exhe4CiBi8u2v9iO0Ctu2KDaf7lwdb5AK8TYStWxYWBsBPPeWLTX+PGeIbazjJEZMFKFvYlVJ8x2u2t7gPaIYIqYlzep9BQUCny63Se1ln7N+ZVP1qAdq6ANUUtWw2Qlpoj6zYUZGtnY4ZRxQ7RGbjqaFTbrO0mua8Wmi+AYDjJKkfOhamjL/pum14JMB9WhNOVqArHGGkIzbl38eF12uJMhOWsio5Z0B3E7d/gZ+WKDIR2wb1WIx9m+SFeToJzh0Hclh0kVAieMQkp9f8e4md+TnKOVKwt6hHZ4NV7+y0EXCd08cXGiSbGX4zD+DQwDl25tpHvEH+p7XMNLMfjCNTnr6Q67YAS7/V0uzcWLDK7fLzRLiy7L4DF1VR0nI1mQMOTdT+LS5qdlMI3cYxj8oh+1KW+UZN03ZuuuEiCXoy1eX4InmlLtBuomPylecFuR6KFbiVOhJx0scFqCeTcNF0utauUKm5v0SRYz+pb3E2MEjC7wcJWAy6KhXiE9eZa9voHTYSlJKZy5Y3ivBIgO2YJZUOhj5XIzbyTL/ksyXweBJntKWlwMvyLXg3XH4DNCN8wwtwWNemAP/iTHmr/VdgYK09cIcCIHkDQ7dR8cXw/XTa31IukFsSAdIkezzEXee14IdFqzYUu3qCm4LPM5mRJ2pSFrzdToYgKjpMUf5BOUCVhnqMpM/Rym33492YVqEzobEFF4jSzc1WudBB1cQMpxgcO4okczLEEQSYMfaTP+SEe7aeAswvv1C2UEalR3NxSfInka+6hX8u6zhYfEjb41z+RwcLOCj1nI42VGKne0ggezP27OObwFu8gNVytnH9J3sgHGqdRsHqvbKSo9bw7sgCDQ7JR1lJdVjj5Ufy8e81R2T5eqUD3dPjiE4plG7KCI7Kr56k80BpLFzaLpXg3r7XLGTxeqoUtqVHbwqJoxuZpxVbrwyzYXznoZmyrm2miMEMxZ7DepwFZlT6XdnCtDvaZc2wijWgk2U/SSvJK10myZ+FmFPm0OOoNSNsw9r4bUM4OYeJXnkofK8fqoyTNg6TRz4hyFEg+Askus49GurrIw5wurnH5PEAiKLyO6u5uAdQJ/3HxVhWgWrQwU38IWBqFsN+sbGvocE1CG++REr64j1Wnm7k/LJfIXJutyDL4a7Dj7xKs7Q74zS9uihwDoyKaruDWDHmsF+WVUw3Q/MmFRAp2kZk66uUQeOZZo6Xm2THENA6yhQKk23BTEhDnyCX6/Wprdq++s7dbcmDL19K/J56FEJVSJCsGo90kQufkVS4KX4ZUctFARom843xtkNU3KMjgIbUila7SS+7ClZi1bqZxxWcjdDWAms6TNDl1O0EyzGq1aN20vViH0GjAlp47QFHs1S7gtcYN5lCXogHBzTM0tqxgH054701MviNpw2FV7CF87fS9KDYZ7yWk6UBJhUAN56Buh2A+GOY9BCA6U7ycjk8KBx+65exEqbjw8bmNCO6N4IQjqx2rdnSUWAhjFDqHYGwLCfRk6s5ABvcmJD5YmHOfyE7NMEflMbjNq3jxQTymtLzToDX/bFEJ5NhAAtEXMK55btu54KVDuVDEXsSku1cCwNshNHi9IQiaspzgKZU/ievtpgDeiroboaDAV9qNBa8556sNdi4A1zP0PxMcw1ZCo9dp/FivI+PQu9BcaXI0RiUTzuMq/FMaC9+xj8CiXzdwcQ1ZCjc0XqoBV0n8S4fIj0yYBpu6p4DeH7CC1tCdOfm5PoneTPtZG0PCHD5Wl7eGnzKnRGvwtAHdLY/q8qLs9UIX7f5ynQ6KvKxhoLIMOpavwb6no4bBqdztGwQDAVyHcmbgfzqklZIhu4ImkmmnqZNspsSwPyTsyMVdLAnJTLDwvj0ZTvl8o0jwJ6MFwmTUTsmpzrK2DN7nAXjfsUzq6tBIe9zluAEGfavbpmtX+DBO5jawsn95Jx7624fDrTIeP92DGIi+OHL4vc18D/u628Ur2PVyC9Ces8l0aKhzugQKEBWsuNKf8MZgfuXtWYDeiVFbalM900f16Mv4eB1nH52I/maf7H53l6KPteeHDnzgvixWWthCk2/g5Cf2TTQqrlu3s963zl2FZcUjPhbXB4GekpPZqq+iY4NhFT4kTvm84G0QlQ6QV8ag6X+u4ubAeo+mlj/JPqraxMxFKojg3aHkAc1l99FG7UtFBTOpla3kWzGqJIw2CBSgY179Y3lDpKIZXAZ6KyTOzIjnoIRFMNAu3dWP6rnQuAgWCE91otGGw0gdgrIWUjR39LlGyKms1yzETF7LSAQr+bFqDg581gknL8QpAklp23q9qcWHHnV+x2JC+5yGnzOR/y5XB2hgnzgpMsn5w937LQFuLUbu+YIGeggKrQyjfuGlXbI1uSaU5EGKRxJ4alGFcmFhOJ+xwWZ5+DGaJQtlSZMQNSSppL2HSiU4RgtcO7XBgTRcp2W3m0N2YqDBPrxnfZQH6YKFQo1kDj0xaoEGEHVnILl4IJfY7QjVq3dbi7JE3tCsabvpKtBaFbrGSVdnwLRbJ5yqLMCp2IGGWD22Y+0+Q8yR+sx0FwczEAutiTHF/z4BTuCnHCU/sMsUyBdk4s0bCh56oxi/zVsc6p1lnuRKZd3zfmeBDhu35zm08D7gpZWuS6aw2yIh6g+WlHHoFZWpAeaS3mC4lZ1DEbzmDLQ8ItTBWdW9SOOcM6uuYu/aoInK1fK990kRctTSHP0gDk6FCu8y0iqLWTLZkHBnKOlpeGibzkqN9VPrGC+h/FMd9wUmKYFgubD6UJXKqCKEQSkcnCzqXtRfPq4JMBbsXqGYFUWEttNR+dyY11cta11uy4BA8gufQ8JWc8HdH1DfBEjfGJtQC/OYkFtXZvuoPNRpADribprHWc+bo1UWnyhZatUrfCxPjIRX9zqP49dootMD/KkT6yGPml5icv7oVXv769xaSD28FOMRYf6KNFfMR/CWQW2DXmWmx//HWTOabDH9k9qMK1ELagsSdGtawHMsf3eh2cR5KX3gDfcWYFJHFphAz/A8zzEZxZu46AXWu1vIs3t+PYdP9hq/PVv3HgX7cxcfRTExElrsC9tqKx+VGFZv/mwcwThU7J4fSvTl2U7aYg9xq7OR/d7vvhwa/zBRrXAJpOFace1gVp73Z/mjZ9/VdVuwsuBqB/zg2lDf+qFwQ+5bRBrQ3H+EbhwjEj8hdvHm5q/xp1t3EBiwAixg7Cvej/oyyoEzdTMhFC+b1EL9Ik00Qc96LucfFuvxTNy86STEjNwmbb/CWJRqlL5bLJk3uFpSlURMlEFD3zX/ddOWcfGbFV4s0nGZU8gLj2YlHZuhB2hmzVVrIrUDIwLn2j/ugR6Ubsk+W9IOEojgOLCVVI8CYWWWpcg0NQIhZ7/d393qEojPVLcWZ6XkUeN2hNrsJiX33YRXg6Zg81JE/TJqwsw8hTWzc1HqLWdYSbqM6/oPLolghcvsCOOIRHPcmqTMYHLFYAXkRZkSHGxoLlfehwXjp7Swp2i3xORUpMUfHIM9mhRHg33tFWXWB3EpFj+6TKIED3Ovzhxe/9oj+D0PdW4XIKDIAdSQwLt6VIsoGF/2yumTH3FHm7BNPr0nm2oLOhn56NK4X7DjazObmFTyatUdr0ZuZpMyWdOQsQNb/JDaEmP+nDLQNLMfUic1reSzj0x2lYgJJMWKZFV0He0oNr+FaAnOyB1g8HAYV5w5iFnTFSNheH7qwLSEvvXEET5Vsr1W5sqcrDbBueXmFl7aHqev3enYv3g6CK5x+BfsyzgGBoukw6HOAlllz68gq6a9B9FkJiqBSRu2o+jbsDLWXUBBCWHAjwFwIAAibnKVbKBXiDOgoVqjVYO2DP843LKbpDM8RE7p56CNlM7GEYtKPlg3sYuoy6m6HLn94+ya6necBzaAjcBnEytO8AwU7D1xPaixfiVBXJKa5lX0s6oP6B3NGrVNu3O6NxbZCl9LgqgRtgFPk0ircvn6lftuqw54lAHg/nOqdhYwA4CLi5xK/ye6gRv3RiSeJokw1iJq0wTd+7HOlqPGX5o89ldyJMCh2/Uj/w/3X7NPxXJKVz/RXj5QzokXdOM6NrxN6V2I9JBOSm2vwBH269b6ohBUbUapU/jlym5mCQAVQV+JZF7ZqOfrDeQrypcFR3rIjIt9c41HeoIhqt9Nfv/+3YXFMoFvdpN2ewTSgKaeFE9opk3Edgru59eER3j0PZz+nZaPnI006G92Bl/5z9KtoZyY8Bzy5rM9ZjvzMsFvOWvcPWnBlfxgdUjljq+05yuafMQq6XpZd41Ph7M1XhbXku9hMN42DmiBb47eZRbXLm+DUcx+XJ7+8wBppVFnfNjsq7mNTh9dxcFHC+O6hK540Zjg9bXWM99qrN8uhY5KpDNTU8JOsJVymbaeyXkzzdOfYH9q4nqjO3nGBp8uLLOFA1v8TgNyniqdTGMk5ILHVwZ70XRxZoIvuME4sxEK/hcFLPLN4+kQmUW0x+VoKs3NfUJSiEzsQKQu5MNn9w0ZHvU3C9+j31u/iqGpwOhCsfkr+/HqE3chOVV/HX4nEZvcFz3IcLEj8Ict5sqIqfR/yU7O3CX5XQFdngi9YScfOvNZigle7NjtlTznLQBQyTmEvj8ZjuTS0QedU/Jh7LW6FRsmySLFkuc0Nmra55okvM0xO1RA1QLiHRAds6F5WeGxU8BIIZ+JL4hoLkOevZ0d9WSLk2SunXao1DqhFClX1qCrledfCzQ7xYyHOaqE+WWiupvcsmcavm/qsvXtUONe7wa/n3FVhUTFImDhvUo51lOS6VecnGS8zPdfvY6qS2GOsY41mH7iMswdJ9/ZYYJqz4+ewEr/hWkl/zIvDZFE5T2B/jgpiDE5Bg522tonpprnrdLqmRl3g6utBNgMrXtzBmulRA8VSzNdUYSx8SwszQl5Bl4f5g08LrC+wFWGQ4OG4ro1tkfRnJ2hk1gAYJgHQ2EXgwc3Znlb+cxkFyZGgkgia0zSRGYzr76FQZIYTu8aMqPDAIlGZhgiq0AVhwZN3HziY8ruUXWiMc/NsI/qXxtX6AbUkTmypDwCUTsK/4DKzrdGe7DhJ+8vTP2cFJfLYmPUBGvc0K8zDt0jZA/uPNGHQMABtaPvpML8mVvrb23Hyowu8m/JOWhez9O7NmSLnXT3PWnC9WGMkTf9YSuikNaKBC594Yfc3QHa0zhvSfBvmfoJRt6hqZABzInhxk11Dfzft+WCcjugUHWaZMLu046vDjImbuap/oNm98fsqcWj5N0Wq4cA6CeBRBGf3Cl5iNMqruiDscRkCYz+8sVbU7PAddgwEaoYkN7op/oUUM21jtfoZVkcb2Q8CDuJHhbPqil/pnbSXF5KCBFHy57lkJVQA6cAF4EwDILwnT9wjrxoc7l/ksh7rvLuJBWVlK8beHGllTFtgVfLrLMlBuHkXyUG+IPc8FC4wM0EP8iD0XMU10MusYZBrQ2Oc8BWlqS/OZHxLoSS38S+GLSpJXzZsTAsauJWrtfIIBsVPe7G4JmMBcNlCk/Bj9FU5Y9Kt4IYsoutw0yEU0rnTZ5WybBJRbaiiT8F3mDmDDs/pxaqbUdCaXRUoQoaBHtlDE870JZ1VFKGn04+oHzn6PBJ6l8SEAAxThaBJu6bDnzND5JMRjpt3shohPYJFZdHOIpdnjvhTMG0cxuKbvI5eVP6x/e1Ltw3uptCfwtqJGHK8rnu4ejr/HTvRx6b2lGTlIs3/r46IFjJ5aZT4kpN1Atd0wrLuKQBE/LOYHoHgA+MInn67d+7696cCffB5H7BVgr8AmlI5fo07DUHJPTYnqjyk8tSW/DWsnxyWgL94FylGdSdpU6pFJfNuoNjrPvWlRztTmCKxmbWmVfsBX/RQ9eDwcJK4PgRV3yxkhOw7WV4ENiF4Bq7q51soufc9uPQecoaFaKCICPkMBlcaVlKAU8svuNsoTrjqE8jPS89FYQ2GFGRoRxF2nuzRprr3PVfWpk8gnyMiRHOk08HqTthU3Ky5CKKNP4wmw0/uQu8G+YYf0I15afEbYbYPIq94NYMLbM+wNi2SOJu5PtmmjXtnTXMpT+cRj7a/2IUCIxqXkHegU3tpIORxLBsAQMLZCu+cucsBypxOSdn68G65hLfuYKnB+pugTxiVwJApMW8241+d/JHJ9BN8TOjkxt3wPZn+4sPD3lGXj6EVUP+Zf2+V0CZDg+gNbSDL2/5xDDyTr3U+EWbgWb68GntVSLc55jqgI2MnU1xAjkw5OCgC0gn3Ja4+IHvPRPJcvubh1XZi6ILYASUG9ZeicTRDRsW9sx9viGgR5Ac31Qd0Lf18oYRIHSKvPQ+aYpB2GtW5WGn5c7J8QjSCwhTbKYR0JfbWFmGB7gcQfSmxd9H43oYc0A+m582/9n/8FvNr31J9CukUmYy3B1dWIiczxQchMqt2TPyITpq4eq4EoIy6PpYdd/pJ26NYmM5xVy7EL/vFYFEaedqlyH5Pujf6w7hYtaeaieq1ev+FHYJDzi2E1PKK2VEbY2fAmhGhRFLgj3SFRM3aSQ5Fw8dVP5nK9Mh6ENVGRa/UmT6ZeoKi7pJqzmd0i9rbRz2Y96om63MhuRg8EMXo2dw4/csr83701wRICyf+qL8A1fZtycJO1DbHCJVqZRYx9XPfTKh9cgpFyYyl/yA69OcNp8oleHaYKnUJJ4NQ+UJGCrFk1MDnUsiiHVWuQwVv9kJY1zb/JjcirQCTagUSJZVknh+MIAFk/dYYT7eAd/dg/cm034wfgyAEMMQoo14a5IV2DP3Z32Cu6T8Wq8zLUnPkzwTphpWiwS/WyuySY1Z42jyCKAOAxs7uBcCMANgSrqv75QVApQfSP1UV002nBOlaKEtXqwf3IhbjagnBhiGvK8myz06TD9ENpSr7GqXssLIOeBqIYokukiPbOHqrz2zy3OzrdVwPCd2tlW7/xJqkF7v6HosARuzdPjSxI0TBippUYtuRy4XNyLzNrGHqb8+9kYQS4yvKU5lbEvKtjm17U8zV+iwBeDz+j80l+F41vl7XoT6kXXgrs2LcvADnVbqQuwBJZkSwHuBI6y3+yAQ6e9Kja+9UeS1z+AzjgjtTvMFhgHOtzDlxXKsDBB8LmebdL46Zx95n3WN9EnuBPhlXWbXkIaqpRFTygweWk50CgZitN1zOyIt14+mB4XPwb6ILM4Flie2Mg1stf7+heid92+PXDD7k5xdkYj8eYcODXcRaY3OfLG6I1DrTZYUFR9zE4VH+6jYh9W/fMzzr4Z9RYnkcjgS7J4SF8vk6KPRHov/h0qkot9fQibyG4gWDSEaE+CSFj8lmCYLuWFuWslCxZSSaxPN+CIO2xtIzURblE6M2s6J/+BSI4OMRgFCm9R1TtGkTht4C435hPoU0uVdQCNCeAX4GNg8qWIwcrocEh5eFcX0aD8oL/gFQNAszfQNbA6zbqU/TXA3H4Wvkd8ZwFi8tSZfVTmhA82oucz1PvhAQ1OCfk1IWVk0BAgbaCoyIGK2kwev1vEQR8JqLj5gmbba+5AcVsDu4iI9rB3mSAgftNsicAhaX1pGWS1HJEgsZTO0skM5zQNTWDolvju4RUHqNuqamHWD5ILWjtp7WBcwZK+W20fk5IjEvWywsmsu64jQsViEH1bVqwbR3ms1i7XGXNwnSA9L3rXzu/b+VitsWbIXZ6DYvOQy7J1oBrHDnNhe2pvNlEkELZHhT+4w4aU8XsKNsJ/okXLS9Fp/ZrhdMwgMjj4ubAqDms4BcRZBPRZDaLAktWbfAGJ5qD9qBx2zBONfQn7wEnnhuk0Bhzm1hAPWySV2aMVcZb5/8BYdkqbJq2/QP15fMEcMH5iraek+atJTtpUck+J9niVZi6aWn+9hDU7+c4EfstePnlMQI4jqJwti+YQtrkEIaPSoX5dv5pAYkQFXMh+lZ3RZxK5+sszpS40J4WN9BSaAftyPgH9oyB2RyGG/8CLTJHrLQwtemZen4y0NIZ+gSgzpCAjMDfvKFGLKF6Av8uhYEZFWxz1btmQxk0tbegamGiqvlEElNAosfBTQVrvsFysP6D6RbhZdpst2ORVPFlQy1YY7ZjFbm/NxBC9azr8p3T9tnqglSdTxYUHHTBhs/BaJwc3KBJsqKXMJ/9ef1Bh1mY78OGm1S6EDG28ccAPTeKNWl0dwenfeRuWEcitpauvMc2297rqYpcS0reCdpXOwoHWo1gIdgHDhS86TlLRZ29K40fjM6vIYUCvzwerICak/EVRqX5Q7jydeplbahl8XxUMaTD7pmvdBsXPmcJcnV8yE7dK9yYWVnZiq6n5j05u3dc1VCt3O7itohMzqvyqkZqspVZXAp2vvOOLavri61fWbdm9gTaSF0FxUoFMCBZmHctmlBAUE7p9IbI3oiX9uun7sqT/JPOvJjscfUhwNLK4Mm2V6CBrJjnphxNl9brHIP12owBV2SptDAi6wMGjxiCMf6if43nz0Et3nE5/0HXTTnaCc2rLSdkdgyBcpiUwUOI79DbfuSKB6WsqHoLZjdZwbvVBk3tndJm4bFadVD8pqO2Mp4IsbMulnJwtNBH0Xk3I/TiJL73AyJR/NYCBp4Jtj/ACe4LcU6lEZLoH+QvSqU0JswLu14/Gx9C6b0WlJLZJcm5mz5w63k56l8cNSsgT75qk5aawgIW6npRTCTzcgNVb4RE/koJSgwiHT0gaB2ad+E4whI1Aw59sBBug2ZxLk8+r4M7zrX8tFG5+E/1pNbymkRn0Nj3LIiWkrXsxcgVohQgWGlc+v4TT5AWbgjrs3TocQwA+dfePfDdqSwKe8NjUqHE9ksZMKeMNNc3ME4AorU1yDiuUim7KP/aFNA0VKLMYxG6DU/ybwdA8QKxjH14bQ4F4o+HA4XT2rdHgm52TnyNVRN7EAHyc0HPl8fbJGhzZ406Jp2f44oIASM1iV2Fyr0t6Ii4adJxGc3y0DIo4T3PQGHm5uoJlydmqicIIlDREwMyh3XbdzMhO7WfO8nkoCgwApZNrgGZBSLCgnCbHzd9UMhjeZuhAvJXkPxBK2U+LanXFxENdh7r6lPPbqispLFX/6oF5+Wld4r5S3L2+uQlahQivHxkCMiolPrb8B9Oa5vWpx1bdLXJnIRUE05ID8hFb5zASqzHCv30rNYySBkwS72pSXxEfvv0SHtazvcup7WF+P5Hah8hOmQEmfOOAfa7fi/zwfYXQTZXW3PLdmrGKhYK3i7VmJ05ydhewWyt3YEK3ipTzTgBx7hPQZZRpyTVRPZOk5CzdTEp+OV3aCWSFJCE2nAkJ+G6j6u80fSUSXqJNiUsnQ8vBBPeZlGhxrOLw13yrRncJwjsBL29WCL8v8nprzh89FgFT9H3dqrwyPlrGp2tmtT9JXh72cmYKXtiZHqI2seyJ+riK7N+CE1HlWD/Ia43e50o5FO6BRCExeLX5Psh5RxIqzm65OWg98Ay/fiLvEuDAuNnjM8a8G8Lnu62CylPg1xk3WXPSAZL/bA3zQSIwgZfN3ba7uuecbUc8tcUTmXv5Nzfx1ZPsRYky/voQV14PeJpyrEay7lX0o/O6zvPzUb7kSoZbs7iIyF2nTtbVU+6qTKrXWcl8euF+0oYhcM3IFttD+DBn/sRxr+Qof6vG/pqVK949Pacm82SttforOcfkUy3/u/t84wRqi4srhM11xeKhHM6jW217FHgCWtF6LiORUba08d3rMHo+0yH+yAzieLNRvz2y3HbT83veEDUUnvdbv1mPSgo5+6OPnHqPUWiCLCMTP4GQ5gtwtWN3GkKdsRJyTJrhuxS+oDjWrEiE7pGdIwhIUooAZjHHx0DQwZLDi9Y44CU8SXPhj3cFKGgtMjSitZtuY/0BG1y7ndNcazawaZvX91aKx6Y4x2mwOD/KCwY7lNicco/ytt+TFvNeduxj1TNMj1izZsmVbhmkoPbfnHib3iDKxyL4JulAuObe3y2ncuU1gX5Unao/NDFayuQHjJVSRRZi+6VNFixpHU3/KI5yVgaYQ1UDuLO/n0RXbPmiOl55kCvfu2dUUVddv/tJOXTO/LP9pnBsdiY9TRPvQyxsKXOTTVY18o6KjMSeBpSRVnuTjqX/w41j1VfBEvjVjwN6LSpRuYL3A4Jk41njSO2SyUgiogf5TivLUBSZ3IKHp3U1/H2jYvmYYom4A9Vmy4sKFzA505imujSCahDWeHYHscbgEh9bN0Rn8hQoJ70H9DOJGkyBIMuVQeAGLwXEIldeOybFkiZfPoJZ2EHLAgV6WSMzl6zGUok+yANnYbVe55neh4cHbr8pv9Gf4fpEPpQGmNcfqxlgoqad12Hs/J0Mo13xK1Sg87z053A7D722m2wOsvkzTBYoiDqU+gZ9hASif0dfNufxVF2GGaaICSQSo1S8hEYEj0RZ0CS+mBGz2Md6DFTp3Q4Z8uybmQn8FfTgzvq9J36PyDWPyJTg0/gXahfa+MPnSnjpJA3v6TmCoJ/0NBAMB7WEyx8aIVjn9VzhB/3Uypaa4LGhGxJlzVFe3ZzpMJ5a29SjEH5PO0DiMkk2STCA+JdjPAgi73cD50Dxw1k5r7D0zFh1DMgiaVA8m8YPr5miun7K+sv2i0SmWa+12C41jD3GroKuVypcJI1/zTOHxaXVnVJVAB6AjsDZxQqDhvuP3I9FTKT/c0LaZqGg4trkMoREakx2qbzJ6cqVJerSqxoUFNHwygqtspGmEwEA8KP10+Xb9iCxJ/JejrpS7ZfDtkJLfLBfAuvRCAa8XrPTi3veMdLx8IBOCsgZ0Nh0NYehZbQRoGryyz/37e01GRvmoflVK9Hbi+j9t1xUychDFY6LMzA0aA6W0cOiwCSlIZD+dxDPO1v0LMVbz7bvTtj2eD0GhpLdoOTiAwy1Eqs187o76JJwd2vrCty86/ZAjG3nr+RDX7etqyW+DfouFAH2578iQeBiEKOXtNXQprCrsFviJwg+J7W0c2TZi6XEAfjR7tG7ocRz2IWZhyf+9R1cfgeJIKBKV5ej8UhoSRDvxgLV4UoFTggne3En4g06fVcuWVnSk9C9/Lr1+aCmcFT2wRPGz2rfZKE2ZWhdbPXkjbIp0hwgheOaRQus/S1yfDO0t3UfyALMv54pzV0kejby43kBjs89+AgUoRFQJf51DOoOQ9LGXTV6fKLV73bIjBHyAym2Z5xPrF9cGa7ER0ayGXLS72CA3nq5Ln6mFTq8QYJail23ovfbw7T5BEZFHCNkDscgq/77tbGIFxgZ/60a75MNv2KvZ5Dlc5LwzXediL++acG5mr3vybDmUsglFRMqubJcrIig084ZV+9X0kVkIO3V3TeerAfFa9T4SRutQmAo9gr186wB2BpBcuHPqs9/TIJ0tby+ZT2jNoVxKXcuZbmjnBOdy6tT9BL0YDPkgQfPcd/Ui50ro3pLmJxshbKfPylCrUt0IkUthflcgD+Vv+o9MuL3+5/S0jSJit2jzEg1x35BGlkFYPbaYrglpCQbDnlbJBpZtVjPDFCFi7vP3lcATWYsoCXL2o0NQYA6ePDTmgYQOS9aMwqaKX8jzAHtgP9H+hazvNrZyP8a2yb8RbIO99bJutC4wmQ6H1FWIUOfcx3uxVjN7I9H6PnCZUBL2TbPhzhaDrEMPRRX//iEKzTTIpg/qL6LlVJmOoHA6NN5lwH/z7qY2J97MIKnkIwwHLTW/SH8B9eTQhhwiSMl88tYAqmHmynQUJYa7T2bKdzrPO7/4Hp3PEjDOXtW2d4CT4vVjImNksUn2QHhaXVC7+eNT0IkQm7VICX3mTDpGDrcMDIHpaShQEHETqYZwDn5qMQLngf1Y+fVcmOBj7Sh9D5uicD8oeo6BXbO41Lbhfmo4poFW0WiqrbQGLwBzVw+C4IMxxNx8KPyjK86aH/InLicU8n8bsC2BJ0GQVZ5mUmBxbhRH0xGty2w720jJ4h4s3MA5AS68caNsFWjLIKqns/WTqY1o9c0zQLMvs5zaAV8NCvQFiJI7FQXv/6KGpAplmi1GXzFIJ82gJGAWQOfvjeS8DZoSr8xUiCbrD6C1gD7TwJOzY6p5LEoPr5k3FKl7v4hkQgO8Hcs4TNQoIjGIaM4Au4UDuGdrco1Dd0U/EcIOEyvcjGT/K0v1QwstOxxabVRSXR64FWUvKHgH54E5sKkm3T4pP4CGgsSxUd92jCQgBpoVJrEybYcWZ4JaN2StZWQws+OpvopKo1bkbMcXPSXN+rsOR8xEBmsDNmAanjGHgpisbECKi1s1J77YSMeK9gLoQEtBPTQKLvIgdLh/O/pbOq4o4WJu1MBrQuO3l+x/xDQLTjwVKiM20yqNfwyWk37SRDO1FlisvMXfvHV9/XI6IjXRKnxOuBgkIZrh6cIwIpX6QGGrgdn0aK7Blnbnep3UEbY4qiPWLnwcU73Q8cVLNhF8jtNIJ3D1ztpHVlK3sp7+AUERSmvOfjF4vfD2mI/uaOcFfOlXLvFeKT83ly1lVDJvEjePEmhRao2DIoWp+X5OYJkqWy6F5BbBU1j3aOdAestGbJoqyjczKHWwSp9rRCwrjK3rmwD5CFVDOF5NuMmDe5YDT5xpjEII/1c941YXqxaZl+vTj5kHsgk+5mQm4OCzL6NY7B8hF7/219lG4Q7/cuvvhkosYL83Femmnggscj5yBF6rCSHVYDuok2/AQ4dQ7285A16mVcX5F1rtpWkFgbWG3ZHaM8uKOxKvYPtHqtAUiJuZyEa931aCy0WGUo6bRio/pA5cNbuyrwemEv1Q9hsDVZ9yzZH+4vSKQ19lexRRe+ZkAPwzwCQkiybm1BRJzkrvLWjdR71ZIOvhwsBekgKOMY4K/YG5WZL30TnlSUxYJt9L90IikUojEpjQPUbuCqZXLXz+pWfJc92ShxrytTWyesqprlKOzrwnQqmLdWhsMspGphUrWNp52GkNrGiCiuUrn7a2yQ9WFwgOmm+kESfAzCM0/PrSVF7Rl93FFhG2T4HgB8kCkw14YD9ndCR9578xJrFoghSChteuR9Ry8mFGE7Y+47uDAC1XmUlh26fKIS1KorpN+3hiZTcdEVYM8N8Cl/8I9XhESWnrSlDH5wy2uJctI9SMk0bm0yfP+N09xhPgAHa4kiTWYWGCXHBVVw/Ej5MOxaevIPfpGwiHtSlL4722RtmiWKmCJ8Gbf6OOigc61n7FbabZVpYW/vrreQfy554fdAY0BUaM6TMrCqy7ioz2rbc0VdmVOjTG4s8L4GHu/jJLIYikgGkg9yJNfFR6VwnH8iC1oQBjKT5OFcsqP7sLTowoP6FOqPkgXMNtNLtQC3NqntE/8CdAaYrUKt9PHvulovJ3ZJuWFWHLy4+UaPfs/+8xRe5Axr0KCNp0JCcZZnblwwTOb0YhS11f5ialwz/VSs4V/wrjJHAaJEY08yJxN4ICwBGob8i0DLf8kzdn2/+hMmEd7rZYZXTpHGfgB9GpOIQquY7LqFFsi1CWUFroGwTkhosbjXl0NtYl1xd/WDPZlERan2hR8mYcGH3Tig5GSAVLqLH3nOZnAUWNYkDUS8QrH+bhZSV+FKUz9Fgv1DeY3qxTaCYakS5LWyzKa79F5S02kcflarZDHqRaQKzDYk+Xs5GFGKjE0CztKCrt3gc/3U9u7V9tPuQmgA/J7D5SUoHhAvObWSNMXjuPYu1KOT0M7nhDMPRalycDMFGtM3nTtLY3IcT9UVgMVbXs9kNjuH4F2Yxb7UMESr/mbFGDu0y1DVsEK/6qhPR0sDAiopsy7ADwoBq0ccmxgGijwnkzahfbXuUeGtthpCbjXQTGZvnrgxPUmqXRIwfYjN0llvZF3OB/nAc7Ak2b0Vgx4Z6mBp6xBqPuefuiuU+RBznLyrDwBDcVgBbmz2H++WRuEZn5VC7mvAiIU8xKUcjnyxsSwad2alP2oJV0LI+VDbNeDpgsEL6ll2iSf6T2w/FM51h1V37XnlmQmk7Px8XaIyCeaDXS8/OCb0H0C2YZ9iCyZJc9bPTPyvaG4s6MTXC0ksjoBsa1oYSRUAhNK7S+Pn2MZZmxHXA57u+Nqr5HGTcAGAmN7XgunXn4BHr3vTi9UWIlnMtQFgHbcof5KMaBn7b8aO6bQsf09hHa80G9qIweFyzdADoGlpg1pCWhupm4iQY1LRvbySn7+vME/dMLDW5I3Pa31YRNGCnjYzt3fUlpW24rYKksSGUCOChMLT51xrSPUOl5V/5sImo5ycBVu+JxtK8twt+sWWTjEQcMtr2VyOkISbPLZiHj2XraYBO5UuJ20a8t80KDmWapqiKRWVJ3NjYwgbw7aRO+/E1hkhRHFHakjekeKhw0/3T/hPAYnUlPoIZb53Rbyxpl5pdxTjWHZRzEG6Wf9NJjtatu+XPT4GOIocjreIjCc4fQ2QRa6zSmCu6MhZEMvcbEnoxaPZCo+++9CTHhcfuWvA1gp10U+pEFocaibpmCCzdsfo7dZL0PB3/B3sL+V5EUUY6NfOtT5D2g+72Wdchj0CW/t3MlcwNID1gq651RCsfUv3wzPREOvX6fV0yt+k1wjMaJTXkU2UbAbGeWNMoMys8PeC2O5OJ/BgiS0zDsceZaH4WmmLVjBqP6JPYa5ZbDhDWQKdDv8T3GvQQQUFAuFRmfzYC15yUJMPhTZjjnKyO1Pguy6tWzRQ3OW4IfbsjEp39XGr++9h4XpZI3u7YTj5KWC4o1FsTKenI8+2N+BWDjxk07IzO3v7tyfFPqtEZYjs756ji1AxV5fAvPPuSpQ0aceenDdIBqiXDGnUU7iJJniYw3eIezOQxhUEwOkD97p8LoYwe1layK/881xsCT7/j2XemxInXXIMnddsxEs4BtpgViD9S93wJidaLhHXGRKamHXm72xTf+bkJm/v29kTeGo7nUoD56zK/144jPR8gJpVqt/A3+2vRM2/oPTaUduwHnzI3DaJ90S2wtnGWTQvnGMu2iTqPAYwOBmCL5LPrsIjsdNMuGZwgp6nZbNPTjZm8Gn7YRwsmNqOF5AcH3/LybixmaME4+/wrb81ep23P/5LApvJYySna9LLaK6dViA6OQlBr4SU4Da7cZFpUd7MUHwFoPI+kqbVzUBWZlhCxc5phHCQSJE+6s+2uqTGDrDWMUcDUgS5VWFLOhnEmrywIN6ub6NoE54BRnhk5Bpp7PnNDAt1WezLHPT3+Jer5vHiYmTjvrK1rwC9h5o1ivT13ALEJabfmb7eYaDgBs8g03FrZZUbVtHFnDg7iLc0xpWGcxS7VYNZoD+M+ac52M3/iS12zQ9sD6+tFnnI44W8ib7Sguru6SSn7N7JBdSv4jmWazRpheCVqTFKZte1KcclenA3FLoRhvTWhZCc3ricH3kcabs8GtgXDKjUw1pVUE8mZBA1k1dhnS8FmX4SbH4Dgu5wYniQ4TRvgS3EdBkZc3ecLaqCwkWdFwzIzh3TUHwyfYgcGfyXmh6fH3EDZHAvGVb77DOOt4+q3GO73TJPwr8cIpu4+Rg+xr5faVd/qZkCgWl8zM0iEHj9xtHcB/bql4NSBsmdbjEIa8/xdiEwAFF+lZwO/uK/w6T4dWKSc4Bk1+ekGTw3KhNsNQgyVjhVL4FMh1Jjwa3hk83kmEOiHEANxP7l5XPDVXAW1dI7UWz1k4Uv9ZXDV8oc22GY7lRVbS2eo45dtKEHH1lpOQ0c7YXtmEcW6nhxlNsDks1fB8AsNg9GNzm+wpqwBZglsB6SX2E4gnsnqnDJsT40MVpDrr/drX2Xepdui3wsN7JmekHXP9fmlpWI7vR6Rd1LqRaZJaSXyBKT3Ieja7BPK+SxDYU8Y4LmOJspZrP2hzQQdz7diSCw4L2qJH1muLERwsaCmhYcAQvZZ9LDtEv5h3hAyNOgz1VU3dHyZMKkd2vURh6nG33GJOdMkKjiyNHGrvpbsm64i0lsV5/SYvHpf5TdMa7YpdQQIrz1wd8CcyZvUfM1ScEOh+Rx259hUL555QeeD2Kt/Kd+xI15p3jou0xbIFIEpQiT2z9rHQ0BwNHCrRrpb2Bf9UboMhPaj8nl6fNyGI3izq5rzXDETSx/pnl8hARVQ5bheRKykMpazEhiFWzB7M4c3loybohUXaqsV8vWdSUGcJa3BUXDxGSl8JB/R1BVrgiYCViu4VLKVPJ6i9jDlqtedqrpz2yzduVPylJtS6J4wp8soJPYB65v4Ff1eSaLe1OMevqsEM1Jb3/XADMrLyuGKLNR+H3OP9/mVvoVdi6coPbQUz3Av062jZaEEP5OY1e27ZxufFfXLeuBKTZpkHgZu+zpyHFmSNgzOCPCAQA814gem+6H2NxcqiXC6/AUE3inxv3I72kyVu2kE3dAtFac3Sgls7t0T0LXZU7PQYSV+losO1V0t5DLbOx2WET0NaKvASpyZISN8C+Qe1iQayA7twxfcG1Jm42s3hC1fUlJ2w2bpDIHpoVzbkBGVKzK3QM8AKBffYJAdv24V5CvoqwVpRq3tmdTz0aMWeUaoM0oTTZ8T+PiQI1UQNMguRrtwLrPFVIbK9EVqSvCfAjRufkKE0UvOfl+1eNi3L0eQ8axHtx9IDY3h72VFvsI2nlixqOAtjLD/gISc0nO7ojGBs8AZIwcRg/FwRYc5Se3gcm8vgAd1DB76IO/QJD9XUPHPNWk+Poz8bsrp96MzrzUbHe4TPoZbvlNw0r2Ap1uD9AOXTEYaQDAg/OWBySDV2Io0ea2wfRBwNU18uKOPDHyGpfhtOVTw4bnR0WOJgNKMUbAGCquAt1dNUUgyOUl2Mu/mPu+ogR6Zdq9WJDEL65FpO5urNY8VX1mQ6HQQWADVefHg6V4iZ9Zykf1A2HnWUUluBIp1c6Z4cA5reGOeEKwPHxbHRMZUYT5EjSi9A24VwBohd43alMBW0nPVnN8+qIxVU5z0Khpx6CWH3SrBCVFSmFuH+BzXjjWYegJwLwmEzlHF8xQOeQbbw7g7QhO4WK5b6MMbmAMzLute7SWC9UH7vtHhyZyNzm8KQyWMVaKcDbdVBIR4YxqlHVCKcFzumBpqLHadMRUXJytSHQgO/4D5BFbFIl/7kEK1ZQYgR4pzro1vifq9/wjETNESMMpOLF+lEmLbd9GBj70nYRqxNALqvCQmYIcfLsIywWsEA6uzDrLtdC4l2O8ua/gMz8vifeD65FLHqhSEBBDicSfB8ZBWIyeu4f+a00AmkKz5LOOhsJDBntRAnbuai9/T9r4cEPNWA3f0tBPODRqyNLQZ79YR4ApP2Hje5bWeHX6J944t5O2bRo4u3pjshbL01cXZ6vdtveJ4KAVNVMGavylUsiO3TJdT9O7JjyuA7vzJM8nUUdB+tLEzYuJ40SDZdkIQV0FDsHCe204QUX4jML8EPp5manJ2XsA+Qa8/k0VMyqGY1bOWOGkWrMjeakw7bt1oSYLFg1BjBuvoIf0mPF9+3Ar7PFeV5CBQEm8OruIePWdR78MPzcfNHfqVBNHKWnqGzVfqhoEK1HiL6qYscnG/ecj1R1479a07aSB+4gTkP8n5SVXLBRjxz0pqlzUONi6kOS5p0T6rbsL6Ize1a94cCcUhca/52Ik/OG/J0VzzzyqdtX24TsH8WqgpnupSc/6+j1IX1D+EdtYYZUA8b9GlXwBwi79IFTmMTBLumOdfLt4WsALtiDpZ9NMrM7gWvbUoCAIKlybdhwPkXI8fvm1CUlxddGoKy2qwT14aoYixPV9kWQTu7fV40tRFWdjVlhExxgXyDT0uH2obXwN2msZEO/DRn5mMGfbfNJpMNnaKMZzdiMtoBrfpeebIvAcHv+hfWoXNOMPoTReK8FEM2CaEAYlRER9f6smTDxAYehl7/Wlm+g+3pghUjxwyeHVIP7+pZtotbRAmskzqZJLpy/0qLn5jRAHxq8+yStjIVbJnqQQXlW4a6albO91r34ndEc7puXdbVGGEK/bVVtLy3tOx5F80/P97o54EpuklhQulmhhpcRIDT0ieoj0FwC4bHS3W2y30+01Qo1zcsvTTEbtknIr7aBNXYa2G87vBoQ+pzxO8UD1cJL6mI5/hbhs7SI4mRUoWmwSB/L//VvQxsl7B6HGNM3DulghF6xOFePI4zKRsVHdeof9Wz09BbFUCgYmvdVAB17YWtjMhdSg5FFFfuiMJai4MgCPtvzxgyjrxDAxrNvAmcRALQstwvwOpvwjRuCRiITowbT8Ps6VzOf3Eob/zlGJS7AMeGE/dDr4gu+//6SsXtteZxlpKy0jtfOHzX7Q3jJMFIVNGdn1echHBanQ/k6aOp6HOBS+tQMPw6PT/hbRb+qma7HlVw3puk0NYeGtHyOH/i7lqlu2R0zblZCqiX+NgS2oI5atolooHGnQGhuN0FE/z6iHo9VkkF0Es66l/NEldWTxqnT60C/QE6KKA1AXax6uLdMzM8bwYpbE8+D+4G5ZgqFi6uds0Pd9UyhHXdWWXGd+dGQ7e5b0PpOmHTLllXg4Y6o43Lb0xIyENqQRAeovO5vBeCQCN0b2czjW3NZRhTf8CWeA0xmpIPecNuAYxFQKyp3W6T77pbKPsVpfJIaYla0o5pMctZegUn0fC52KLD8Qwfodv6DReA32+2fJObsrfEDzgscmlF2nJMxnwvti5mrmi/I0WBoMABqg3tV6nQnXeTcEgXvPkOYz3ErU/kcpoKdxCjXKdWk38hHoaDP+Twz1Ktjj9/vsyN7Sq7MViAKCQhOgij6vbKqZATHBQ6JLVxdn5G89onR63+t8bpQzJaIxxh47Mro4fxHFWJU9IZyXPvNMsnCl1gCZSulqDyMx3TeTGfbL1aZcw9FlNEdWbPznSwf99rtEZnelSYCqOnRUz1ZSfi0P0R0c0oh9+k422Hfsv+v62VNpF4hi+vQcdIQK7tJ3t5dXJGyTA0D08ljq7gagEbsj+O1dQ3lAqINqqd6PcrrGDIiawoLv4OZHdLgMljqyd2Bj0jswEbINPX+yRfoh2DaeUfTmvBdi95XUwLDqfWGzzt6VxL7ANsOPYWX2gxYCsTrN9y1GnpJ8MrJItTjh1TDrcf91L7EixVFLoJBRzNNrzBC+KNhh0ukdTZ/v7JXvxCzlRx3Xf4J+Gi4by+x5R6NcosjxSy3Ub+obc9A8rnVCE4H6J5vYrS2KwtGRvP6PsPcphcnbkMrBsIB8HwJlbP6elbhWyLlaczE3UbLBuiBJlwGBYf/aaasj071XxwN6K3J8u4sAH3j9m0s9pwrxA9GkOhsaim52xjr7yQ3yRlXP+gB+jlP4NG5PbbK24EsdgytE7evBaC+2ItE7rpQS/rG51qzJnVs0YWjxEBCvd+MB1JuQjzADHvyBGt1S1G49JdUxCNfzaFDuKNBmvhm27QTSeKnop6T1zLUuaVF7t1aEZ8K5fX3/DOuTm95GRauG3hEMQR4f7LIL4EZ5CAJ62DOcuEtNtQcKUNDY9RS8vLgEWfvmIfE0JePZNhumZSPabyXQThAUDK4fvz/qhcWr6zACj3sQD3nV1Ds26TuYy7oV03MkjemwzB//fE6uqr0HS3c/WbB9dXEAlM0unw5xrO4uZ0YUCigzsSCX+YaKOr0OwdAkDMQIZALZu2hrHhg3WOdACEX95CfzzsiM3iDjLzS7xV2mJxGIOaSDs0xKptZUXCNza9AerQnGFDfhlStmpbVpLf9IFWzVBpm9snPiSR8kGQmFStydQvRXfSjD+zzbA==">
            <a:extLst>
              <a:ext uri="{FF2B5EF4-FFF2-40B4-BE49-F238E27FC236}">
                <a16:creationId xmlns:a16="http://schemas.microsoft.com/office/drawing/2014/main" id="{370C1C0E-5336-43F5-B7A6-5DF909BCDB41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5156910" y="2098760"/>
            <a:ext cx="1869122" cy="416631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VqM3q6Dpb4zza/psEt6IT0IwhVcutwNxjZz1SF3GyNQgLZKsAnG454XwKZxbRZwB5Zv89mzaiQJ1/gizFp9Tcw9u1FgWuIEhCu+w2BzQ2jJYYsYr8+ffI0V/VbwnfPxQkYmjW+dvj5DNcZOtJ+RllUgP/oVekJAb6MiEYy+g+k1G/kHsmSdGfqMQk6kXrWA5kehBryVSSL6UdZRoGq7p2Ji8QbXAEL+rkcxfT4Xh/5j1f0O4zEoVK4wJTwxBSKHETxOizDwEp6I7LUxZky/yBlFrXBvQ5RpMIK31uUVyi8xqNUbMuXA05XN7oEgs509B6J7Pst/wKDPuGKu+zhkFsmlDf350T6mTM3uPMyciFwO4vavQHCON3WybYIHZ+v1YQu6mCwdtNWhhSFkHOyKbO2vQcEvRWWPZbkUhHWzJ2U/KYl9Njlbnyb6C6vP6SRJWxEQypWHKNZboeu2/8M+coFMelxbPYXm1m8C+qO0hHPYAB289Pcpjm0ej9McS0HprQrOSNFhUgL41ch5RsuKWiocLzeC+WXHt0ZLGFecDeCMYWsimn3AH6GdLhxNQRLX9ERd517+K+nvtDCaxGxfOARIZ0jgBQqh4tYGbBE4xOPUk5CQJ9nakwPUMX3/Vu/+i2MskF3FGbucWzk3VnB/XMjnX3NHCMziGgCQA9Z48aGItDc4EChFMcXGGph+isIqzSGCgNtCQ3D+M/54qL4B5PbvkvsN3WcJ74RRsB8PIzcQbG9OoBZ45XKjJ4keJz8M5pUGxMJnaTy5S17ydpWckjmis9Zy510SlJHDK/ABhx4MHKAzWj5EKMvAE++ZZeXpxEdx+INMnx9fhRuVZiCpKFi0Ab211WBR5nv/eWWxrYBuJbMHTVRMABqFk/Ipr55Kuhsyb5ni0o5Tt7hZgC0ySvqypKh/aqe0KX/Yvv0JfMYD7O62mwSwwK7EPfKDt2jb+ZSaM5UwV1dBWM6cNZQilF3eLRjbcBpto9oUoZ5AjNWM0tKYyr7N1zIi3OiYVnYGERtsU3jLj13q0kLmiSk2W/3EBDQ/hfg9OVNeB1LkXbA1l6VG+JqYthgQFFndyc3/ujXwvnb8LbSv2UjYRHvpul1FbWILVcCcJAjR156knRxzwuN4nlFTheGCGgexuCMcc5yIKFmDh8fTlvLvQwr5EqZYDUho/ktDkuvV4v/13QQqaR5eFzhC8W07dLeKpbz7kdMNV+6DJ4MvdjY/TYXFfnzD9u8Yx22IYvpZC6aRWoBQW2VQLXA6oQ4n9mGKfQZX3Uo5MLAF1FBXQRqUxyIq08qNINqGMDKxPXr2DNBLD5iVPymDf1TY0a91721ixAZr6uPl4Pa54eWFe7TVh2UF9yLagUUHqVoG3UDn6giAOkI6P0Rqzt1BTbJzJ4we5Yv0bxptMV78nCbNceJzhh2wYesZ/RhhGcRwBt3xjX4f7lU23vRFLDDtV97wOLdznYEs28OoKMi5zcSRkzHU1w3p/IRQANoq2kYGSmrAuTvUahB9Xir4TMBf+tHctbGeI1p66uMZPIyOK+1xn7E5k7zJxlkdEHivIzQ3BvlFmCfP0y3WsXx4bd40l608YjQ2SdAz+rVME23K/4j3QPSH0C6spq/lUWfZBTdrRvxG5JytT/04ShOrUJYFgCFQOWqWqaYzKWt9f9JBg0ah5wpP3T0B4vaaFvA16MHj0dG1XDPlzUX+QdOmPBxIQfmBt6ACP0Nz/qFIusqaMGQFD8IrTG9oWGZBT9eiGRrZXDt5HPh9eruQ3heT1Qykcq9ymfsRKqVRBPIC3PvTJgTAwFFJ/kKD/Sl8ZP8L6tylgfT/fNglG7lk65NLcy4LKnbpMQNwfXeeAZHJ8xXD2iwiwmUF2QWnyry2h+IjwJlMMgClml7bRzezVmqDEX2Bt1K5dbnx06xA0xiWA+1PGGPwSFyRaetjjh6N0aQ2uGzflXLufTLnExjl8KvGZ1ru5kw0SgRhmTBMcAJ6HzIWAkRWzZYpfNuFAq1MKrnBO/a1rFbrHDK2aebEbdowNQUpgP1648vkMBXKAIHA0kB6YyWV75oxwbge0mPAdii58+1lNo82YRnTQLzgn0I4xvj2KvuEhPwiI2AqYVL7Ms1yTmp0JzKs72ew7SV+OOPISAQiFYKjpTXXHpbN6XBPlR3gTmTr99bUMA06j/kD6FFMrIye7eF3cm64GLNKV1wOgdJlwmc0LlWiPxnC9mOdOoOAzn5ahUM+48f0+bMjmLEY+mqZvcnL1nGAN4fqJLeeMtQc4+KdaBHg3sTLY7zti3GHdTU7L0JHsam2mnIuE65UnYU7i80/mkJ3+uNEobn/woiTEZv8MDzQAQB9sRX6ufNIq6tyUOUuWLx3NQZyr1tc9bsJvgn+TmMwtfKkWuLuclaGwvQNbcZxWzGXJDObsQrHT2o8PLjPZ08lMtua/lIbUfs1alMUQnOhhEtiT+B/7FQWnXXVOKzEpN/Lf0pzQM884EOqtJNbJdjAB1fpGKEDBeMhy7GZbWVwyusZVNvFXojaToiMUM8ZYmby4xlXDCEnt6QLO1QRAz3DS1rh6JYhDJB+XsPmfIsJkQguD/bwYVgktqD8BVeuvBiYPnvNJrOP9Qm1jmkKvxtpKoMCzDQ9kiBbD2SDrgRPOa9EB+qOw0szQv5LebgKqkCwZ+1iMBM7sbKUo3A1LFfGEHfSivfeXdacJTY0cAi03GxoYVEzbPoNLSHUWxi7iLrPuexJU1boPHceWIwDEKS8vY7liBvizi2BTO54kGcyx/D9Q2CeZPJHshd98Mr5BmoX423vFxKuDXf29j8V13a8Ul9V4deI7+ZkZmwG+M/YUP4xn4S8R0GrB5ur2X4Lek4W1ibHBYcaf7C5bCRBUCvUUjnxtRkcsFj4AFc2Dr4bgytZBLlWF6I2K37iIp8abKA0zNwz2t5erV5KKpwBjYfslgHtR8EEaBAmoITEzx0nLqsrGBS667ixZ+FRwA+O8WnPi8Ezhm+QAGWR/msrbY19PlpPW8m1OuJVN1YbwRdhkmlkQV36OBLrNys3NIixMOFj0ZDWT0B5HQP4cv29Pt6lnPYClLSuSgxh/5ba0b9fY85WpwYgmD+Rl0vu/FkJQGAnb8G+leZQvY91iBt4+Et4ZXDd85WEQjOkGPdrJHydq1jkqRvRLDhalRTkJJ1MG13fjPbRJkA9hnL76vu+C5X7uDQVeoVdOYEDmkzO/p5O1WCDydtJxiuvM/98eUHPH+A3XYJkxFMqLWlWBpvuOFIdd8yVH2+c+GrVKNqpNH2orXpUzJkQ0/gmQUSAnyURaNHGm8leMw3KJTTbwKkY/H7Ni8FX6tiDaPSGOxRw1kaW0VBG5PcY4Ja5cvF3nY3yRQf2EIDKHuopN6CD1bJ2LOHbxkGUL4byQCvGQsqhhT0J3kAInT8ySlS4/L3LDqPjOMnaOtVnGQzhZUEp3jSWluYqxSxkKbjWlHOHhRvCiUdwBnVJQ+R1NbNDPZxkG0cikS73Dj8IQ5jC19plAqXlL6CyMVgnPLpQ2AYYO7VdA6H671w7tf6chEi2/63NpawphaMeejGJRSef1dMjX+wxruHs06VHsrV6iQ+Syxh26u2yRGLuJh6qbjuKjSit8bQzT5E6SHPyjZDpSSB0SzClLWKRyzMuYwtIg03FU7Ec3yUyEiY54R35/jtYmXWlloYJNQ/jJ8SUey9qIoRiGnzNzpe4PAkETnm75CQltlEI0ud2lrfO+pB19TaMsuM+n9Y7FxjkYvGrzXKaC1eg86hSmjSqJIqLmWKVr87sk5NermAiTDTP7Kf+X6D8pZSocPrBkoStXmH21ODJaBXo+/EZb5ilImJI+5CWHzq9szOiDEQkrepWLvOSAyEPIvKgTysQf2OJPArY9dFrQRb+gP32UmItcAuMcXzaUaqiptgH27H+PdLcYr0ye8U8aFad6hzsdKehpic4g1rEzXOwsD36gKfsxqjm960RwbKEG9kUMwLUlAj9yEv0NPHTZ906S8/VrSBhiQMPunwSC/80A5krmeWs9LwNhjTp81EMQXRZonZPax1S/2wLTfNdUs3UP8EruxNIbeKwQsJbYrtL2RAuJrzTXzP6gpb1W8LxxkLe5aIrDcx0LyPjlncsed0r00ghAb0ediBTmkMXp1tcb/6SbFf8rV9Q2iaeSLTFgIp2cdwEvkq2MSip6OH5NpHgWrS/8YYuYtSu/1UO9CbuxdVYGRPKTPv0rXew1iOPnqltjYDvRhV0F62fzTr7mDW55CsjPvHzBXw0LovwQDhc1+dzUWnZj6c3YveUO4d1m1QpkvOaFSkUu/pUzE1oWJvtrxVk3LqSyPvtkXgfePNIsITs0Ay6xHoL+xacDb7f5Zng7yiTagcHxx/Es59sydrnvVn6nRgFI2FHwdAwcZkABFgOBeh2AhkwQDnU4Du2IUzTY5rolepglG0xkOl90mDI9cjZGLUt1su6BqTbvWA8n39ylFrRS70W9Ft19w7+u3Ae4fbtQVjB1XdLzHcDiJLHx4mcGouEUcSVMz6efBjnSNezqVfzwBhJkqgOjVrbTbcZDwPbxdkPBnd7SHpQ3/9XUG2MLtiAYGcxXESCxsAgwvPEW3Bzfi27eCwIGEjogCkRwp6jyTcfq/Ka9Iwn8TkOmXpyQswcXrbeZrcL1qUygTp9wO5PwmLYhWKBKRtYQPRcwtm2bUOlsaC8MfDD8p148l93QPt8gU0UFk/irVADMC/Pc8D+iDWvp+NVUthIHBM1QqHGYIb55SeyCabBviqeEwQzLA9364JQMSalYFEhhJ92WHF4iSiD8Go5cwfINzsCl2cdmxWqror7eKLqhE066tLOrn4cy2OOeyiZ9HiAJUW4w+V7PCmzy8UbnhnwTwXJs4selq4YOiZpLLb37eoGYUD13Wg7S0D/Fyv//yj79ndoMCj3hMCHHe+fTiYpig4jnVp9jmQWBoImgc5uylTZFkqba1Km3DL1I+QgURVbtMTp/H8yyuCkdCmOfBC/BrkU7h3tBbBwJ8zGwI8evOHK0qtsYOfDuxJVsUGbDoIDs/5wwb1O5s+RgLBeJhBWVvB08UhZwDUUWxqqh2QMFO5DMVmg9FsXh9KpW0Ntog1143FL8bMr+nBFq619oTcsOAwYUUeBOkdhyqgMdvfG4kr3bg3EZGpcwAogjox8F+nnOuh42jtNEVfhXUypj+JlmHa/mSEQQQ+okcV5Bi4cdcM8hgqyZVWK0Nr8hMJCp1EtHvVwRTYK9Q3LmdYu4sIHiJMUiy7YSJ3WjnKxDoe8wk6j+rRE55nz/UyqAnK7r+b7F7LS3m9zqr4mSLxAVuGBwaE8gWK/MbjIfiuA5Hb9/Yf4Y/fq7wCEqvGAJume/zwvHn4AtuDi+KqHgPRq4qFHiHEnNf7SbA1Dux7iGu7UAUxXM1FJe3mA+fX11NiFMjit783L8TsAag8QwvdggoIQExuoqqaHNRlYv2A4BF2psvY1xvGNGtEZfVInAaA1eOiJUxHjzLFHBf989wt+BVAXdwuyJXyG8htrRSNxMw+GAOsgOm+lfKxVxuqcGruIwAjKc2K1lWbazjvvxz7qZ0u/12XEynzdjBlvP/b6Nc765T4lmVhsYQlg0K62BpTBlcD9XA6nTTyw2fw66gNjbuHEWDCcx9T22TWx5Ye/hRbrgRKrBnjReMTH5NcJxYj9Bny1HsITJl7m/XvRLm8B1+CDfFGCg8Yk7BzgwYFweXf/wJZxPNCKqQ86lqDjAofXjsOVnwoAPiucB/mK/FDCyTeJdHQgm5Ti9HaRxkRgtM3cBXVrirBXcyRisj7UDGy10+Ui/LZCOBiCQvVco8McOGV86lyHnH4Jkx71FG3EDedcmZD8ZHkzq1c7ruvdzA2ZbkJVK/y9oPXk+c3+0S86SSNn4tM5lvGjWRmkm3+yU07ygQqOdRvyS2Udo1r05aLPjOoNbRSbCOwEpYp/Jyjf0vmrzb3gcCCLJz8PZ423DDWknKbV1r9RNLa5LVw8ju3DjbdYp7HqutrPIqR9JkfXf6gtKVakOkZZQ2sNg9AF+X//XKXWtejjl0UOkKIw2w4lTMRCR15bjiot8V3gKH+k/JFGR5Yp2Ri7BxAiRmZJV8lEL+BxUaLdibBYTYXzSY0cA7K4cfnjLN7j8bDRd1+O0g2g0bdjEsddw2MFMC/jQaIczPUCok9KRqOudwUfxZa49iB3+rqemNjibTNjF7wRq4qmfBUNoojSk8IKwdT95wB8ql2QRxLhbmMEUtjHDuf9sSSoxBhtJyVVxxwFSz5bpce7w+XUITAxS9BDSqVECGkKw0+iBjzSffDN5pUnU/2UV8ssZGVnEvp2uho0J183usbtZs/QQ0AOatquoUJ9YeX3Sr8owzbULL0qG1FwIv6JRxfcZB2wXvxJg2OFB0g05yMf5tup0nSxs2dykKks1e7VF0epdJtu14DrEp10iJzkNecbxCpyCqN6qoCCvMMdGJSi3w55OUdsXHa0YuMJWGLnHgpcboRf7Gd6CcXsmUul8zIQLo4bnnS5foVze9SbwjBW/Sp1uYFerJMn+tvs0AVJszXCeC+gjepp/tcXJebnM1hpLqYDg3NxyNyqDLTCw1gu2aj1vlygTAWupzW2xNX5s4TZRsVB5IQQF2kdRToJrJ0aci+yrcZ0FjvXhV5BFhwQcSskW+konXycjo3ylwnAsQLtQAf4da0GW02BXim8UIt47KcrALYueWa96cierKLUbDHDIvkjgVGpBKyKcp/VQSCxcBOgv+U0232irnWdKhPNm2ii3JXx8C8HrzviSQ0U1/g6dpQAbsehoa2kKBYx8gBrVlpF+hD4WkXjotoVRDsw8ID2XIOVTSChO3/Vvh+kg7lNlHiml8wbcxPzYON49V/JSAVP/Rz2O3NFQOOl4H5SnDvnwB/fhX0wgjcgWBORxjO8I2HVvhANghinvAlh4bmlvGwnWZw6ksXQBQbflTC9AzV/eUES3E6si87qtUv5ogIJNTUTrQSwkJoCa3b7UPoDNwq0Vxh4izyS+tVxpw0wKaLBs+YVcgP489FfvRn02yW4sZWGL2CTjKZr2YL/iNyVFImVpbL+5yU3R+kwfnHSu6zBlWtX+RaEhaNl10uDZBJgHu/Wi50TXQTe816TQVBFdm7twUHxe1HDw4oyri6oeslr7TYQlByj8s1V8KPI4EM20Y82Jjo3n2liwpAIXVI9ttyYyci5pXIyLqtLwK0YHERMn54Q8THcI+H++2DmN+qM62VvKGwaiS413R6gx/qLCVZN0BNUYryNYCk+5Z8zGgMFrEd3tD63ZAisQ6pwhjb/h+U5MCcz1YZBGr7oMC+JwzKc5HVHRZayvQE467Mqy1rREYm8Dt51alb64Lma9nGoyVTqO5s65qHYpAMZc3W+OgPZKvzojkZZyov2EF6WFA5SvoyEN9wtUZAKoRLedKustYCAhKo4SwR317b+ql3w2Cvprfe/d74+A51160vjSECEznILmeZeL0c0DqZHQLOp2yPMYZ6BnOGJtDmvsycmEDszwvoyx96mCOA+gjP5AxWkT7S/ecZWSeNwUHR9ug9hPWTQYSvDrjqKe01DJZDzvjsvBDBVVGHim0vd7gS1DjJvU/cH0fJOPnU7VTErTbQVM4SOHRcy7mMc0dpEB7ngBW7om61mHokP4hp+FyWIge0/5iATEbNrPtE9JFj36Vxv0esZZN49ndNDuqngHhiQeufOvh3cLX8b0gAID8gHgYYEPCyZbFBsRHtB9VA+ymT42xtzOr0N/dTAbvlz7ACJwd6V7+lel99c4tuWsE5g5a4LtEMjpWEY9yEApzbWKJ4GcFXIwFYY2/Z572STedfERWIXB6k7qtUuTQXmCS8P80P3M4afJDPjM8pgJycCvvme4bJ6QYKywHmTu7DJnMEnboRlLBchNqHey/qiXLroMjkUs1h+KHQs7hDQAC4VzdHOKYQmpdJh3nH+ojDJs0ZYBzs6pmq49xw974fTHEWFpIs86Hf1QJQAf0M3OCV3NmHvZW7Ibah8ARZJ4eqeAtKO7Qt2ieSu6aFK9+xHvBhKnsBuf408cNNF3TbUq6c2nFCkINJb8gSyiJ0ih8aykyjOyGVo4Ie3EImdB1OsZgo60dxwd6GN6X/xH8SROZTYZHAtaDU0wXKx3iiAedFRM4pfR0SLagvW2kFGissdceuVNFNQOijnv5a6DpYhJCskq+bBBrdjSghvDiupZ4IlgMI/b0o3JXG6XT2utj+j4N9Rro5Szq3QjKicAi6uRwOS2j14um7z0ZtIMx4IsdtkUB2XgjauLozYypqbkKrfPsyG2YDf7O2zhFJrb36HGz0YT/AcvtPxosixwnGBKRzJ4vi6DV9nBnpVOeM5ZfpFu1Smh9Dvn7eyfjIjORY7G4yislBFcKiG+oytgsUSeO9PkK0dQsEJjDn993nQYH0Vj0ykFNKNjcuoPgv8XsKEhVqrq7aMljYg6GbyrRa5XlUm3X9V7pU7yuJfLzuO9WMIxfTmaM7pDv081fFUhd6s1aGbVm9KQlzcrZAizMuoWOZtlzVhn0TLrcLPw6p+NgNB79oQ1UGLYTc5C14+rrOf5EYUaRSxxV9TkakT1wLi6eoUlU9IlbS1OSfdoA+m7y5/l5WEbGI7JYLORsw5W84jTlE9PeoupN3+hih2XX4xKIMhMw3jmczvwnt/4PmDpPfNiYx/MQS24cgVJH1eDxYcsPYukFDjQD1Ovfjf6mlsn98ArfD6BAfiLhKqpootnzkZbMU/bYXb1lgv7szFcWy/0CbOfo637uOfuc5x7BkhXxdIVpe0phVtzn2peac0c+HgLXVxqMZKM81e0RgrXHWeVT5xK19vWnHwvzlQV9HTevoY0wNJT/NZogdkkQ2BC3PhD2ZVoMypIsePI7fPlCiisV5i14GR86TX3qY1NwIO04LXMsEeBB4VEBACPt3RShu9Q7QiUOaT/a+e5XTkjmQs8cjjIkNebGZTxPDTajyW0cWNdYjDioTtIAIO8vYHAO4X5Zvv6b2Is4kuVQWiZINHN42VGo+wN97SvI5XEGfM5Rhtsa3nnbD9dvZ9A7Dd22zsnP8/Es1rvPuURz8/mQXi75ibRJuzAVNrRnwRrIDrJPfRbvRAu14wL21pLWNn/z3fBQI0W8bEHpOrsQF23MPs6TAyMCfDwvik27aMxAx6AC695lbUaAA5ye98VS7PNnRz3GHUR6FmYNTZbvJ8T2dMshuGU7g9oY4PNhhGiP0Hs8m/9AMw4gtAX4ZDal/XQ/1M+vJKEKwMN9rJF9CWCpDIsaMcj7YkYoGmXuR8DUjFGWSGUHRpzahsou19C8GOgl8+deHtod9F/Ga39MJWBR3tKMF3RXevm+KGmILoAfbUg76y8FJjNkqvCHW8/O1VDR3QSGEO9T7nNFdFXrOaJsPFGEVlhavTeE/u7pUuPRKtm85U6EU0aRtiEkgw64c8/R+NRKIs4iJi0jQugR41mzrG/ovk5NUl3RHUJjYRLDSGa3BIfmju4reReIdy/T/ieK/1a0/qJxccUqmM6x1+4Jz3rzaEjZyGu7eMq+tQKFVAPVEZFOO8mDuSilkJZgAVLN6jQXtXNQKhrSiFn1aD8QtC8Djn9uQoPQxU0VRvPHRY4oLbIxDT6f971KocZmva6p90QOVcUQ1NlCuSfa00XYAeGB/GD3dU+qec74lR7j5hK0030/+v5d5aH0qCiMf0hcR9SCxmC8wsPGAbJU5pc0H6wTiwyUKTZ3PWeJXvHI5wEBKexKhi8OsVRmHDEzrLrKqNzw+zYgRUkW3hHWZ+ni60Mr/zZUN2OZQk6VwFEQmYmUjkA6IaMrW2xN+8ac4Rlo3gYdY15UnZ7ySgk3UyUJnRAlcUvFYNglnMxfyYbqlJ0TKPtO6QBp5mOvEVfYuqqa6GxL4ikVHJEg6a1hHPi5racpywevtGterR02e6MD4MQ2AKXIcAOJEzdPPwFkzo5X75eStSYzNkiM/UspKt0OGcvp98DENG1SsoBJp1T58zZbS6nNIp3RGLkqUCbbTVqXOxju2/rkgzzgNQ5DZ1XIi5dNl+zLIUevyxToJx0uPEZbHWN5TtSBOHTR7/7TkNzQ7LSUbLBGdTBC0o5ZvND1Yuao6YZ5ONPzKxw1W7h8WTG9lw9hjULdu1vUc7FNCgclrr0W4vRjPC7VMbtLIEy+0lkr/MsCOF/Gh5Cr8xv4FliCl2P8eQVIa9MPOCBR6GmDSp1s4WdXiSPDi1QBWmw18L0brk5HMJB9VAOsm+YevdGwCwossIcOG3NPtDEEjXiJSK0tdhFK0qLJMVcT7LrZSUez/ILWP/aF1z99aDrixWHBP7HFuyCyFMK84jFAT2dr1FsVIah7ewBj1y+4wLNixeqDRGR2JGL7iJTaFatGI9E6E2K6TbrkOxZEkzjMQM009I9Tblai7ZtZ6K5kx2YEszx1jvRPhsbT4qYTKrpcsQkAaTKsbVun66oHndH4E7J8QRdPk4k46ahUAW0l+aCv1lUqgaqz6O+PbEFumP4kDstghCITZcsBJWMv2jfIjKgm/IzVEjSSCctpzaOQ3h3peBkRQLhTUF2u4KHRy9Tr20mlxB2u645tT+V8MMU54gPl2Umgf/UcOWMIvQXChvGX0Rh+UuO2vIzEcR7C4mWd1R/PcZ1ldYl8mdQFwc3AdnX8jhfO+wHz2MPLwdzuGEQFOm3kPHg/NQ2u/07WrbHBDbUas+31NcdrWkMxSM4ZFIgISYo9fGCyoAxPeuXwqp6gKQ0PESdPnKtX5AM72MLVu7mkd7y3sLkHD4B2ZSCDGU6U3wXWh4DX8UdPjWoC2g3ewYfBffBDoKUxV819+ptUQPoFWjPcMLoUFD1sS/XWS+pByKjUEkSQ4e9DrmwmkLMWnJW2io0LHXf4V8sA/3O0+fiC/yRPvsPta5NI+4v6a0DAEEm78Wm3HyYOobvv2gS2rMOBKLtE91X8bmhxsn9bzcooaiHZyieEumsnekOIuRROf+kDqOoAXprtsKr5xwgj73GxFzWWo77/4AinkNYCSh+sKAFbI+hCb3eRJX9Ry4xlQbhcxffndqapYJNxszSS5zWXpxY5IYY7iBqzs/ooBNmCQMmEgG9004g1y93xLJ6FDjC5CFWYMnui5dSbhdgiAy6iK3O/EyFApCZOTP2BWFlVtNiLdBtkbMRWfML1/HUCYz9pZ8CzXCeaEv4I2+ATCDr35yQ98O67510gPKp1VspNeOBqkncwToHCGNCqMzotg0gWpz/eJL80frr7GYG6ye9SwBY2qPzTKE73VirTMuzUhioITC78r0mJxbPg1NQYK/avgmpilx+auX05nA7SVNbKx6eiuEF9A9xNIu8lbUXYQ5dmglPJF+1wze7fm9yOyyJXGOxl2+pKV9crZPVv4rGjoAaFjjttbgocTgSc6GibJHc7mc4abkOILhCAbvDmf1R0Y3alsldAar92SPp/CV+6KwqjMfSE4QwUTXlBE1knDLJ8tIuTHFD4tP3MtNCLl7vbMYLaa4UeP2IuHFZ3AVVxT7ZXsKP5I60SP6gLmFqw1FZhoAwBqlDzxP3LyBE/IddXlDCInVxoAtMPN6fzC4Tb9yTqgNQKpRi/gtZ1n3CK9rFYZ26eF72FXEjYKP7JoaICm2DWR4IkcpBU+uqcdKygl/CJ57ZB6+4HZdgltfY6i/QCVmcp7cz5+ZAxRgWkq2ji8nz6aKc/FP2kwhtyjlWhq03wBJCQSWqgCmhWVFSMqUrt29MvDENsQxtg/77DqCqZlngjpYqYPmuINeead7Hh6S/SMdkFIcpsPH331Utv/2//IIaW80yCYfjQ6J+fYM+aFPlpHqWyHeyFcg5GDpzDEYeoabxB319L9ULqv3zkJeVK3heG7ynSOApIht8UtCR6Ek8YWgGq75MkAkxaXF43ojJNYNvQhd/FX9OvkoVybM2BT0A6eAO8ecgUOzthgWbQoW08siV2TX4+9BUzU27Fn7mNH2mnU+g0SZoL3HufqD2OboWe/dmg4W2z7/aI5ZoAPc917hB/cA1o5iL07lJBm2gafnLYRneFWYcLoblF1bJ6crwUvrC0Qlno2WxT/8TgjXbJeY+wcp6wUQ4MoT8kBII3gycrJrE4+W2JKHtdkqESNMB8WfMDeGYF9Q/ZA/QPv4nR83e51KOY3K2JlIbjXmrlEYkLajFOokahJudY3LRZIbduO4AQatujnmAm/31V1DoyE2pu4V/vfksH8mqanIk4+EwGSTzhjKs0w/aKY2L1mxtRsttDqVRG9BFoZcl9arMBHqVpKbBd1/rMoVxWQvVHyNrlTrA0xnqMTuCEOVal1wXu7+5c0pY175hi9cGpZjfZxdfpFpoDUr9PKWpPZRcPsYSSwJh5ebZobRGNesEd4K0KizJdOGebV5VKITG0yZvu0R+ekqQ9a3eKZIoxySPhslm08wW1TlZ6NgIkj/yDxK977XKLjIuJPyXi5HIjQ+p2gOrLe2NixIBO3vY0RJMbeKAu7/6UoiIyaoWEnvTzeZ1I63/HNunybDS9jd0LQT43L63w7gbiZi3ijozTbhHkMNU0lv7+YM18pCORhDCfURK6EEsSv4DcmLR9QP47+apKfK4tvlNvAToeSZvRBAZ4rAcIt4N0UGzNckzbETm/pFJ7HuMEH0EyYJBFGG/0izNv4UU58I6evxOHc3Xk540rQY46OxJ0FPZrYQ4rQRy5n3XjAIJjS5lKDgt32r2rQErDBo6hEf2VBfuMmyMCaAg/9LoQorQJ7YpeM6Bff0Qg3TAjf3FvRTlkrVsbS6DhC1pmBZ7MlSLJqo7cLbAtbF/OMXUkz43vWNBow2FIMLGxeOceP5Rh7EQdlml9uOnOv10ZaDqy7cTdvDds1fwLtVqIOPB9fu9A/89/ouYiBUpLJoYW8j2tXVhcMeJCrDejzoZg0vTKFVlHGuOaizv1VbAYG0A/EElvihNOrs50sP9KcugZF2fxYCvibui/7gyt2nk2DIW5UD5W9HtVt47CgV5Ultp+stVRAtkX40YsTqPpVYO4BycHtKu21q9yw5yCGSqYnXdUev/1tnj8zVaRmamdxHW29tr8YjhnO+YEur53qmHg7NL/D8O5ENMgY6Tiaa0y2VAn1/HUlI3QMYFVb3m3BfIJJKyc+Kv8ZJpupHv+C0k+ey4K5B1NDRSrYRmhPOpg67EDVmRssGrjGdoYupvIheA8CdG90k30pLvWjiRh8aKBETsn6SNWwmk75sUzPvEFy/6kejbMJabXon0uY4QPb16kiOJzs6POrrSIfghbkEv41EqJfIN61QECEcEqmDBs0OCDnWxOMtOw3GOx7UV+9freY283elu/zgAPPYKbSQttYzgUNkTMrSJxvwTqwCLXl68rJxphy3QsN+xDsPFRwvT7uT9fT8ODoSZZHbD6gBAKnQneRSf4eKhe0vwyJrMP9i0wv7QOdfuShYCda2uTDKRsIs+7VIJSAPgTDT1ljchcxe6ESRrKjMO5bawIeh3PgvdFwiMOrJmdy3se2r5jKS1O50KvpDRLsWz7Pi89gQy4qglRpjBW+U7Aj1vHIbYB5co1mccA28qB9NSnu0sOb8i5AAMbo95PRnMfiJCxb2j16hkBp4qkKqO2KH06ktrOYvums3yx4+yEbaKzLubioAwZZJnTzYV6Uck3TZD+THzeL/NWrb8dRRkn3lWVHF6h9yOrW3rDbXi+c/+dO4TcYetSlTsSLJ6MBnRXcPdUJqtbsVYfqWCMTIblMsVRGeVF5nqZn1odSbwa5Z4g6h+6rAnLfOHzj+66ZmKyLpykvJJ7hnZGu4p5wun1kl9WXvkyRcJg+1FMXG51+p2PgscrqNu5bIPk8mQeQXqfjVG1vt3SNVQISGAa28XjDhnbodk8ny7RGJWNBdRm0ANezy4eVXONhnn35+k0WM4mcvL1VhedxH2EF8MZj40F94xRM7L0yjju9MkxTzzlKpGbWFS6L0zTrNN/Gn6F2sSkT2IDWSQOCC+lp7U1+njXBFV5LvpMTYo59kxZEjmIdborFllucnuCW/PXJauCz7jeEuIy7FSqsWSnmLapy8Rnb2lt8AI2EEhJUzzbngFsLskVPaT+Wps2hfpkR4eol5fBtdMg6pBMEYAIY2kW8cyVQKnXP1yH7eg6bopNKcxjsiOdKVdMv+ggUfJCHRf7dSmi57F+uQpQX+t2W9QPKQgxHBKYUa5pkex1OFSgyHZ7YbIfl7Z/nK7cx3XnVH2hjY2J6REEFn8zorbofG+XDT7Fi3hPcYLcy2QwaSaaBB2/vVxzBuMc+awwPYabb3ZZCKJYq2B+UEpJDT26ZxIoBB/rpasrWvi+qZmjX50d9ISsq+6s4SIcZeSe/FshSxgaCDqRNLUhzbOhv0J7n5GW/VpSyzNKDmjw6zRfWvJ3dthvcpL9/JBOtx03gr7xhgkmJd7QoXKEnRyxwgg+Q+De9aKDMr0P9U0nqL19IdauvCbqc9rH0mfGWGvHd0yeY2Gzg+KK/e4VNG8zmuK7cQU3pmU27a+C2L76pHBzp6Vj7vwZykdT7sdjh+SL+kxVZffJYIM10akQtKztvRfXLliKLj1kbw39H2h0nyQsTGtAffdc/lsUY8Zy8EvRx2R/v8wmxlfbQfTVvM6CPccYwIYtNIiQG4sAR0DA8puZtps/7fKGHB+aXIq81UHTVEFAu2wPAWyl98CpildKZXxHwD3fYZJBbKybsHLzh4wy0+lfeYHXFHDoIGNEoeGWjQNdYEP6EaL88Ysjm23BiK/JgA3oqywDfR0QkYLhbz02HSfrc2jQGjH4sKQCA7/wE998oOFPlpaDGZ0Wwxt8zLl9Q6at5B0wdzwlvYVFG9V0ahKW6WjXTEmGgiLZG/II10m7wYa3mt7f2AGjabf0FgWxCE4Kf5CAesWElt6P/Nsdsjvec+bdOdAri6y/HvpF+uAvVszkRFg/KbwCJzDzaZ/QHflW6waQC6Mg0i7F4T1FB9pkZluzgKb5hKX1M7yFVdoYnafZW0lT1ufskEmzgqopxOWD6dqibjOIGXsYmUeVnuvuhJmWrvRJqNt9DqsoJMPuAc8vmZ36ztUybycnLIh/QzNxcbK7naj2Y5vYkxPHSaJF+21nnDtZXO1WPpcHZjg3kdYG7za0Gs06o7Rc1T+nNQTDJt6keKbp3gLc28Bz4YJC+k6uxA8LdQrVjU9gLulDcGtuY/9SBjyVL3V1F6eHje8a6Sz8vOQdn+fxvKZ0rLpjVTJA8PQZX7uZ9D4G5ls7zlzH4q8xtSQz+10Umt5+R18ftOxSXI6f84wsu/oAE182PMr0ir1PsEk+4zcNqwAM3PF6vtsITXJtGK+hkzXVHP9+2MvN0G7ZIXkukRoHgIB4z6c0vyURyrZi/GE6H/5eRsnabMXrTyZ+jMZcuPhiMe/gZn/ONBLjMGEwFTVgpSWxGe2HwmUwca8iR3n6T84CpWB6tEk6Mz7qJffTo6NEU2YUptDEPH75UMdeNLq3XKBZ0HIfh9xrv7KRpz0c5l1wrkYJpdei76/XvXi6uh61EZO423bHnfALbkecylP91qQR2y+SOmGm9uDgzHNrlpLsnMxsNKq5ouHoLAwUowf46YAQCAjqiLhG3d3y+8EdNxCqV+mMINuwYuhNGyTRnGHWXp6Y+QzhiEj5C/w6UWEb7dCj21Q+fktghLY2SrsLH4WEpqg8ON10CrW44I1Bnvck/msSaQ9uqt/uOmMuuW7JIUF6B+iJOx/7CwVV3DsLNhub+IICPkJriitkDKIYP3nRYXwXmUVG4ts2u9O1hdOcl5VTOW11OtgAFYfVJhgK7nz03ErDXH3/jjKZG/+quN3U1Kv6JVHNgjwTv1ImkjU4OKn0l/MOsj3283A8tW4KVZtRaAbxX1B3KIxY462Ec3N05ur2fN2XEYFqM4dy7AbT4twaC8yEZ2ZkmiW4PJeQSIsSJCrztPdQqLdSZWO4BL6uQNM3mUd9lHWNUitylEOfqg8CX/Cp0nwe1WERZFnxvoF2ag4wHM0OFtEUUSKhrnzGOa6XQz8O2V4sBhubW+2HQRDqRnoYQuJhjj/9aBNexLJsv99GsUC2BwydDdRFo9t1eLGhIhN/MPXxWp63EYoxNk/p4f7iKLitSqJV0Wx4zkCqWcsU2jzM+GkvixSCFTPNbJEJJmXRJWhsVDD4twvAXc9HBw047jB1/yip0qpXff7B42IPXnsDiHZu5ikETHi7J9mSGH+EVTxhqTQ23RiGpl7gQvvJxgaWnZ+IoDgVqpDmBmLDoUpjW102+TAoyw6xTSx+4wN/1BU7KXtN7brSdm5kdfJDnBS8hRmtI3zRpVYfmcPegxOXe4k4bYg91sPfYG6l/inKQVhHkb2+TISceOaRa2x7GHQkYVfxybwHdIM6B4UwAVxmR/oBnlzChdRnh8a3RLQnu7bnWxXbMmT6TBpnrCoCuFeCX9ni5Ik7NNAYp+s6wnCPKFvUUigdaJUk+YY3VhGGSGNsxHWGt0Q9zWm7MTHRhqPc+4vx/njNF9eR6YZnT0Uoq+XlgzSywKIuTYNWPPcUf40h15UHtMwHCboGxYaSHzxqm93lOaYJbLSmGao/N49yBwMHMlymzvuDkMKElTn/V8RmBPZyuZkBKqv6LitT3IVGUenPtkHMt5xEXbxhswDMGjRNuTmU71wPPKPUUKAHy0MuAy0RlU7qDX31kzerGVn93epscCOWbFoXM4bcx1gyCfTd6NYKOQBOnRY+3FPWVg7ArbPx5J7duhg7nQtZE2VmoeA3pNgw0/QIeSAwJlCpiMwNtP02KTZGXkzqdmE83rldrrFIlohG+ozg+cljowZRpXFwT8ZiA3NUhdNsAc6hokTRSfeWkMm5mZaNzpZZHvdAo/13eKncbMI8B5HFFXA7kVPWo/2oVPCpcT5/rqiy5zIGQV/SZEm3MsQrxrciaaVCCXtOpl6JwHOjhJnuC55rIFTCGso7cwHUXVwqKGR8oSNL9M/HFGnlne6UH9bKwrxARsJl4wODj958m6O/z6S+7cCMTS2vm2Y/qUX9c7ogNPzncvr7/Uif82MhazsSfzpVw/lBTn+Hbvp3jKD0u6usE8Y1t0MGhYkDoZJL+B3o1B8keIvBQj3dPKv5mpUgyunWlZLKX+sdL0ZF71gNGp0MPXEqBYJPqr1zcRTuLNUgpyA02kt3tHUoh1eYieqV6HAXKAodG77243LP2F9i11h6xkTf2XuAJJ4qR7DBoXmb7mups89x1J5O5759B4UNkL1IrFASAOrgbfD0sde7zAG/npaJlPeAC+4+q38s/GvNRSHRxab3QNdYoyUase489qzN0JnKMf6FNGj9Ku5v+XdZX5je5NjxTmvL+hT94gaSizjyDCJKtOwk34P/jPeVMAur21ERZPLvUkgKiLM8jb0La1+RhF9ANDmBfOzUp62JIlBJbmzeBQGVjbWiKrkLkDzAP3hBZwu6Et+wAhf/LeKRWPDF0SuxzNQ5iJbZCZqSIQPRQCcEoIWHBleS8C6MGb0EVVpQs090M+pLp88dp3/Y61xjW4sFED079lEAxDKUc7aw2P21f/Q9CoPkdsfY0OD5mRXgzCF82PF6aDcAtm98SOWZYFvOjlE0Cwp4g+ejLxREiP0QuprUqh+qeedt8/0KHlqw+C8FkzS5A/kHZ6kMeeBTO/KVhedGcsDp8KUel28zY+HUGQOCJDpPIVWlc0UhGxy6pbeTgC5raJ98SW758IiAxUf9yqnmYPu+2/Ys8jV1/mkFC0Egi3gFgu/MlRxtbEfoiqV+LSqYxBRVE0SyuJE9sz5IwRuXynyQ3/IRJrghTnfOQcL3aNaOXvrmWbIs00hf1QQieQe7RCAHx5MfN0Ctl7G0BWcOuU9m7vWkTDF+BsgYjKwQXvT5PPiJ5VA/ANngV7LEV9OU7ZJoFh30lwhfxnOLygS7IPUTlPE2wNwl22y2sZah1q46X5xcWxc2hrlxnSTVvsDeO6HWlOr9LGZ+FTSCCiuxHWQkIJcM5y6xBP7gM4BvmEtN1+ahvJC/hHIvIfgRqaqC4GNafyc/bSnqR9YJVWeZgjTpkdYsnPI29fJKeQOEDT5r3ZclYwW7JcK37N1Z+qEZ1Jgu1NhcG6GS0G4+LQgkw78/nim/DqH0AOafvwAxpZ7GxlWhyyMmVZwIF460lnI8UReJXYDr9t5tUIr1pMANjg34MoT9ge6EKGGNSL1CZng75b8qKaWxH71CEFL4+S0QNvPcZbXKLmrql+uwItsxf0YPkj+tg78dlQ7Zv/dMImmLpP0VnsOmdopE4xMOHZYfCIn9gg1LUeZ235aUcN3nLYZMYwTzkAYjfoePJxYILMyhWU7eFze4w5yfakJlQZ754Y8T9DileUgo+WSopFlkHVJxq2gJ1e1Mg8qF0evMinU0FwozxvpGgt/WbOY+D7OPBbSIrjU4AvMdwo/w4TQXAs4JfgKVgN+vqoE08aQgZdaoUldUuosH9fBuagboUW6af8iaW5+QjVvmNtyiDqX7+brHQ8VleYLoe573LNw1NOHOgHofVd02DEZtgtMTRUaqpT0XIa6jdb2LcxtfrLnpWovi4atOkiKHonf+AL/9mKsk5aEPLxg8qGuv0Utc6FPdYgxUifeaRXnNvoCIhEV/OgB3C9WTh4D9GjYwgO0yfMb9upc7Wd7EJIj2/QxHMzI0TznGWhrqJF2AtSPq4hcjxZBld+ylBTByxrEY84ogLc1S/z30RTdlhGBBRAzVYr15dBYvaIv8JV1hdf5SEloa7jCHbQv19yfR52xyvxzwyo0vLWgxGEbb2nAUKioKpEuGqTv9atF8n7Nyj+dBXk6MecwhqnCQ4IHRo3W/0ujhB8VisXVNuiOSqjuw8x9crJtJqMYL3SBopstvJ0ysvCaLrVAGqqnEgerJ9XI4PNJ/uePhv5aJAIYPOuZaLmJbgxth1NvT931/JXVYwB1AM0Lk09FPIjqgHEjwFlrPEb5+QfLwl0t97wemRwCL+cU8LTdiYiBrip3jFB/HRzfLA10ldAyc2k7PskmdUNU0QruyH5UCNfySQpQDf0dzndWOTU9Xi+oMlU/CeacSujDNx4NGk+0axwTxn4O1ZbPRFja0Y0qZihHqwisyDfs3NVDcPdTTfv5Ly7PL09uIu8pHzsOmsmMOwsByzHvS9/zhjYhEEKG8RQtZ6NB5eRjUba5+9m3VpNJQUrejfOzr3JWXVuefkXI9i5GuTgkgNf9nTCtUivMzWUn/anR4oCRK13qiRcgOMcTQs955Os+ETQRs/EtgViXLj/l8UDIKZejWesZhlB41V06NcsK+35Y4TI4dFucayuyeiRAdXbgeQdDcqQzAnUt0irPSrJ+PELXdj5gly3ppmVl/adEayHOuAVQtgPIpzoklz6cMpjexlqtelqsg0OljJeyLPxRRTSmPgLyH6etdqydnCjlgpnx9homixNu5vqJhIwfaBJS80pdV1CeL94KWxWUWOPVikGs5z2U5Uchlkx7OFTJjhLHuES7T3/hOahIN8IokQ/lrXXYsHXEXFcBpxzGuUdZZvdavQXtmPR8CT7FTiFJ9/eQxps9bxNFiEtNlncn1XFGuQ7s6mrbIb9/If2WtVVpGy4VcdUkaEVGOd/ngWm9XHwy9uVLzhzAxaB4jgjLO1PfK+qWRSUJNuQbwxhBVOmFbzR1SZLXy9ov/nli6i3I6+otEvrhrq/EYOId8QzInKBosetflsIS4BeMuYaHRoSV4M6jXqsUZ3xie+Z1exReLLLBcjpTHo4aSrCl4pUoM2srHsHxrPJPKqmn8WsOIpIc1tGIs8rcBGeYVmfp0IjABV61OafTM/iP2aaOsA6XE6fW2eqTO/HnYO9jaaYe5zksMdpq9C0V1sNv0j9CClXyd5NHqU+sa0Z7RY7dr9UgW+mGzBqdJsUM3OC71A5KjeaB5sJYSYGu2+pEC95YF522WQCoZ3umyCbTzaxNxu1KmP3HZY+AZB9ywD3D3RxrfxGi/8EWxaBVTzv1KYRrdR+V6Rq//qyXFeLBHV71UmaNR8rpAnlitrB08xZ+R4EATppnbcvwf+Hq94TBbe1PUwbb7Bian3h+MrJMVrPB1iF4fs0bo5+ADSfaJZoSUp3PPFbCCFlB6CCxBV7eRzNdpHpAfwHBssguaNgyAEAGyD0ZztyVNAILMZtF5npOQWGi+aDFVaAsCwJOPM38ugKrTuthTuekKqKQwJ/5kxZUhjxMiC/PoKrHJH4GA3FulMeyPWbImiG2mn/agusu5Mwyd8YFGV8Ibd1EGue758C8M51qC6QSstatNHxmQaBjDMEy/+9p/SScH/edis06vPGpBIfmIo5lpSXnrEhcrR5XkIFOVm07YVqrbcZPS5yf7LPaEAYIxE847tX7G1oTgINQSJdrLZR8zrxwwTOKRFleGbWxUBt9c8PC9TT1cVG4xEvmkbAPo6hdwczENC21szkM4gaMNRk69ViF0f9/8gksObTGpFKwTGuezR10P4sOI6yb7pxWfS8vOPNnpQdcH9dpClcU1YoD0YZPzLxuqimnmtOVIVkfeqGqdMknyn6FFqlLZLOQvcxrnvnL9/YBEPzkFHEAOQlvj8QHI+m2T+7nDzxXljtz5E/aICPGGTqbRAWHHFLJu84WnSfYa72I9/xw2pqHYYzMHk+6tccHD1rPDfl1n/U6iFc+ortOzZR07tz7tZ42u8MkUz7P83ezFOh1GifVJCuiQx4PpfTj0+QEtXqDqZDqLgEy41m6RaUuSRq3IGDLbHW16Trtb2QYa5eOlVEKvHk2ipDOjNHXyCdc2ifMxYNgS8SEsmx3lfe3z3WMgzk4TVaxBvigVjbzMlXNaGGHJeaAjjBO7+JfnTpU8MI5csdHqWN4NjA8sA+dRh8IohQwviAKmNphYfxCA+i1AOZFMArvI93EO7yDLGFthg6tpMWJyguSAyboOTwu8RaUVWZbdN7vyDxNyxkn+3qZjSbIXUNtjdL5/+nULVseU/Ugh4gO3gy4x94T+MUKtyRXK7GN71hL2UoCf/OMAuyVVxfdYOyNtJapLsE16qQzJqXAQlNlwkJy32KbX2Af8rucaftJBn02bo0vtdxZlcAun0q+oe0hIC2lIzFUfsMzy1PQSHKXYEJL7D3swg4boq8x20Mv7fjpGZZjik+b/XGbZ1GuDZ0NreG+746Z7CXcQmUOaKgvS8mAV4uIxwEGtsZ1eXfptE9xznzE5jgVtSLJGqljCr9A4H7wBRt9rrMbKpkacHkma1NbFX/ELi52fWksBDy7iQMqL+LnistgX5hJE6WoDl01WrhZZGCNIuDV7aNAf9amUHChUjUMVSxq/tLqD6fBGIIib5cH0xojpZQMDK3HH9yx+hq0bmaLhDfo/ZdQfIJvaD27wdsXzk+SMoTXuOrz0/sVVLo9JFn5AEiB/mhcgxbEAwNcz/Ye25Rc+IrGHEf+5B0zGFI9Qz9+VV5hSlvet4LLpsofQhzSYN3Hk7X2r5fCAXTJ4bsT+AG/JvPOWNLr72huNKRpoZYGQBjYQYuH7ShDjGvcBZ3SkC0d173PgN/OliZI2/0e2Dz94w2h8UIlHpMF/eUwuyWP4r17sYY8w7Cc8P26of+40YOXWzLsEQC/f2Pi5hj9BfSFnC1vjKz3qcC5P1FC9ga+JNWllJ4CKQagAt1rDcJBaplPo5eEOgTiFyYGOKxqh/+I69gXStrMTdoA1PecBOUOvsNZhYcvsXM3n7nK6/armM6416XZHN96O37k2cp6+glnPeOkRC5DFlPlvO4wPxlLVy22oHF1NZe1CuOS/JA7lgt/0eZxWbkirMa9VcRcEEKES0ILWMvxoj4P6WIoiqXME0r/LMmd3ljXQATKUWNWSMTpl1zPL6NSXy4HkNAlqtF+OxY9BHfaoHMzls2hqud0CvqS5TL8XFwfnvvRzcTAOX79TA7+EQovbo0F+KuikqnimhgvEirmDeqFLewe7dnzNDma56WQyRGxKwP/OfD1RD1MZDsmZkiMXgR2uiFNvzKLgS27AkZcFox+f6pCaf3BK79hl4b37Hi4ZFCmBqBfsYJf2L3EXenBJZqo9VTlMK1lOcSsRrImTOYrJB07dami7zyr/xYQuMawUtboJPEzm9T87zl9eMc+KRQFOXbwwqs20euwAqiHNQDatOfIaSa/HbEZxNu87YkLMIWqT1Ppbe8XEhfLA76ZfyJMjhOv2es0WAthpQ4Kp376APLL89ND+ZcD2tkISVDRW7dAcTgHO9RYvWSP351JRgLM1UjKjnDkhC4G11CLEnjwNxdpRZeZM3jmL81dxIgYDJ4gE2d80X/oudmWKVPzxXK0zJTY0Ucac8G3FD5lTQhBVT8Mmm0hPjSt6kf1MmDIRb4T/pheMHCNfL1kPsdo832SHyRkJ7SPkGlQ+x93AunTyyf57ssdnhNMZ44+B+e/m8vVuZZHWObYMIjq0rpXWXiEUKcKJKdmTOHa7Rq3oE//kLTVBk8WvaCUOi9hxFCGOxhIrseUD34PonMPIMIbSvgc5iRBJOOF3zyLcSOIcHaxBfmOelf5nDNIWMqr4vPPmQQs8Zq9iTxCTu95FzXKNGQQEfLx/JPaQdD6X9vh05zHwBGcykkRkcVPNx8xCDiDhZcxX3McyjZ+44SQ8EehwMkH7wOkaS/AbmQ3+RjD51Hbjjtg/lZcdAi+Gz+iS7411vmZmYFoa08CwAbBRUfjZuJ23wPN5Ax1D/ZKKZ2YxhOYGoLz/TKrHbu9vqrTWlBv4JwZRKMxDg+nnuBByoj9EDNMmKeaoTvchIiPiByV1UNPc9u/QaJnccsyTsTGbgJbefKg56sxKXc1YlgDiwY33ip4yj1UF53c12ZUWRdOEOhrymYMAAGe7k0o87gz7kqCuoCtVi6/p7kRjPcT+zaL/G3bhgEqTeFiwL/DjbQ/CM59Id3j+/KvtRJy+bTEzRX3fhu4AKj8dQAPmhBES12zb776up5006IJ09yE5mvBYEpeXqWWCg2tJne2dY2YESLwc38Ckm05lFLNzutdbcB9iemkakKkCTr5y+zMvDgWrgY8uwrGZD41z7rG+9bLTOg3cMQJi/U9xUcr0S9lSWdKpa1eh56oDo+CHjgrnZ+VkUWnNpxOGt0wM+ArojHtKWjASTV00HVkTuBM7VRLI68pxlY3XbtOjS+3v4luPLR8ZWjF4nezA8/jtHFLZMhX7qroHkRGbPtu1vYvcqiGngty9I0DmGisHjei8Bby4Veku3iYvlXCgybwReO63ZhImkJrztR7AY1jAhDNBK+sqAx5Vn3FQ04m+IJgFSLWDX0zmSBH3WlBGDwyh/BJZhJY4jiOv6SA3m1qXQuo6s4+i6339NVKx6bt7LLRWAN4+KLGxkgX3XJ0SwNyq2e3FI4Rjmhro6t95Y49jocaUXBG1d6ONfoRX1Qm/h61T79ct9dfKjWJ6gVOofVhPHnLoR/QrSwY8dKc75zFLdu36zLLsmvM6kHR7y3hayRywQ1WQ6pWmFSh0Sj0nr1xqD77u+X8A88Ofqv+4e50T4fUYUebFvetCNk8ODcOe+NccsgrwqTEyn+VpLXN/hinO1zvpjjPaW3h9OfbZr7ROuk6mACfqNlnHU9FEIaApt7PnvJM7cl8yygqePuV0totbPvVZnmXzXIqxJ3KUd4Kxrbi9ILc1+388DlfbB9UTM3heIHuMaR9BDc3CLmiqd8SOB2o4DoQGvXpUzLKDz0RoqIQQSy1pyb5WKjFNz2dw5jBaN+/P3skAOvI21H/heY0iPopLdQc6ZEKXm9CFJ3iyR1fkl7qTx33p7T78jygzgs0y0IvXp/B6Umabb2xgrpNCgBf5b3QAxg2L9K+jsjbly4KYF8bQn5eigxGLrIg+JvfVnuzIkJrtHbtVmyjmY/VSam6khakK72uFv42T5/4M1m8O7HPv2zusixMKNB+b2g9DvF5QPeazJsl0+oEB0iUE18UwQq/8GTUiTfoa9QcXJ+kJR8uAExgNQUMs7PMg+t/I0huvcaZnrwnS8FwcnLQeIZtGapHd/hNdFKcoWzAWdfOuuqoEIYeo1BhollqIhJochUZ/XH55mBXYrj6Nzc++QF5wTkQkqmB89pCLuDQFS3QCnLpZ7OLMcYR/0wAuAd1+M9qEj1zTyIwQC/YHXsuqkvF87ZzIAD8E2T85ViXacG06Dp+vwqODAM38PEo6LLkvZ2LJiBLAH9O3g4VNxOgGgnZodcDe+LG/b5cSLzHAGJ7YJJS2a+aE0u2RIWWgxRfWpEluqvyw6ZGIyCGEmZ33rUU0T0lK0+ng3vjmPdyb1qPvaT3GiEKISA7y8Rl5yuq2OeIlZgTTfJ6Bn2241vxKayQWVhUCDryrgkkg7tYJs5ZNmYJiJd0msJjBDV4IKbGBkiYVR6pHZfQKEQzexQD9plruF2efOJctoXpWHE41JjaWgbMNsrEaSmUnUgY+XMEKYIhvOq1p/6ojknbsSOAdMOhzHu4I5NUB/fzCDYartTqSBMOM0TIcIDdakwwG4D+HYFyg/cvmXlZHL9Ew2dQhz7Xb8VO5uOB69jRsD3hYUP7se2tKjBVA08iKSXg89cHTmFCoL72Gb1rSRwj6cBn+T7+SFGs9QW7XM1d4Gf4eICWLdJw/mgfUFNraWZ4YqGuK/WHd3kOP60fMewKLT/TAx/gAXm6sscb5ycMGZyNT5wgjYnazXghKLiiqEBgytYdtNwQh67xk6tBVAjotiTxRsIcLDJLhcN0ys47n11vcHGGPPv37wOaJkrscBPV8cKwh98Q1pVH6Q2hlArsVTpuliLwOgl/Ss8+p/J0mM1CzmFeipoYpMZgA1VvcdQxUw0DdRlHSZSvyMt3ot4GvzIP9RmWTnxJh1/oe4ZKmLEY+yIrodHmiMAqvK0TlukD4N1wGFpcHlYVfaCjWijQMrsyBpLg++AVYcsI4WQGMzq1gcTlR+gvp/YYQk7MzsYeFMhGjssrmg2TQhhrjRK8r3D1Qo1bHeoUyMtXSpGIac06yzq9hcqJHo6p6pLP4I/dLU+C1ZawZhy/hK2aTbSPctToQrHzYVRpGfg8h7KFy7yZt4KbYIf6g820+yxD8p0B9rXU9z9hha6/G9o8wg0OUgSCw8SdalYuk1+H3xmAlywDVlRTc0I8krDt29cMX9mEoekrwmVSXsQ7NQwdUMpOVZg4K7WQeNRtzYf/4c1mJd6DJ713ztwYq+j3LjoTj3eRwYl7cBbsd2yhRT0G/GX3+yqWfE3VaZ0wfcQN6gGfjepFMo8GSMnaDamYyX84tGDpL+oJTQ7AVWBczSlBJTm3sXHV8gAkV0xbhonHKIk4bs2QYPTNwnufG5X1wwnWM+5uzJHyDHV9mJdti5BCHJgCNtcvhKGusNjiK6dT6FWAoHhcL5x+XunHsiQXZ5F8lSIG9mxTuutgQ33d7BCPzPWjq7DTf1jzFVyj42jUK5dZq31MMPhN6GORuh6ck2imjEKLcZyPdQ5VlAa04IyI8c3UmhYQv0bSCkMdPLrgBmyU1uji16740mKCOZ/pu371vkGHyqBt9jp9ItgSRwcjZfnrjr0Huu759NRC36J/yf02qO0z7WBPxS3zT2R2VBLxVvcxXwP8G1m0ATlV3ow+DFh+wJN2rj4bsUs30ed0gQdtkxkvNAYD7nlUXaiHGnY9Qo+MeZCT4Qws3+CzG4EXoeKtuLe5NcnfboNFU4sl/hsJDxRFJwc3UOR5Mjt2t0oOUHvgLXrezpaAy0I86AxakjkSGmgGGYFjWq+H/HLaa0cg3n5bK5yDYiPdcfYhDtXvKGvpdhyAGTknCWNYHETY6tu3cqBOHc9sOEmnBpH5L3OrbjPOhBQP06HWsRdIxgebVh75zAhsSfnoErXA7q5zz3skT1I8GavmR4O1/dUU9Wtj0WBUK9Qf5AiNx8FPgz7bDmPXtPYKjgzjx4HdD8MOxdDTfXHqvIiYFX2kxUcMXgmuxGUseFnuoQkvEI/FmBMrBELXpfl8m5ZPNeykl5P7Q8eRl+K/RRu/fH+Q07xWSry6Lb5odgylJbv6/YRWU414j7nzdFcTBR7xTGVfi3/m+z/syC2yTxbw/J2nz2XZltmpq+SA5HGrqxy5/mwLSf7gTxJEAeZPOawr7sORlXdkJKKItWJ5OSuzpIzCeIdA50QkguWZKALKLKFxGtlqPHAUB89M8wVPbNC9YHkcLu/NZrqQIOpM9IM2r9rmeFzikiWxRosDlFat5QxGIZoSFQHR8qTzkbDDvFevSITrfCEFEAppy5aVubf3+zAyMFWndRC8iBADASTyhnfHkXnuTB4/b1HYoogxsWKRiauKTkgOt6iEjChKAaRFRIKZ7JzqFYg3s5elIrdXNnzxsJxFAwIryQCpcYy80RJencBHOTXIOEHJqjCR/lRl/Z/Kv8L6NP0c1+mdHnr+BQj/mI/2If4A7e66p9ER373rW+cQnD9USz2oSQFDrQwfHjpdVAQnVxTOjT7Afb43TLMsZTTj5urOy/6TS68pOhhk2h+Ng06JJ+m4BwDg0PifedhLOAx8Qsl5AIq04p+JDuFM8X3RFv/841u7xzcBjNECQFLqSKHmD8GR7gE/TxLYJ3ANpo3h/GD1I+ucAx7qhSB7Q6BSA9l11QCm7uOOu23PGljLBl6mbK6C8S/FHp8zC6Wtc9kAvcY2znqiFqO47X+akLj35ELM5E6DeNP73M+Z3q7QBQQ3LzGEa+JglVBro1oEGA3xMSt0ZrSZ2Y3PoCTAW5HGq37+L/iBIpCXV8gShI6wHZrBvHCv84x4vUEi3w0EIFJkbK6hRic+TWPCB+SG7To2UwTCObi+LAAI5rFz238bkG1FoHHhQsJ7jiC31cFXJb4rwSN9QCB/kBnkTy5krlVxcYWeScVfvl5hDIjEvq4DmmhX7wdnyAecDSA2rzPsfp0VLROIj3geaFrW2qSN65R4BEAPfDh62hy9/zUDPbVuufy6H4mIspmkiluA3tXg20m0nmowig7uzZK6h9C6KckaqKOjXxoDIixCNFZ7i83Hl8HwKs6Pyz6v7bv74CsWapWGtlOkjivt3acnQCsLlU7Ji2Z+vGIqYF2pZDnYUHhLqJjUE2Tubkpktesc4henph3SZqTNSi+dBQHxzWdbjvfco9PCNI7LWaGAhojwCSM6xd1eXWwoHxae3wJrRQX8o+QO3JrTfRGuTLvU8M55/otOuMNmuHwKno2IgVxa7jJ2qPCApMjyyv0uIjJYcSf6oWUJBG4Nu1oRoHUdwU3hK0CURtihITfDmYcu7zZmTcCm007c0mYdb/9luSgc9nCp4CCymSaKaEVXVQjHdJJbCKv5QOi6Ut+p8rDz2iplM0jEESwWgu2n29M+Puwjtt3E0J+xTOx31VransXZhgNyWh+1+O+uP4q7n5P8jtnopmFjauwy/809r4sCUhErnH0S1zM+ChbknAGkjPIO8M5ik0kfL29FtNeP2CRmSFMS59FuZ1l8BBKBS57Rc21734hwmQ3M0MWHTPq4ZQBCUtC4MLNqm+v0j5lSz51hi1JcJVvKJug4KTDRUu+JVYA5pcle0sbfu799cUdV+7m8nSoVlkjYpwfqfDkkflAiVhmxlSNES4e4rWs//PxnOZL+yMlgI0EBRGezyNtGZ1JUUWxzJk24PGthciKLhdmK9zp+ujQG+BXzh5ov4xiUQ7j3O60hXD3CvJhRMZ4mhbpihyv+u8KwkWlbGgu+a00khaxI7L4ntlXlvxtjsx08APpAPs236VjnJdcPrsLdX2O20y77Fo5hsQvovqR4YPW5GnKS+yOPQvD6HmOV8kRfL950z2TrBs8J/u6Muq15ir/a7CDWli3OlzETeK9gCOk2YAr2nUxjygn72O3RQ9yNu9CGB7zeZWeBQNhTiwkzsNfdZv9ZTn5pw73LYTvUW0LOjEOxI0WTsd368t+D6bX3GZZad/WS1Ocypw5g9URgRnSORKclzOUvQozrRvyj11QP50UaqMqeBtiE9Oc5rqY6cGYFSzY8216/oOWxNxwK1zgFFxQQM4UHu0MlccnTq1UfHp9o6+wj1EFZW4yXEmS4AL5GH7+2+aw8bnloglqSM3/4hkpYBQM+OIp9qA13nHZaXNjWJM64umqAy7vR21Eb9I2SCOqhqqNIxOmTRX/TzQaMXunluUqb8iTL3M4LIn6N1I7fzOsTHPQ4/6hYJOzxiQm8T6YBGv8CStdJAcg35L/I+B4RNhWpcbJ86L4YOuIpKrW31eSkKfr6hQplTwiU6KbCEkx8MGnHLFNeBhWPfsFR7MS7HzBt+zMe1V9x8Xe/yToBYYFPW2LvyD2qvDY1QO/tWUEqk1FNWEl75oTvzkNOUwoX2yo3qScYMWOt+B9g7u9DjIFUgwDUIjaGlgZ2xmNGlXfN9M15pYcU+vi7vycxj6TM8B/pWzzArcMNJ++Gta4cpR2m4NOb/iYvRQz5GibAxOusQP8E6v19bEOqOC3wGZ2poibsYmtFmcMGe4T/qVNzWcuoPa30mgkodJgkhWgrdZDyMLCiyetO/rTT6vVkn8HxF6FbBuenl/PBpKEad3H8QM2KlkV0GOLfjDjKTh7ORmXdnEF2Ct9U0YvP+y5gN2QLAWjqkUMDvvjN7xyJoxnaaf8WWAkhXxL5hFtqrE3CAYntHpslCX3XkjRcp9fPWYhxlsFzcR+29QNz7l/s3aX4u2vPUDccdbft7NG5gn047yVNskIT7bSv4FbG1fKWvHntM/ApZY541pDTnHYFSOqnwgGGgZC5pgI+dqCBUgXkoUP2B8Pc1kZVl02gfBqodqtbMLYOtfAUpSqqY0AMnE3Ruxzs6QhPz8i8Em5cwsDCWqIyDlBvJXNw89nbNNvPAOuFyxvVp6qI4NGZnTKg/4cil2HKQX9Qhpp/3SveLCiBQR80m7hEEV61ZjsOTFTwn/B0uJj+scV8zSgWi9wo3Em9Xo0w9Szl9UjlNsjW1PeFj1sNBImgI48Mt1/gaMksq54vD7REXCmg9DBFTgCvvfP3uP/X7MJnDrMd33eODRBQpMQM8Ai0NGjaXtZ+9yU2qll5ozKWrp7LgVPKf0oo61oz7u35okSXtsCwhjOg8C65T3afPISHzu0iMm4kGKyedobOY7QWmCXHjFZHpSnahhb/t4lf47SksIIjCfFK/4CexPHhaqevIMteS6vt+vcnlEkJuYu/zESJ8T98YyCp+XCtm0PnCNn7SKT9+8NAy2g/2lrwfXTarJ7zlxlYtS56Xb6EckGL/Y4z5Qp3Wdx0/3Vq9ubRSn3DEOJOO+9ZSic4nuvLy0BfWbMeWMcjagHhR3JJ9e3fP3Uy6pXSZZa229m0SpLJq84MjmTVZP2JEPVpgnhNi8s9S6J/vwv1W7fJzuWiaZYibUuvNoO4kiYBci8UqgSIXyjM2YEXOObREaZxuFQVCg37m4X4H+YDzUTbdWU2gNUufI/hD9yvhEdmM7Gy/G4z0L292hKzSzyrH1Wa1yjvOovIQEdFckLVGMr9dnB/XQx9sPZCTz3ZAe8UC5YsglsFnonrHsrhKmY12deD52pgTuBOH4nLn3KBfHr3EWNA60CHFuRhlfyNYFfUp1WWmC7ZBfqPQGrSPVaJuL9SiUhgwqCnakCnDsBXNS8PXda++iCeIPXNjpK/+TCBrXifn/kWS+xnHsllBPxCo4BWjUibrcs8kghEBCG1zRlT8aDgbK56wiON5egt/hxS65XI3v8ac+FPKUgNfAqYhOadL9e+bmr1143QE6B/AZlBL7C2k6HeUNDj5ufPFAnJX2eyoHJ75L2wcJJ/o0zT4qmkOHqKJSPN9r5Cgbtb4M2vWGp1ISquvyizVoS3SfQKzZSlFjzhFs+YjwVE1V8L9MVJhMFwXK1Ry89s+ENWdjwiipJvS1+pkc3sgVclkDKy/wrlDRtyq5gRaeuR33bSzIk30LsR4IVyTweZ2gCtdHj51DeJ2yCy/nfn7nyEwY3HeFvT2PDQCbk2it4SK6Qv5zlSCmlVC1hCSDrFk08IqzmA/JsHCuuM6Vm+zH3ynLLR2qZJ8NoA9dsHymHOx+O71Ahj/qxrsX8EQjBOO8s25J4Y/oMWnDnFp9okm7k3VS4yCGywjF8ahk40McYrpalKah1A43S7OVFMNxjENydb7+9aev5lqZgyMKtgTYLNevwpl1zeVfbZIblQCGGWXuL2nWWPH7JZ8hHb0DG7O5a4MC7QIZr2K6lQ2ff3gMtQv/i5thREm0WdVQo7lLzyYPtl48+7NCa/JsQtUSDFFpwlZ1P+gJb4OxScQNGi8iZhKtnIljVXjPf05n1KQwxfU30Z4BltsC9XUgPmoziIOXhda5+kU9zfNTVsVGVbZKsh4DbhWeCgJf9wT80F9N1xxr783oo1zwaUwS7THtTFFoeZf2oQweXA63ubTen76uaie4feX7N7x/FJnggvxgxBjH8OTvLeGGgumAhWLNJNkZE4eqhaliO5uTsQcwHAOT/LMAE01nndqqGK3BDjDav+mIwEAkU0m/y9GO4TnNusutpEZF7mgMJZzuv2X9QLmWJBFbRczVUS89ptqv7LIw8r3lg3pQTYKzAapP0AS9UwqwThCtczIwNj61aC5lA7OXFiGZegTmnbE1J4HxIezROgMxNy9sFOTBBh7kb32T8yo5zCwHz73nviqkvfg+0o2qT3JEf/dmVMxkDzF8wn+kDUJOqtcZjmlMlAFCTBG7D/bX6KWVPDxKwM/Iv0p5Xf6YyPwEqwHYQNhZGD/swM9BvSA8KuJM27iBBJ0g+9N7J4duddW1dR5yYk9IIld0cZ4KOi5gVDr5bj7ownWVA6A2hb2/dmahYi4PraRYmF+bGq2IAB5OaFAe3hhLSn4/jc3kOjG2rzEkOq0wTjixtmfyMuqGEO3H+QROByVauiFFaxeDhlzNlt7qmY/nJHsEJCo+EIN8etlwjOXdXTxcIDjiZDXjDOK69g9WwEEPrE+Ispk/YceGGhXP5bTsJ7Bdtfm98C6ijKGOSa3f3OQppxNztsobR9+GdcxH54oD+qJbRJ2Ne6Qx5WhPIWekEZE+bw3W0uuJm0ESqK0UR5UTh6IE+/Ub9a2TggiaMFtUSZB5uEzV1EDpMPDJt6B5WS6AZnCZtNnqNBQPvtQLW0g2Cvxf3n8JyuBViwm/PINyDEfCuddYOMfPvhCBY7murcUAHd+6IYBPOxVLZW1f1gh+IUqeyYBWWPoAeZx5QQ2VhtSqSM9hFL+AAmBSVc+ZbkyvRItKcmQyfPpcf3i7f7L6SUwvPZTZp3CjCWXT0S5dK+6nqyNlgEieBL/VTYwfXL95d34cb8+1LiT15cocatWTpL0qYb6jxkT8JaK3MlXwv54uf6HGgs7bEVk9Q90f2RzIKe9CAkrP1SUHo1KIPfc423irRaOyXs0+hxjf2rms35XCUPcn1T4OxENqjTnd26HA08sbWV5+y1Vouqdgp9/ZGhswmkpfrRT7HM2LuiOUHjCcoMPy+apxKo+rgwluk7thRxCWFfEnkkSqlTToQmz4TXmC8pUK+5kHe4vVyLhcdwyvTfYejfCUmhVd4aTBPRvbX5F6uQYXfdKCUlvT6VKaE/aoZhhY/XgMRtgUuOj64koe9X2bwGvPJJIA6qTMy1PsbnBVomMkLjVL9rL4hFQA/VJD/ddujXCeVZgCnqdpiZM8hjIa9pdj6Q3GSd96oqTCtb1lDEaAnBUkCo8S8puLzrdnPRWdR9zPHZ9ETrKMlO52GbHTqXlBq9a1NuHckEWNAk+QWNus+KtAGoTTFS60fAF7usiiDzh1C6AOYQKBXDmcIzeBeEI+hqK7q0q6JrSARfIlw+ByCOCIo8D0FFuCTWpwdiXKENj8KOpeGEduxlwg04/+9ZDFsdyH07N6jMJudOoxzSPNPuyc9dxhY7U9XAQ1c2GwcI2q2fan7RpBO/UAHX5crMbwTeBk01uUktNTnZIqdvoH8qDHLNuxplPdoU9yyy63yv++LKMCJHKJ4QbxG8NSB8BGd46AklPZWII+so54Rnwk8lXf+ukopfQaiYJksSWmXPvez6xXMc9GBQ4n8AKuFUEsrGVEwxb7o6jrUm+Dh8NgInaq5B7hhcUyGFMOUUj1BHp25ymAT96c4jtcqaaIbSZEqJb/QOXISS5dUVTPmoSSRwTNXoawSHRYQJpiyRDiIwtfYmHRYduCOSdG3P2ebgodiF+fwqbJ4c/0E1BKH/SfjiBaOdY15aRRrfW2cZN4XOMJDnrTDxzi4XA76DDc/466mm2jrYd5yPk4T8ko//cdFUh2jKrKW9OmhvrWLSbFZbG9tPqmisTI7fc2mq2CXdoBWiwIYR6Hx/QjlImZIJdz6l3NiNSojMgkdUzGXd5sXvjhfiNJB4RaEoy/XxmEEVMlbgVyVbP3baq26IoYd0TtmX5QiDfz6WLuIUgrNbwaXiu5zpbBt4pKX0lf3xJ86RGxo8yhxAKyB56yhGGr09cEyEEjyclaOKKwg4fek0k8PILDk01axBtdppnSZirIOS2O2LC0kOL1hioPaTCYeKixlta6TeFxmBvrvsbjXO0ncEPyeYtRun9GHlBbONVuX+S3jxLvMGgttMPGbfRMNMydONUzw5H+9Xhe9Gih3/LlD10OyxdXuU38TyTXJTyDgvCW+A1sEeAinQjCJL8JVH9jQl1Mywr+bGVwTIZ5yAk04feLbqV0LyKL7HcTuUTu0iIuuZsJ7SqfXkdcgVM6IrEzAeAbfO0G0FyndyaUBXAcIiaC/+9CpzK2pZZZ4FhVXUTauJ0erT3LS/QVnMFab0ZoQ2tLxKSU8oAeGxAZPObgFpNmhRq2cQ+BkjehRpI/s0VS1Ciy6iABU/grGMZCQLdrIirIMk8etGx0qtkPy0R3IlVtOBvvdvM7k8xI8DsMc5TwFyfW72/TU5RhfvVCrBZYUh6ys0Uf5EqkwDEB+qRQMQx5udeUUxLbm1VLv+OcVIkZZb13U2NakjKRDoRt4bTioIbl7dirObk9NKZLVPSGg4bxTC8Qhr9gH+4n9Bl/PqwOL6BDvsctdvu9KCirFdlh3Ekc3QeSBMHObwtxo51Id+WQenikDzv48cSQQc7+UN5psg/I6eStryaTjU0Yd4qfpEjK0Cz/ysNt3iSuWZKt3h6e2JeqgVy3MVrLBXIfOakob9eCkqkvO68per+ikR6W4UvDt03JduY9az7NB5v9w7/KSQ41706Pw0t8hOmh2RLBVzi8CdrsYp+i8uBYUXQFmC2k7n8rQU0psSv8aOVlQ/eDAAP5zbTGm/pdkNVbLzn53/SSIxFuKrbjJ4YEA5AO4MH0EVSKrTcg4IR8gk3s7/UtYTR46S3zAVvfCLWBcznYft4IFH7ntT/s9r0doDGTaqzPyFV7AebBb/FDdO9kpL6lozSFZaOz9VydHzJsjczBVFLoVlA7sL0hwD8x0YGKTOf9JdzWTYrlmyaTVxMaIs4sK6vKgv6SzO9wLcegRr5+QddbRZYVKU2YIy3UXNXfi9+bS/wX/oW7aaY4DUn/quwMRbzhePIIb9qaua5FWxbRLw5PfHfe78mQ49EaYbwxbJnng3V3ONH9VX2QOh+v90sDRtjuC+BB4bgOxxUEIMVUsRa6CHj+1zC+Dn1kQHjRuvAioBDS36e8UvGmAFN/bJNajbsunFNKN7NoqwaSFXgGCojKTa339mSfnbx0s4IRKD3kaPhwTRyoHIPaL5tkZPrw57hnmwYi/uP4jqV+IP4cTn8DVWO9esC2NargZARjdYEFJzjY9V7ONewd1Im92B5w+LXUQ8ewvMGKCGdZird88GSVGAZGRy9Zz/iC1UyoRLbqQEE7j+ChlaOq5Ii9iI99+Csb256QJAt/T0QeAHrad6ctMXRbYdTEnBb4f7M0PjdF3qJlVsnPLi+6pMW8Rg8wIIClRQO8q/M/7xzL9PJhjfTXGxgLYzzh6fgncrPGZg3j4pEBoW6hCC2nQ0chvMBfW7QvXmwFUQ2PVZGBXHE1+P6dXVc2lWRDfmejtvhc89DaNbsm9GdibEquwarXpJXoeE59uVhVYK/6ktDW4kCcSabgZOM1vWidD84dymAx6QPCIvMNJ/57azmxq8IPKr2dXnYFaDsn/3ucZBe9t0hG/dkVwMyGD6KKLHhSLGQ5SexUfH3xCKCXmPU/i1i/+o0NX+X+marjB7exj83/Tqj8whRD/Ccbzb1dmBP9hQrAIO7Qq9+Cm5GEUiWVo0WW+pncCeM+Zic552l3YB0TW849a6EGxZE5/jfhTzbR4WYb3SlGp23YS4dVVedSmO2BXZjijXxz7Zi66uJf7JgtFkxg9aM0iHJl9JwZx0QO+Fvd5h3L1ibkF+z42psPDe0hSH/zeXc+dL/8SJgzKR0A9yWoShViaxrNcRSJaOfyV21iNL6Qm85zHsZRSqpa3hitKQbPhdTN+gkf4hPjQX9N0XwTzDhPVCm0GgVgl61iashIWvqPX6JtuPH9LruI/48auy4XAqeuOhfA5pzHFNnP7TDG8ymmMIRY8Ru/zLLmaSOlcw4KHbGQQ3BIQL3o91ewGuoxBOsWwiXBdptXeX4Yscc5BldOWD5x4hVP6ZuJ1dp6egk8U1Yny5QZULs7LY9FBOsjPmTUof28B9/50byDsfADQBVDPPZrBxdBvT99ep4o9+OcbGf97cIIkcXj46j999+Ih+Z35FHm4TbwYrgQsDDfvpLrJltrccj4Au2/3oLxoxBgAfx5vbtY/9U137A5evPW+jfqo896MiWr/8mUQM/HgIBdAhJZdBBwb4YbZaEl+7RBVbXKxotRFdRnkt4oHZbzerxHQaQRiCiEWW1nyU27VuX/FkpImCOcvtFg0Pb5LMfAa3YOXCDmHE7NSZ76Hi8alPnTrzY6sXXOAwjkzB8Hpf0F8yOQDg0MXLo6BGJaTYwe4xGV+Nzm+G8EI89A4XVSVXU8LIfvuLIQNF14fugVJDTicLd6Jdv1d7O/3GaiqYM3c1UysXHMXqyNtI5zJI3tQyZTuA8MHt0jKUaM3CnBMJkwWi3cjmOJEzLDsWCX+QhG6Oa0yD7PJwkjvDlsCVFXj5hlV15/MS74l/OQ==">
            <a:extLst>
              <a:ext uri="{FF2B5EF4-FFF2-40B4-BE49-F238E27FC236}">
                <a16:creationId xmlns:a16="http://schemas.microsoft.com/office/drawing/2014/main" id="{E39316D0-7172-4011-828F-209994941A0C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325789" y="2098760"/>
            <a:ext cx="1869122" cy="416631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8kHPZZtkeLLZb/7Ewo56VAd5TeI9FPIwN6WDLhFMhv/MH65fe5xlYOhVA0OJPsN7TDCFSd/ZKNLZEDdlVL03C/cOVCOWBaUw0RByX52Qo1xyrFWTY/y1KQ0L4TsMj/rlrnqIXZFp6LaMeQBV/JqX2dEabJvAwzLB+b22U++wR00WFPOVBufS+BQ0QScivr8lRsvzrmb88uV3WrCepk/78r6hFXkMvc4Dr1AWTuz2zHS9ePJxzF701KavrHbc+I0GvvwQBadmIlzMvIku3TI9Km4/kpNSdBpa6JaxvZaLC/hHjaUgjMLICn3UTcjkFcMh21luhJv5C4DDD4Rgx1K+nKqWEj3mIKLdA4eePiqlHUsYM5oG58bH2XSZC6oIIoKt6gdQ/+KTH5h8FarmA40MOUzwjUs0Mc3p/+6BoMuyE1D3CVHB5VgBwDV6pmAAzEjHw12wYxktaw/WpyfVxnAEKr2vZEElVY1PEA09+Ul5OWXZWuRmohSfpEmrUOl1QE0Q7XjQYaY29JhlUKL9qeH6CN2grce7H5hrVJX0DWQBx9qy1cppiZL3/QjMJT7gSpQNW3Sqif8ebx0SsmYHtZw392bl/3aZ0GtHnOFHUbtWW4REd+UpBy7mrnAD4kne0hjMqn0PKF3IAmn0NZlAIOL7FlUKSDdzp9omhR/4yQ2GcKMZhj+mXgHyzNiXPYb2Q83yVM14+g9rLprSPGWDDrisRE3pLgdcY3GXUiK+75xWXGQeO8k525mSq/jkar2oLet5BvQvHW+dGr55qoFL+RptGzhHYBXG5qInTDhbQPmxyUpbgOYKJVe5hm4N+oxzdW/U/Jd18o02nEaCNCbVWfoBwnH7GEX2CZK9DvwUpcd0vHz/nqLw1XC2dPY4zZ5H1zBAaN9ZgiFwB/2tkC57dkvfwDTpYzU4rSw1Vmh+FMI/A7FJI6XFM+1D9/9cMRkrxG8o9V19ePbrEBDGDwKD9nHZSV5/WOOqbQkZsVsoL+jN1cmDs87zqOJ3YAlEh+5GzADc5BxykKVZknreZtfDCDnUzUDd3Sr5rhGphqzEDq/mEdCrpBijp3fsZwFwm9EJDnvaDUu4WZjRrX2+K0KCmpXx4kOJxgQk13gTh2EwwQqRtKcCxccqxbz2XvCCBtEkM0d1eWWC9ytuJfchBPtMJOBvXsx+SLvReJp82Eefa4hwWTXJ2Wj97EEiJxvv/QJYrb94bh/Op5r/JFizx7LGCutUOEqmNyOkNBVfM4XthgthYqeV5gfS0z2S/cF91eB8N9xmtDqvskYa+yzPbwHlV0zI/i2SJshZvYLGyOe9P6fN1TFE0De0xMT74fN/iFClryj8TDKg6EO5EoBMWnXDKz2ZbOs/5UMi3Egz2d49/jeSFnQGLBaZJRWIndnROphyyQ9XsG812lguAdyYS/eVAjq0RMV6SjknsXc1jqxdfFRKSbGkoJ1hnVXjrAdDAST2qv8BzHSh5eo7nXTff/0BTLOEpvjNVOVS+yoByZtjWBpn2MYOJP8CqOqz9Kzgv61AQ6NHJRP138+6Oo4+fXKVtmAEMoe3/T375KBaEZbEe2FfYRntI4ude8hfVgGNXD5UOn3lGkw7F1k4Rmc+dXAPk6CdCVnMTHZbAoZ2I5QIFQzZq8d1UbM48iOQFXD2wH85a2fF2IqEGsZ6wJrsbpBVpuYxhQAV9yhmGn2yLwl5EXJ5+M6W9rq2bxy2Xpg4LJEbfbKTv2MTHUWIhX9iydgi3x/r+0BAnsH+QG5nHXKdGkhm0DlqQGyvZwOiN5w2fKrYM6NI0zOkiBHN50cgTlyUwKfKT61lq9RRDQRwRrImLSMKR78n/t+WpqLYLetKEBr0F5Cny8e/9m7Wpl++I0IVWcEdG+RGst9VQzdnYAFLm7GMKoQerOtmbDGgzhnWSCgKgnvEvyYifEJpPK/Kr5chBOP4/ADd6bZNlIZNIkPBtdHLW9VJBaFQJ1hjaWtwDe+xLZdzc6GU3YeNmT1dfPRCqezd0jFC3FvP1934I85QN8qIVBoTa6eTVfoQgzVXAWZskZXhzfMHgMaI4NVs8durnrmjTD327Q8g5NGMp+4VH//Ev57vprcqSi/jTJisF2G4RNe0qEAaikusqUamMyEFQyOOss4gRjoo0qzfxDFZNh0eJU5i+6duS4HCueO0LDyCKfjkvxZKFPOpOa9XkU0qiI4edUMAW2l6lCMmrmdA17zwvT/a5+FtfKNnv2LA3AhWSSDEHWOpeo1pMe3I7KFspgsCZ9U3gc0O41yiktB3eGqZMPZkBidM+5a7B3C7pwaJE7cBNM6ofUNx/WdfTGBZMrJ5ZR3QqpRww7FvhgRXKHrnXx6FGJR06MJr9KKRy6QEFUP7myi9TSBP5fRkWfhzVg1vdV5z9nQQ9v4n+2BHk6LMYRUS0In8x6sM2/ZWmtfLCXVTj1nJcnmD4trxgmuKoI3nqTieZo6rqmV+lKSHbH4OrBdwb8wflC+TXFoTn/eshJG2Yzev46myg0fdYhnq43nDu5+Nb4Oj53a80kAN52IJSTVrOJ1y6o2OmDIZ9pPv1dmOmDCo6aKtgkJAZpjehWz5dQ/jScoKVXKmCqTdYqhJaFIv5WgKcVmTSL0A/0Sj2hJO/jWbxjTen7JDN/qc32CVzsO7aGWoSNnnSOO+/nkZsCQ1jt/foDBc7kbd+nTyoRvjsK25+By1VMZSbgVZvhzNItY4g41qlo+iy3Uyc9opqn+wyyUhDDP74dw+kJ20UyjuJqI0D/HIGtH1aSA/XfVvo5Pn/LaPl9bsefxuZmP7mbE0PssRIL5dwhNM4rrfFtz6YVc3Cwr9uTp0YQvwoLl5bRcOjtzyCR4YizWBEE84WRh6HrOivy9rEv3PiAovxj14HIhFhHjy9RGGMxdVMRVe5KnUSP2tvZBlQtyecWVpUp8KtGAsmmijB1S5GwcISd25uGcJFNPoQR7vcIs2hfHJKq25nb1M4n4ROWCVxMSUj1+ZTAi46gV+yEpa8k97pwIS3VBFYFMw19OTupKir+sXwQg34KUtLjHhm01N9P6pN71vu3Mkp1vdJqOufV8EzeFLFqRF/dZfkfsySMmP2nPr+6G5GGWubt94ungoFTffutlZqirAvGhD8VgBjGa7WdTO4+ntz9RCHltho2iNH/6dXPR1VSniHAXy5yTrwEbsVM4ynk28ze61fVoPwETd4IUnK+DODMiVl7wadpNd20djQRAYyVwStY5B/aNOpcd/YafGFEzVwrFoPxoTmv8oNtL7BAQwERlpnsiiVE70gwXEdvIewawlVKbchEyMJi84AC/TOph/32rGfTPK2hgrXfLFe5MS6O4BoSx5E3lu6bAK3MJx1c8eoUY4OgjOvQ5f5Lm1andQWNF03L59VNNjdHtC5VB0lcfCrIngcn1IAmlOZnOUwZvseNT3duhpsJw0tSTzvAw5J2DS0m4cPgVdF5z7dgkuGorA3+xpHOVVsw6KnDGO171IIpf3kK+uc52UanwjM2CDI5BRNfgbuwsT0NhU0nGKctWJoSfBTWFruVOyGEMRkQykV43VqISoBMMVdpliLhZqkjqw/Jdt4thh3AdMCCigsJZCEDYWICnprr9rmdEGXjEZYiwKgLVd2p8XRIeWPzGIpqvViBZSG9MeKWW3iOOelgpFe5sU2Nf9XxcSuZ0j96r/KsyFcSH7CVc596OdoO8Rj4olhyAM4BdAcW9d1hTEB1+KvXDiwrjp/9jyHcX8+LC5V/lCEY+9LuhhBQFGFlhD8QlR9JlVWjzj4OCudQqJ97TD2kybvXN4hS2BW7jTmMDQwvDCH+bdp6BRh2KIGDXFhYqP9oFxJ9RoP5q7GBqHq+F3n1L7xiqTPWqfUkgPrA/fnDS5XZa44zqwY6R5TqM1pbda6HeS8pvqpVbKYnuCIAZ+CRyKW4aXoxFhJf2vlV4fdrjnZQqJ9uqg7rH/rhRa07EW0OPOzH71h7uKjUj5NP0kP+wtK/Ar2z3KJ9fSAN+ztMnNHBA03vUE/HKV1PWyKfdFSo/3WXv1q6Zv6TiGHnHGQU1cpZGsIfRsXzKtFj5MAZT40K5agwK5sS2TuDYJBQs7Alsk68j0po1IWRqXFPbn6j74FqaM0LcCA9I9ECQfEEnFCs3VOApYagQ5JlTGPlppptTv0NCrNfIMzcz+vbsZY1Von+V6lOEs3nndmHQGufaZf1YO3i1+NW71yZ3y4q4J5L1N3+JSKqMph0/49QU5KlFLhNtlbeNHP9vtqkpZ+c0fiLCUf4rpqmE7sVQY3onfSyVQHY0mcF5nTBOx2z6vBH2wsU7NTWU0pVLwLOXsYpwWIVpQ4GXHxB1TVO0YhQYprXiBp6c6lBfS/zYIqLxQf97MGG81/QA751lb2AZ2FsCeVMwU/p9YyTk670OfgHkg8kMpO8bpCHkCuo5HPWKDFLw99bYzZdqRUbX4R+Fd5fY0CW0g6euzVUmkeYcvRVFLVXqYBAsVrNJW1hot3s/1FtmM9W+Q+c/xMe0mOB8c5kEHAJbGT8yGvCrMnY83lHxD3DvFw9IlWdvRvbE58u0UVyHhPiNURYJnMsIYzuXHJlynlZ7vPPcFlSoV3AuIj2eortFSSjy7lxqAXQ/1VHcjV83l15t103/FFeRRLn8vbYQ4v4n9ansaxElVdKmzqT4HVEbxcXDwTeTC+8CpFO3keO4pV4HPIztTuUBuwKzV/gT4o7fQLDFmAfydHMAFxP+pneIgHuf7iLyYCMCOcGLvDPRqiAamrMKAgnYV4n9v9NAsGwSM25XEbujkHLXTvHpy9d7J4G1SE9j3FnTHhghkM/ZAHGMp/CPH9xlPQVMRVByCl7bPJfmy3hQiBz8gS+TVQFc4MklunHbPCnNtc7QrZz88lijPNGtAcz1keapOSR/nF6dhLhD5ETyxZpjQR9t+0cmbm4JOLdFWpLMbAAU6LFPfFCH52OUzUsc8vt/k+oOqboNmu/ghKKaTnxPBebZv98RSldDzAGNtkPXx9hp2kQpqjBnU1et4RzhYBGilW7X76tW8SQGKIQhKtisBjtADivwR+tBUkeMZtFHe2LyL+Zc2tGtO20YtajW4zdYMLzwLNlDJhnTGjtiDn0ccAGpcANtL3/eaggvU068YuoUpA2MKEGeZ3HaXFHi6xvFf47BVdfb/bTv64S0h4/3yY0V/wwPM0IomS1VE/DLc3j9rPr+3JJmp7Dh/66DUq/lAhCeUxCUHrTBQNaiovh8canXYFW8RdJtgNxNfboaHaJbMFuaH6FuuRYobsOHX+MqeRtEjC5iC5PmsSE0XVLJG+7SjWthXEqA07r9xfFE2qDlHVxDRjowk+CbG5RscfbLCbVRp+eHiREEjA2yRRSTLn48zhFbjym/FsyG/W/+edLqc+fw4A+jCRZwbEgCS5YYdCfp9wrK6wlGcx4XGBFL/0s95j6BnmiFyhrKFpyCc6egp8XXOZbd83Qx8E2YLtNYn/+a2cYWsg19+FnwzqGATb4QwY+fWOvYxQIdJoohC7wjQKV9ZoV4PAf2oHCT+HR6tjAZXOexDDLWpZIM/8bYsqOmhhqW87vtYbZduS+Lr4fCBMNETw0fZ0c3A/szSlRQg/gdNNqOGA02CtizvE20Xa6ziIuV0RHRxspjlnOjDg+OWAZ30pCqTeEIfAJW1ZKIjDtIdx1J37sCqj5CI8gPPfFgjuH3hukXgSU1acVgRYydi9bIzxpKhm7w6trqYBVOUeD4HqBhxUtFeM3gEJ1S2z0DjS3xCVrTdFmARKy3dj57FU7ufIoxEwF/1R0PeplOp/LLPZoQfGShdsV0lfSptXYlAifg9bCHqR1fsvv6bITHRDuRt/8gA+uIO4F0+EPAExFHzraQNOS7oeROuE6QQeHuiCZJ19LLYHadAnTe3d1RjmtRvo7AjTkKP8U/tS05DcHpgHB+ZfxI0fL2Ey8qz7liF/rK9LsTi+FaktMlihbhfpFJq+Vl7BuLXCudZH2TLdDQSEyyxDK4KqJlic+m2Y7Kla5Wpym4MRCY6W3Gdtmu2sihdHVxjK4EwhOOqSf0HM9oTwtIJYPRLiIsekWgeD/41K9VJ1tYp/fubwSap0NmiZMMZa8rB064GxnaWHEsLEW33QIjRF0dffzvCFNwLpqASvCd4aLtdcNHS998Jmy72Hv9ITLa+kD7yxA3mCKDydo1xbjDvAzZEOH7eiuEsAR5GBDv3GGDYait+JJxJ0YGw1M2iBF0xRN5VI83cww+lApriBDCigIVLG5SZUU2GvVc1+T3xL8XXY/jeBP5bReDq0UTAQrlasQradVfrcaXrFvJBfwmdB5wi3hvCRGdMBUyiUISJ8tlH6xUz3TqzCeBYnlV8uzz5jtU282VhHb4NaaXgGRa89uG5i1ZO/5CVxbU5Y5ZId7WPIAqQ7umRdVEVoXveRNp0gXun0Ik5UT0oDVU3Yn/JivDrJO73VXfXGv7TL1Z3WUyn8Y3hJ4d2XvNcg6uGNBpLGf09rF5U5u1i1vaPfW8/F/03W0GTCAVnD0xrWu1x7sc7UBepoTIm2IGSngMbXyV1bkYT2Ullzw9+zOlmNrAISes7UWb+yK5XUqj6Yy4WmXqyPfgwDe2H2LnSGkXdjLGdle8kYiEDYd0ztAV4yUeuK6U5HfwB/Onljz+Q8Lx2EFoJSehOJRl8Nq/MBFC5gm1T1DP0xf1/iny5hNuxfZ4Pe8OQPQ5QLZfMHh36enXdFe18MtgsMf6qNP2vRsecVyNVJjTHTvpt5ouedgCCwNpoJb05/xefNf+iPQfGwwWPceXXaUC5qkxuiZtkzF6xJg/I2fNwBn2o2KkOBaoVlzdiElQ4RVLN5pEVKoT6xdv96Cd6LSGkXXMYZi/+AYUumOn+bv+y3plyVAg9rZfoTC1Xme4PyF+wIpCP+eemhOYyetbhEL03u2WT0JOmrzO1lY6h3z7ehfsFF8dbPs0S6sr20xZnYiULMjZjCSbh1fABtAR55zw9YR0cAJASSCq5WLzscBsjMotJHTiyLdrZjAronVZ57d31ageg0GRVp9JjN3/zNXoRlZFsJp36wEvF+boHNjwlA+v64gfK87kiYtYwKB4b3OfSre3K5wTuCz3KXCQQkrxnoXhb+VgD9hnRIe7iV0l8/Fa5JiYglRcxcKEvF0bqU0N5qnNjph7c+58p/piIJPH9/xoDGtptIiofS8Cvk8N3ke/ZjtYvonqkHkzU6FhAeaM+EpYrPBMTmeq7jLf/IuvQ7/j6xGLTzoqNupDQGJdv8vf32Zwh0y49R3xAYpzQqTYvmDcW1959HRKKJAChm+3Dgn2eRInRd6G8tzbETJxvJVRKbVZz/rv6brZhoLv+3Gqouh9vduswqPzfPF5PSS3W1So8omr7ewyq9HTGLR/L5iBuwKIpzBhh9EmduB/WLyOQ410Yx4pOFA9noHYuammpmMo3d8ofJSBbLEzt217Wy8DgrO9gfUbljXYo/trbqoKE4OXltug4w/hLOwuJtynL75W0UC7TniCHKh3SVqi3OG+YB6GQdA+otw+KE0H+qWn86y7FcCHZMnNTcVJoVlYSxwWETxPGFrUnXuBQO5iWqP05uJfQ6IAWh9Oorc1781O1yY80zbIbgttIVV6WrkUKshINzQmBE51WOL0r/D9pwM7wZmMp43Jjc9gLrfH3/Z/a2adoLpG4RUgRMkMpPyj/17gbhEzdVTXd6oLgkyLsqhrNEQ085VpMKFSTHHA+wm1TSLp3SS/p6GmRGIWzLz4+8w5JpzDBcVP4jZIA2aHUB/uSJtsLMOwU85B2/70Sq/wrYfHwDU3USUMGdldb6SalH4uXpzWU9vDdkAYxXJU2DqNoAZsAD2HlXDaXB4aTHNA38W9C0zjeI6HYqtoX9+0mEySoliy2xEAXHzLkteSXFZ0e+KNGCeUkLhDX3dveJ2KyoYQnwiVRjJA2WreN5GXwCjpX5UiyA1Tpf60ZJXSrlDDReNK8wFWskQyQ9apP/DMuXyDQhtz/WPqo1MQEZIt2MmIEWSG9VDitzD36TljsRl2S4Xs3Nrv2LDVKM4wg6TyQ7Q7TGSzQj4+nB63oumlDavM/EVkfK7plUTcNyAI8ZaRMPbzZJG4cn2Y+EmaU/axh0Ylj+xjOicdGlNx/hiiOS7r45ZVQgnmaDZTYp7OtF4p6S65umk8LmYVW9awxE1zupXpnj712AyBmWXHq75WDX3HKyQHHFDG6IiRpzNXRhhjko7DRLZDwZ+Sg4O/VX0ka08zyeFVXcJoB+GPj905pLJBy6LFxHeyncncNAsv9YPaPvBtj5wogThPId2EiDNMyf2mEfuo1NA8tWee5sTff9n9JyHch8Io6esCvNC6xjLoRGXc4GAq1qFhF53PiccRU1mYr6H/6uPOzDy+B459jlS31BhlRkorxdhaX0UXsNWiEPn6hJOaTAneglf2uakbx8kj8TJ+fzaNNCG8dvGjJh5OQYESTLCLjn7V/NBgJIf0K5e2k84+/AvlAbX52ot91GgZxiAB1ADaCo9eMI3OgF6FbyXztqvx+Wv8QBchE+p3A+uSGG0Egyhna5BYyBjsf87Kv2VFrcnZ/DLZLe+TuwEZLSBV4LjGKdt9ja+NBKJ6nDnsD8RTdpTGj2hwtbj4Y6QUJZefN9VIRtmujwZeczLPRMeBGwNDOVCrgNRGzp7oZ0GpGJmyBOCFZeoJAdDP7b3j/qQt6s9Wz4qXHPh44goazhL0bL37vEBSA+bfrSUHxV3GOP2o5elS6spXkmWadYJVSDGyHdvSS8xOQFJWO+VYdFWvUu3D+L/GCk6AHeUYihFXPyCCAqnDclVj5yojR3n5/tYN7iB+ci65P5gTqRWE2UGay4kpUQ3Ejp2pu4KUb0duxVI1pxODb5Sv7ye1yiCveeScjDtCNGu0/gEtR6IPYfncGjxWEpPA/wDH0AMH5h21qQ8HNUEkog9Y2V9O3FnKF48JVLc09997FfPN2ERfkO6gQcKdxPziar0CaNmkOwz3OhIWvtjMgKQ+6dJvS/pqN8zuHeyEEIX39xZdXtvMa4RGOgIv/S9/Ye4sQQWY9Omst1vuexmdT2ojDq5u+Rm4y4ouDuoMNspy4LsP6q+HYRccyrglR2k908egfRRp03dMXvPfGvF/7rp25l8NubDnHcehDl2uIkYIg48kTG0X7PqKEHO/lqv/xQvfH4vY2s8TndMY5G6/R3kLnyyPokiN6pLb6g066JioQJtnvN0VUK/GLLadS0Ka48cUi9OlAC9txRPPovdCCg5hvH0hc/nVCse+xU8QXzGtMDwf9RNI+By+rHNfi6Co97xCapLJDEfkBaX6yowh5oTuWd5rkXMvXswqiORh7Oq7PVn7Eu98d9uljluIOEx0wKqeyAOBloayJ0KB/oM68rps1KauMd3OhDj4WTg3aqAvwsukC3Tsag5qlKUyJ2pwWuxzHpwxO+/i68/OJetrKPAi00ArKM7JKsqyIOR4CbCtYB1oVd4oVDfH+Oafk83f3KsCk7K2ELtHbXAFzTQDHeqKzmzCERE6T8gg4ay11ASJCXWfFgpmJvg90dD6IrVZ/mdYotBcTryFcYsMPlLs95aBm9wPExF+SMoOmrP8wbHHx4z7+rgkV95rubirV2ulVPNgxdybQAQsRgVc26BzjvkpTbum8VziatRj3q3Fv+8AJNGrQEHAACzgT/+Wqa+n02e4uzJVXW395G2fhp4bRlnOb64P8afOzA7c4JkYgcZAcn2XdL61iYQeUtCHHg/HC0NlJ6upFfUg7qX8zfNrujQTUCBjzvKkmDIYcwNe1P/VEiY+eQ+HIETRt4bWYXXnAvcPnKz3/a43wbnCsuZr4QyQs7bkT+ZOA2kSE/kqLIMHn0EQ1/QbwqJizifhXtqn3xOu0YgiJBEvglcItPWSMS+7xp27ut6KNE7OGfNgOnJgp1GZbAvEkh72LV5j9ErIgFzehP+h8l914v3w1GktdH1RnTBZH1Wi0C9d0FEbCSDWsj0kH7XGdVcNLR6R+cviw56xp370CfZB0wMHb1gP5S8s5xqSIHaAYMTu/oNqNgpBkE3vRSP++clLJPhfsIeTQ0l9u1HYjiEJs9sOOo7GRhYouIxjUE90VySrrXqdv0XTn01BtvJEHSNZiimN4LSoI1LWvDe1iuhguSDgOT3OWCY53zvy3vv9WGr/e5/xQMWnbIUQhkvC2EXqoQ1LUfyMPC3ggE+zaAcGczDXW5GH+RnM6torpwkr/w6XgD7u3eDlQmudgvgqPb74zokrlGrJJo1mV7vKKddNU6dp8r5eWo6b7rtHrKgQw+09hX526UFKzSDRsrbzrUjmKZlaoCqUk6HKBdvaUF7/26mqxWNIjv1wocHkQY1lL2T8uTEAQ+Rrq60Xq3xKe20ArvA471kUpgXWGif5dz9hP89iI+AIX3sbicE87SeExKBNPA10WOg13gbhzHYS+jTrbm+kB1wzjkMbF0ynbQTc1G8OJ3bKP1mtegEwwdc9ziM4ONCZXmMBht4VyBXtpbNl9eGsP3gpu8mP1ElgVH4upOVsJKzmTorkAVR2OAIm4A+A8pUibhBFYIkiLdrf8b1kUEkTtbY6jFlbiJ5su7AfDvy6I9bgpIIV2lGEb9TrOkt9kZNxVypuzhTIpDi9tIAJIxlcboPC37wLyAKtCq/6JTfop8pHtAhApeA9j8R4C7o+cgLBvYZ6AiLpWcT/+Ig9LFcfDRvNtb5RJv+wSJ6WD/FTaoDdfp994VCyQA5LLtluTwtzSi4Shx3RyQCDX99wBo6lDDJR26F3AtPPCsP8/m5nLOqxJVqKO/RhVuF0oXaxn98h9piF4QG//r/5TgzY81GVwQ0gVlune6qYJKcMyrRtAdJHSIK4/Ubt0zpiDcs0hZ/skMNuvCbOThPvBNVieRaiKTNuWs3mCLdPILP0zYbTGfyzIEI4BozqFVlV7tqpAP6UhjL7m3wu5jbpS3OE0jSHFxspTJuFl13ROXCWp1lT9Uqn+q6XBK8+hsbQeQttOZEA7cBWRB10mAlLrReuxdWEW7DyWKcHr1DZhhOq9kwITJRpOLtmBCvp/2XDYVhOf1VRkP8nAC/LOr4nP5gDXcqW7Rx28aIqMjwaCbW5YUE4kGRF3uBvgyUCgLU7pN9Yd+nxQ6QVT3nXys8n6ESn+Vo9V3lkezWFBhSuhmdsnP3eSm8ascpJ5Oeu3LXk1Vfim8tfpkkgkYcvfbP0P1kZdUo8wXPLC0XWcblMe4iqH8uIwxIMD3KXO8IsbjqbinNpe32TVpBDmFU3Eim7dl4fH+7Wky9NIFArz+JmrG3XvpI5tMCIndUSQCCIE53E54ZhNUD/dDoiT/qHxay8TPTWxEvl+nwPvKY0UK5Zl0xXDsWbFD/t8UrmUBKqVM43wrMmWypaSIAThDv7zL42yg5UEwaWtNQseQr/WWJqvZvbiVGrJM5UmQVDNMTfAUW8XWGlEcmeWdmnClMeXEQm7qjzbfmYcxzQJ915M8XnqSpbxlm9WjKtwwXp8YJn9cJ1mZbnAaHE9bjLhpJb0dglkxC1Mt47oqLfocPhv1OuivQN+1fIJFv0EbCCAZesB/cwkaBon7dBWlrQfu9CGEAy6OIdz+Qdzfp6+jp8EItmwDQVQcl9M2YEccX/5RWue+/6vHBShDbFTnIv4E3bX4eYdmUMbVpMDhmCf80yJ3FASQrvUTMmS4yPlPFcLemxctPK8zR7pG10Oqn/30UEYnWIkrCFdYBfCiOmTKl29SosI8FkLdCJBw+zqEsH2S9HQS9oa4dzlhQ6TWQAmTlOwejKPhhHwob2gFPbP4Qedf9AjgdJp0UuovH4zxeA8FWVe4sqVWbEb+4M9NSOVCVw18yTTvO5YW10XEIO7c843vOpkbMT5fWbJ0JzTHt+X+Pg13ZIRiJ35k7olnK5XfPKUj7jPN0LF06cR226bbg1mNMIMSggQbBNGWr8Gk/cyDbF3ezjCb690pvpvHVRLDM+b2L3vRFS2TQcI/OKviXRU0CzpuA3m/k8uZ/snnbYmhIMMgEoYec0IQ2uFbA8FkSMPWj6SGF8L6RM5sqx5LY1bDB9kjqd1ipnyYqoWyu+31Zj4opOch3wxKKv7NERe5jNfnBQgggFMWiPsPE15DoNMF7piz/wV/1sqImENUOUjpdTZyrV4U94nOZDl+z5kNL8vTBagr0m/mFDSvRGW6JpMZFk1pLlsyl2RzlSmJmJXnbvA9yjFLR4ZnCLQBqxv9Agh9Yu6bo0QDMXuRA9cSLHtVEXKVbIRhWEsnHRVJWLD5gmPuPnWzzIkb4O/tbJpDpXiy11ySvVm6v95TEiXXVsmz4XaNEZu9qfuEzW/7y9jstPRMnjWAzXIpYYBdpTyLcI7PagICTu95N3pZ3lKtWhRnn3IQHqLgfHhqfn4/GLxJwZC3mTRkGEXAJR6xHpvOwahMG+kz1jCuLFDKKX2XC/O5fqE+5t4UYVCuRmfr4G1SfYIXEMJbDCdgo2OeZ2EoOy5lkqPQdVyGeaTa4MgbLjI6ki14aTFIN9q8xeKm7z6qTl5LpVbnVQwfQpvD0gL0RIfwT5wJHTSKs6YAvWHeUH5OvVYHUkbqiDUOgMBJ50DmvGl42Z1YADmmSU4/LNOF46C76SMrZF9kN7hq7aXARhMuTon4tn68oHL7Ax/9eSwVw8UeFGl8RQvqdOjeMvoYotm9o+3BfJ8d3jiQZYiBz0JzCW0a7Ccraz1Gc8imYKxpvKV/f0Oaai+eUCiyX5w4UKTAMB1NmxFfR9zifqYYyJCidJPVdpOvEFQmKj0Svqi/EhwBr7WaBQTJJ9UIbTqWxYXgZIm/70IhD+BK51j7BpLOs0DxE10o7+xxBnFCfzRjzz1gQS/rBF6PB2c1KBML4ublNXN9OC8NX+yQlxVuoCp6IJMCeHMHLhCmKDPPYat6HsgUiXnkeplmBnVpHSmX7cvKuakFQm54oHxcSit8KE3rAOVQhrd3WQcNwwqjoPPcAZB32bIvl+H2G5MzLiFxFXhv+Trz5GWJK0aOXB6HDPPUjECRvaGQNCYor1jmahMpsBx+MPgWMi7Iuc7yTrEA7ONaOBxTY47fsEotdlgVp7v/03pwOMowFrSrwshZAxjQBdtgEiYiiW/+YObEXq9mdgEH5VdOpyhlCFTlz1K/9nR47Pj1M0ZWvn/N4lwh3tKoN7wgU6sQPH7dD6CjN1e/pm3jD7iSqxGRPLnthLUpZHPJdEWFizi+DlQsPMLGuK+qO3w2oPAK8RuE951uzysC/loQtWXq3/FWbrdyHSimqFZRWugQOty7gEam5UYqiJdm5dAv1bdsNmFD558wHq5v0Y6RjKRGkGwS02CFIxY1EeKP5r2eFDChCBCT4Ctmg8myzNo7BL8mEQnmAGCBDbXHLQNtqGfzi42nBE6swysC218MHJ9QIL9yOmbs2gd9gzW3UsTs1z+4jfjpWAAat8N6Ouo7XP60fWrioSb3GjPKtgLi+BVdDlvTNpG3JaGf4bYJtspfb+Z/5HOuK7rA34F9h+cxHaN0nsBcqXm3UAw+Tvyk2tui9hC2MgTrK3PfUxCIc77Zoud9boQxEykv6mXH0FskJ5j+tQWnuVY8h4uQsM0j8Chw39zKdTUThLYw8nbqLP8OUW2/uulvyhCYC6T6divVe/fdkZpMW7ai0wYeow6OM/KOzlmbnVF6QCC2074VqIS/B70nS3T2+kboqbUOjtZLxcXn8qb5qlrt/e87TNRbYjs7xWdOsqUe++86wU8ZALCBsXekmBr1FRaiyeWNXlnGsOytEO58oZktdU+6256pvCQrnVyGbvXsOjxAa8G7DN0o9UDtPfAjsIUagmhy0rGAVjcwKaNxk8voScQlIfDlWRBk3PXE/GFH9ZZGKTcP+dUgDu9K2Jn45lGQqjjXdkxp/CJY6KjNNSmUMw6YSv/dCmShIp60heaMXKq1AGYQHp+aIXqBTagma+bhgydRRpr7Eu+p/RqbXJCIepuY40fdJyKukiqEuEV9aoSuYcCpMq6fW8Zg/a9sYHycxshPfxuk5rh53Zc1gBNx+kIYJz+7TNQszPlqHiwS2iqGNrQ8dofM9yZw3pVGlWMyUSvBOLIlyFQVrhoU3QHR47L8e36G9Z+CNgTd+ctdTO/72Jga6ZYK6Xfukx5nY9P8Nvoib5qZUPp4IKKI5HKEfYdQqygJ5sXmq7iO1OR/BTA5oiokwCQQj8Olaxbus90ngEGYxenCftaNG7JDkgGen0M3iKPxPwwnqq4YcmooZC4bqV5m97+4MeCiWuXVsht3+pvFVC2Bv6XApq1qbXiD6oAapCM7f6UWrSkBYEjvgJpIZkgb2otH1v8u4osvv4nzBG6xYt9iSsYW8Ta7L0AE6MSx9wbqOjXk3YBmmMxQmPAhe68WpnlpvQu/+vSg9d3KBXv6JYhEtJFiFMxERGJO4Ce9PMteW6lUKojqjgRKAmQl+PkaT13Lx2P05378kj8qceRooiLIbs5+ZdaytRGjjAeX+vBmj0/BhtqOnxPvWWBzV1lpim7Alh6SxNm3RJMiRohhMfddC11nzko8LzvwekfJjjeK7m6dPYFZ9YY1adVo5teawsf+ot0pD/jZHqeEpB8MzS3j/XRHfSsHa/fUVjck8LKzIt+9mTkeWTI0OqO+F4u1vGvET7wVFqGT6zxL/8ucq3ZM8oeI4bK3NAmGKy8UsXLrAW6Pp511zWM2aE8JioDwbiNxBFwjpleLFG6VZNTuhHCbYwH4EF3Mpe1fw1a/0qkNEAiYFnK9/9/qNVjPdNC32rcycYP6U9pWCfo0PAeH52nQqh0tPAswLjxW+s8vAeSXetxgGRZ4dqtXtExX2mGpL7udgSWPWEV3ljckO1b7k78jwkvqLTYZh6njer+uCuTBBhllkzZ38VpWmr2wFvzyiEAsKXjKteFUr4GjHLjiwBlsw8daOQj3m7AvBDiM4IfkWQ58omZyEsz9LGs/kyp9lYt58wC+g4pNovxmQ8mU8qfNgCyGGYXOVmex6Fso3fAltGjBvMPUgcbnK1o+CYQEEMOg3aErSe0xzWpaC2kvgewZ7SdIcA42TQLMg91CyGZsMEh/Onaa95fjeh4KwPr5fdxL4J8xdwpI3Gj/0zE3bW4AGKurP/Q0X+kL7N9CIfw+0M3NjKce3DwuXxzMWpIfXDpueJjDVVKISrVz44AbW1SV0NGDokyS2GPxm6oYWr9+nwBqDTWjjEcLAVZn8Wk6MW0MvWFGSCtv9XvIMXAqMbeTOjudvPyJ05fpvs9Mxo31KvcGm+YlCWFP/8uVXJ54VlWecumX1H47d88uYkiP/9pDBNIAbFuEBxsr9kJ+Wc1Zo56oiAea+qgF1syWhi4uxI7I8974DnHoRk0P700stQkRn44NY9Yrqx2qCAZl9mqjQ8pr1EvR1KKe1emffYRrqASqdoDeAHvw9dYaNbjcWeBbGrJj1mEpmpyzInMR/E5AiooQEXzCJGki37cQvydvvMcskI+q9M5y++hx05Tbs/aeQzcOrPoGPJtkriIHIvSCkZt1WWQeBjXSGJ3xErveXc3KpIZ+tWCYMlsbDRqXf2qqDAwswkjmwPgZ9Movpd1Z6YrsLfjOtlJ7NCiIeALc6gIL+eSoKFnd+LmYtB/mNjl6uIDXwOToAMTatlTjKKgpHSxrX2j3+vaHM1GJ30BY9fuV4Su+wuFNCLX/Rn5pRrnWRMJhkgc400NWW50IlkDytL54S4g3gvson14ps8QCfmKWMQ5sOhW/Wf5AEBa9A8xfhBcIp5iWPjdbINcdCRYmID1CBSpNgrDBMi43zLey/H6J/P68Z9VOHMcFCDUlD0gC0MebzDUh+/0aHnEZxSck14oJdyxG4XON6/v5XNNnJgUPs3CzxS0VB7ilPVTp6IUR3+1a09mcGOFL6dKPIJCUDF7qQLy44LRr5d84P06jvkKYqnrhmjO3wJwAEzDZZyY7vBck818vbWh3GR7DR92EhLEWpP3H0djx76LivkdXlciYCVw9Fv4nokF7KTjII5tbmjPN1bDUghAruH+KhLoMsjSNO3/mL3RNSzUjWrqAzxtuoNAGG1X5yVdW4ubMzD/bAwm0qfLTM/QPxkWkXK23hFcK4//zfq8MVxtRlHiIs3KEvcbI5NBLhKvwXNa8rWNeT3K7BfQ+13Cw0ABcl5pfySxwbZTpbOTk1oOOHkP0cXB5hMfAnTVXbMgA+kaNoTXVN6pB2LB69mvrJXyEv5EJS/jUGc84GbHlL1kHx287pfG0aLY+qY+06rSlXW4UaurTloqVK3s7erfrIKcv+hhYZQTbyrH7R19a6kU2tGQIQsxP6rpoj/gDB+2iHvj0lpOv4uDc0/Xm9SqYFNRa4kDp7bMkMAgjVHOmnMij04FkBs2+GbIcrWYFARdywZoZYLN0CccArPQgkcyA3Aihfv+KXMGNvfcMO0j99NyIj4QmIDWnP0HpzaiRtLFdefc9Jl0M9H/G6vcD+SZagUcXuXeuD22gmTsu6rIFqu96xIntu+v6XIfhKc8IozDGBPmG4HbDJpjb8mHEJQ68NdC6QQyDkDfygNvgIj1nRUPpNS/3iQ8hsg1Lgq1CVZoqtxg45cRrIlJv91V7iAXlf/Zz807UikOrVpdUQLpVwRxYvoIGnAUjzbsY6ddPBXWoOvN4KbsiolrpsJHmdWDCdL/O58yxd4EmNZaOmbVEXTArjvSIiiuNNFpBhcFGIS+4NeAXnlYkDxeEOnrL6VN1uEBc6V/KWi4M2kHZI2m+MtvMc5dAwT7PrQaAPY7f3bwNXbE/cj9BibXfEnMF2BSNs6XuMJmAGlayYJ3lLB5OXZNApAmFFaQYIi0+S9qGTlNrM2pdQVfzZ6I5ZPg8Dmzfad07DmVhUH17k2zdfwDd7brrzgISQOU4OWGsaiBFs1YvsfCGdr5hfYgH/bOtdixh1zq6DjJx1zoiA7D9O8xM5AvgrNrFO2xdWDomOYpKc/hPnPbwB0fMXyjyFECjKgp6JC8ovOzdCRDQUnh3cQHSsmiJles6kQZNLaMbd/pEjo6IKrbu3R3SRnBb3I1XTpiGDbIar3BGcr7yWleM/O7RuP0fzMdxBRYzAB68o1Ymei2jVGhpEfaTBieqiD4TV8z9wx8nNQYulLTRSBL+RyduwES7C1Fw5U8RQI5EO+BGhQXfB5O5Q6Zppp/jJ1CkOoP9K2i25gtthjXxAirTYUGTsv0eNfDr/Ky60BME9or39o01IiVMFnKqci38U+HbQrH7yIUnNfgeMF23bKeu4k3S+B9/BTS7UF3jxitTjkNQWcJ+3OmN/tbL9Fv9HdtqbRnom2GiXv7x55KaIytk1xaodEzqPh8ugPrH3puzSYToSvzYirfhqy97eEcz/Epv3xyd39YrMpynHOVA9sYu9LuOHJYpBxEgNmjpYa1doTFBLHv6meHwE3Mg7KNjQrfSqip9HI1bSQDIcBQHUALEdZ4v0nJBMr/zSevzY4rBTzFJK/RPuXQGYMTQxQhPG3GTNHv+Xn5kcX0DTEC7thtoLbZUlCpiymWjRe/PgKHglwhhBJynbz+39/JZrbP0k3U5YljdRORdCg+1c9Rg8d3zlaPcZDF42felYiWGlBt1roB1Jetx/CCdgqWl5MzjJWGi+y0vJt180nQqbjJHA5oc4sG1TVyyG8Pc0D042c1vozt9YD/zrMd/OcOPT5132RyfM+KOqG5YJ1UhLqpx12lkgdvXU+tpS+sq1NamKyoewop4UWPfjYL58Uv4ziE0yS+vGTABwMLyg1e4R5Gr59jLxkYA9NXbIA6Xhj8GbzM93bBAoWef1Mji/LRJY1W0rOu5x3GfEUH101Bf5re4Qp+cT14dCgk8b6TG2J0R6l45v+daKFNPQMPgN7vowJjT12bbxO9plSc/U1vsbLnNoh3pT8NAbWjHPdJhgRVot/tKr85oEuYQ2Cjj7efb6kJavzK9B4dEbSd7HMGMUxxZ50JyT2lPOD5P3ZdbKgzpvtHdroLA64wAS8B71rKTlKsZodZLOBfW1ynJnt4jyZFv3o+JfJpPzTIAsKMZTWMDp4ZE/ByIhXnRDWbPEvo99cBaYu7ERBxUn8NRnCg+Q5FVdd+seUv93RebetEvGOnBeJHKuHcXTcPErwtiooWmhnLQOqwJd7LurE4Q8wlzxZIEa/O2o+OrkYKAn+gpz7adK4af1/O+OdhEPXn+qcD5wKXzwYZddcSc2EqBaLE8mzCoK7toTSSSH553qb+fXIZAtXwRnaIZat6/CGenlc1le7fv4rVhtJIiBmvCfq8RabewaTw+Gj/ghJ3VNwkFL2zli3EsxhJoFsPCaUOOjLC5XCil2D1msBI+gefR0uB9o+NCN38hrBLi3z5dHlV81LvV8IocFG5yFSnqCJ0+tA+/8C+g/Agcbg0oRtHwY/2Zi7Emx6Pvj/5SbZf/VY8+4iVknKFEmExjyMT1GBxIJLDlXQYmeXtEMoaQ51xSaXV1okY3Gu3eVABkpoFclfFPqVYom6Mw40cvI03Ib4ezyHagUJcSxh92AjUpSyT5zoKb7LD/lDuOSG2hSWU156THshKRziQxgx4Bz8BZkr46rPmyMNuqLj/P2Hf2/59HD33ItLfc1G513JOvZzI+0VBuf3pZLvFJRqR+JmnJ5lYe5VzlWTc7LJPak2o0HD/z7jS3VGB7P01jbpsDUJI8h1UgAP26UA1BTX661h6nyirCOc4WpVt6XuwhJAGx/PjHzM8kICD2szpLaEsg4LxGrzl8MHbApJXNouf03VUc5Lr1k7uzNmHNyxoh2pyZ0bAPJVcnwmVw5mcf5ptBlH7sO6ZcJe2EfMTs+74IlB+k7u+PbUlg65P+Xb1ZvfhTL+B8XXYP6WzCX8Eq38i+d4ATYALgw4uAzTEf9Xcwlmlmc5VquJUp76SGynbak2NIWcyZM/EvYZ/xat5+IFWxsQUyBtWEI15nsMxlFTVTBnzoEqD7qO2jb40NEUqvQtSG5mVzXQNrRxlihOXjn6wQbrSZixjnjnS6gzXlTCN2uw7DnkI3i4EqUephXUrLFqDUaLbOGteSmfDnVrEMKgdmISBkEg38tfTf8btUqxh6WtrXz3yI3oJvIGCCKmfzHvqAvhgyey73jdpL5tas0r/b7oSltRgNL4crdtjtTWdQ1rIZXG7UZwctkXL5OU8jgMtmD55oQMf2ytwjgQIyeyexsTN0aoClbvMEnMlkjBIxfc1QKWcSLuqloWch+GSwbm3a7dR47zZIhkHK+Athsda1sGumYCqaivgSgukTFLntNIgYMKpoNQ9wYCHZ7VR/C8uugmZyvuFS77QRzdxlZy7zfsTaTQEu7DYen6O1YV7n2nVyaUX4mHXXOWThzngdUasTCvT8gWm6y021pi4Mzxk0q2rGzUnkgBK6ITgjBneRq5yOjWyK9TwqGQtpy0KNnUd+CByE9DbUscsyJWbhFhqy+2p3F5Jj1iObmE+vvliClifcp5tHMr/JZh74c+dS6GxtVUdMFJQaRd5urWQDCLivKArcxMPUd/1vzW+itplsUbmRriDNgu9kanUwJ2jlGC93GNx337DB5XPWjI337LyaYcNvkEQR6BdR/n8h8e6FoRIW5/73CIEX02Z5c4/7BaG7qL5gavnqGAq1Y5KNuL75CSet0mf8pi5kCstvb1ZPXakm58ltWzwiGQ+bjtr/onTw4kz141RIg4hfk7ryFpjXYRE+rJB6hGGyzI7vWc2NHmFUMrEya3wqPTrZcBCaW+SQu+so+gzVwcrkub8MLtPha4ZEsWDlJUll8x1YGewP5wTkUCo7qcRO3Eqhv9PXykFpJFhC9KjDYbJImDIZwtZCVRxje110bXkDBElM+Oq+xMG8vGncUfzegHZDT/Gg0poM3dDS0E5UUMrrsKpEovwtTFmwPmwBcaU0s05xOvhMc3yWd9dCHR8argeleH/3GPDYChav88nErGz8NS/g29HHbunIDlptKHHTJhLrpU+A86VXFE3rMuARHXrkH5cJdKM7KMQ41k7SfwYYA4JjFFBLOIV2t0sZUJJ+FslTTcTbURUk23pail/CRqJV+uQ+mBKwU1Q0MOv3WlgOouNytMtj3WON7EemMTOZjguA4KubfOsDWKAFjtoySDNND3fdMRHioxZ/I9915/gC7aPYA/H7r9a2E7JA57zhbc/IDSsxorGt4DAib9G83hPqE7suW6unscq6VHeDJo/vsGt5M7mOc4LAOcTX1cMRjmEBarMFexB2NyOWhPeFc68QxFjDkIivjQzA/mkfDFSYzzxVNKzVa1A2k74jaefPrpTPCesDdEajC4038PUkOx9FT6bFBELGeUSgsdy/Oe0JRUUdDcKb+2g7TPB9k+bYhR/VRhihaHObjquB+U/Aw9AcJtkvh2Lo7ZY5F2EidqS9i7Pl5Dv3qDIimF2uUNuRl4t6P1WiHJldNmT2wVgbgsaWO0zqNGqBs12qreJm1YfbtsW1nKFpRg9RnR4eAQyiXuUFn4ObUFrgZgrM8zm5p9oDkUWAIdH1Ws1D7q2twpJBMYuklNeW3SXfUBIrpD7kk7bePlEiFP4PYpoud1Aiw7byULK5sOXqSSNbjZT77P8ofdxi2AMoPb2BArlAfKEYEG8d3crFrm+4S8rGfCDpshoy5keKQQh9f0nzUX1y7YevawtCi9HgikVfZLubysTRcn04EUyrH+pbfN+HcFT0k8loYFPNvi3XkAKQRTo9whCRFc0cMRVaDl7NS42CEO9KAi9NHBYAYeASQ0u0qr2P8QSSxhxtotQLotLYWfPP1TkczfeHbznA8O7uF7lNw1vYL9eHnYNz2Dq3RIOQIl2f3FaJPPPMdHQnsf/x6NHQYH/wq6W3KtqS95TB2voAxd+N2fDF79a4fTwbI3lQ5omE3X/N5NE2y8RQev90HpYKziAhVJP48BUHXZmjAY7GjmSrMlb05K2qPDrnYkNli6olm9v1HVwcE7k+qts4edDuMcWoBdprsV6kSMxRSLqUccZWHqr+9p63eX+hOUqL2/hJAK2DRlbhhrZEMeJEVihnHkoOq1iKIQV44Tfj0/vlVL2rlXkQd+oi/sz6DTomXfMU9a/37xFrCZI+2hdQJnQ4Kwh9SorglSB7hWUp9YTNDpIs1QFzWPSN931rGbRbnvtiiEa3X1EzVpG5L4IF9crTfCB21cUN/YVVbCEHuE8CpXubAHME8705hWqIzO/S07+pDKGw5FHyPcKJ2reV6nkIvDYEVUsrrvNsz1gKBqNWTHzIZeq2wqWtDpE/f8L+WHCrzIPLdlPcy75I1O3JcK4Zi6P4MRLtjsSrKHym8EXZq6dzhd5DQPapsxnLX8e+TgPYdUAi0aZU+Nep8FCoXGxYFNyUKuvj7CfOjPBl+pSFiPKH4obpNGD3dtLd/hebiZmlLnSzbHLwM3qS72H0+1rJzUZUoctOKeSFIZad7JozdSfYnbicHBCjRLk2VBE/q8CuRjMAKz0RcD3FhXQ2S83Y7P4e+MMGgeWbjzuoh5F46xHGQXtr+px1Knzcht/z9AssXP9kioN6XXdJ5gcBhfEnlUdJw3IET7Zc0nAVZ27qrJGZPERNaVWSu+/6J//DwZsUQFXG4ObbypizPv9F07wTVSW1S3/6BMhmjUrBxKPArs+FkJi7+kxm3Nt+YbH6YZjHcmIp3LGlYRFh6My7MMxbk3xig2ArKpIgE9CURILxY31gQgnzHkGkpvPAbTQamtZM26J5tkhONhIGzo217tPlbf3x5ceFj8MB+WNma9f6Wm0MHYvZtot0+c0wODCZSJ3PMn7feUSCMoUrkJ4DhiUT2gsoVAPCzmwbvABMmxJc/kgVwrWkYlb8ZjMzDTInFw82OUnLIS6MUVOx6MCk/BXeZQgFJQGCRYanmYdwcmWuhjFUi35oDBwCEo0oibMTnRZ6eewRxehbdi+H+/L2Q2qL4lwzPVSGvEdxI4evKvTVmtSdwBODNpTreYHHAMkGP4R2O7qYj6ZB5DwDvBuWT6LAHiGUvhMgjDblZiw1KwbJSc3uz8DJGyykt2qNCWwiUso3OmiKoPflesCelo3w+a25DL7vi1nExjlcl6+poIlXlISBf22yzaMfaBbxc6+Y3mjIfvSJT0yJrUUcH4Kjdmx3ARwOkljpGZV5cyKBsEzdWKAn40yZVptOfNVJpnI4iSiU0PTVefoxCBMqOc+mkCVgMAb4/ryTZIGNHVTpsPShQhYlvfc6lGvIIJmCEUhoxVh/7hsM7Rk/IuxSPAZxXmw3ES4TAQO7xoGfkbUfm1ZJL742+jGHA5A1Fn32wwn0Pl3PhoWtrcUyQR4wBCDvLvjut+YZl9jMQM3RnArGOMcSuFfBrhE/sQvXaT5tqTV3JdXzBGxf2emdq9qru3zX2PQ7l3ljem8AD1dSnc5bSxJNMGXAwWdQaryStyIZC6/SqzS+jdKO0MgCcdAsgfjGQzSGoRq4Oj6v8Fn4fvtR46EpDeC5DId4HALQT8wfy+2N1NHcrOm/CrgDNNDwkL++dXP4z7PvYYkJNBCh0anZPE9mK9LRn/uzs0kGkm2Bxhm7I/kyZLv4q+azmZJPQM+epARJEtdpVnGNjPUfs5NcDuTD56ZxjDh37uGlqOZilN8PpVwTtRXI0gomGj5UvwrA/+AHTuY0+WpWkV55AH1tNcnu0EX8QfxijXdI1xy+rZ1WUFHJrPp9wyy/EUJQydyIgmARDrWWMc3yGoIKhNK3le1Q74VzxadUN3vwbtSXmy3/b8xROPI8j9Cvuz8g6UJNyFsR9FCbzkhSntMBq9uXsknj0v5gZynsuWoSkGjJSImqe6IvEdpcF0GgTeHbT4mhkBQj6EQl8AilDWXmjVIXUFMACiGQKZVk9gwwoiEqAzMgr1nwAVoBfjbyHB5kS1AzYqa1ZVDIiQ6YMWgdUbiWBCHMQGGnjWY1ESd9KdnYco9yTt/P/euSm2/hBV+qBtAU7H2QaWB9yqrXYoGPF4bApvqsWu56r8+9Gdcg4jfdLvSCqcHhh5kDhazTxWAMLqBrWMKVyo6XSr6+sWt0QK8Wysffcw8eBvhzrBuW7FN31QxW7WSyvetIgb3PWJrtslZUz4WeXohhJMgRfzFT8pRo8ZIDXEQLsA3oZf8+0WZWAdWtl3/ewJ/qbxJuB1O+3EIFY0f3fjmBrPu+EAtB+C0151TngxVaknzOgOiUVwz5xEVhUWTDIAhInetrZmQ3q9BRZds5jENArTLTiq3+yBbYDcIBDOjhiCNFR9gbJ2tdJ4OFq3LxeNZJve/WwTNGCf4mz5CtHbnslek2yaOliOdRgGy8mREhpKgeMGTTZ8x0tgY0ScZ7tAgAIr2stD5CnRcLHQcIwoZempz6T2Ip3haHNjjLtdqdmBwWR3W0FQEdez+JyJNOCmQwEg/kPHmtIOSVu+rhTtqOTKTiuB/QMCaKIDkcPNQC95PTY2hg+opZl0Ue9PnRkjyNUVDg7AAdHHagpF3hPKyoLsQbO43IOnSCQLKlQj6fQVHoR6q6pe9E8rYsFQuY9zJJSNwA4P1HKXCgRDFoEg2Ovc1Ch70I8MevSRjznYxPjs2lujRmBrh7KxxY0srufxpRIL08Zys2bLyABti50jkOYwj4UDiLIGXg5Q0Tymuspw0+TS1pjMbcYUXGwGYxyto5kd87xJgAWWeqT7ROypIzvpG7kHdZmR6w5gDk4dH8s9HErzdwUQ4VxowFgyYhKPu47EBhKtPfAnzwrKbr5iJuOq80VNoIJm0PVI+b/2U3sRiHlMHK9tRj8AFdZz0lap1+ZA8YtPzWiInAQPdYMFB6TGIybX12wmd/S2QIg3fiSHdOpbYa/SPPFlyH2hdeGNI3NxVjpUEdC0Ym2cTn8dXGuQaGwfXk8KYyAxRL8DpwWjHnXJ4vFswNeTPT45ee78sOY6Gd1HI3mAUtlde2OT+RVKyzysvi95Q3r8l/XJttrbV/LwYjhKIXWeU+1FQ4OCxasn6aMcP5THEAqaaXdFRMAGe8qe73WocNi65Wem9zAmnhrguyZprXIO0zhoD//5mhkMYAs8hKBRhNweGUQGz+uev/xEV3PTX81PNqdhTBLq+5Wkl2TUEF8ge5bdG/pA1y4m93VCyokdB37pXaSb6tCvEOVr/svjLYkVQPmjtHxI2f5uxKezKq5lYus1TB1g50tniJjqgswEkpyqWLesBI60FCuShlyu7jICsvR7tb5ss4m8Z1ToqE6juD+1e318HwenzlIqCc0E+iNaI5MS8HGE9LblU3kJLNAj73QC6NdXhkIhXDXKxP8YqCnfxbro3kmNcEC+kdUvJXtWEYJsiyo4PMJae+shdmu/DIsDkh0bm2j9EBnFXFdfeODQoLVqiZEUmcOC2uKiCwrwLOtc4xHv6+7EM2qQfZ2d3TYesSoY5cM0NSuStOSTmQS4fG4mAZDCKux+prdDAr0oxgyzoMvAllR83r50dWsQlcURXaTNYs3OmxAifhK5es1OpX7T43aDT7J4C/V/NlCRs23hByQrqCKxyxYpLc5bEndmOsZ65XTJ1A6iqBOCgUCD90jU3jtsW591r9Kg7WGbCwEbeCWCWHmCusaOx8w3IS+P9QUqXvbKe3uZsZcd8EzNALdkkIiNC/OiXzlS74l2hGvcaWvtx7Zevclzvgoh3tY9TETNPYLxJATf5XcvWU6XpM+Dh/g9hKHRmHgFfzWuZMB3jMVajjRtaw9A4Vz4zYCQLn8a06rOavl2+GyYNQh/YdIYjnCghXah7VR2oFDBEcQbfook/oc9R7SeXUzv1fKniyOZFNG0IQdB7l6JiPs4ftfkrmn87YW3R9n0cuPMnBDw09tipWS4sOO6F5FSF6N/Ma4hrbwqNfQZ85auJBHTr4vgN8y+QTlAWogz8AjKlunj+xv+DA5fyeYgr51t19MT76Pp6Vo6+uEZ9poNNXKjeG4s1Zl3GZ+P5PEoDYgSy+FoPCiMWLhFmJoeVm686fnDQdMQcDaenUCSRi79pGCaaBhxNzkYoMFPqFXP6iiWSWQsfOcKqViVVpXm+421zsmJCtUYCzUYGjZRxKpDL5izAZyUl6o71b5oc+PBPn2A0eyUL8HMhcMIEuJGeKJAE4GO+C7V4ZdwomkFzNKiEVIYw2Lm85mUHgToDoHhvrx+1eGvlupvssrSRzUZFVqK7z4s1cMuPkPY/Lf7yJGqHM/olVtqLuZNzG2t+PuZGH5hdXIOxA4y3ua9LnKCNLpMHGJHLB8Cv1rvbRWbsQSZ0UNByBbk/guIhy1IBHzmnxcOweOuwVowu9VJDadDmeYS/4cYhDMb2kcVnZYXj+QTlMR8KU0VEGOYWxwbl71T9EgUW/rC61eY9iGZHBU0t/JmXwF7QN7Ipp2gnU7dVKCZ3h1EaD+PxPzrUt4tdycAKP3BZc9ZYoJ2seTpCufdkeGyH6XXLm3CAk9c8YNWc3rIOCsQscM7bjhjB84Vsgkso8TUW8ACouJQJ49lrDYMWfRYkooRUh6C83pF8Q+MNcxr550xNVapDz6dOSfclYCDiFPlwmnIM/oUAkoLqETBIgOkeU/TXt4ux1UlHP168DqVlAG9CdAnH97b4QPIVWwHAFiNL8qycXpRtdtUzciLDi2VMcLCq3cdagITim7zi5BSfgbaq2M9mYHqhvRnQ2HqQt7acpEq+ggGNBwDZGxzOpWnppc9SFoCLrWlwXRiGJsFqEwvM3Zsw11SwNsfJHI1vVvJzvMxvp9l9yUDExNeI7d9vsQ250rnNTEeaKYCzfGFiyW/DxfFDbJSTPalm4u3Mxht/0SvWUHrizmLZKlDvVZlBpBw60wGqM/FzOuaD1e+FM0IfnC0ExOIZPITxmPocuVZtjOdZqAg25j1iVKN8ji1zQbiJoN+Y7xEOtA8lRtLWXZreG8QRl/OdH7BMFU5B7pKrqh/8+4EeIzEFWOyt2o18KWdnbkKz+Mv7EnbSb8prNS/w80lSmzZgnpP4RiTAhID29X33QQCSl4xaRqn+m7yCiqdz7xYsaCT+gNRIZO3vspSyNHH333GID6yZvdb3pPRl6Frj+Ee74dSN+DYiJ++SoX5ruUYxKdFY5fewQtTUq4gR9f7SxS9IRfnZfGf2awhk2IZ8WYgoaPrp1dVKiqSvA9wf9ZlEckfrFwhH8eygazqEimq4x15cUcHMwKdMhcHN6kmf4oThf8yHY5X/QF8WcNQhhKyFEoI7y+FAUQ0Ivdouv/Ast8kE+AXyPkv9Y9KOU+7BNZefGEMX0TsQhS/HO4Fx4feik0UoaMynaBEPcptlKNK3WeOPTPMgTEbZ4EG1Zd8gwD8yCeRecxuAawMGbiutN7ygK/uTopZ9UOmtCw6JTXTLwVcnwI5AG61uVtis9m20bAvHAxRuWtiyfD7mbUq4OjrnAc87vV7NB0JjJfWF1aZnpdEdvs8LRIW2NA3CBjd27I1kRjAiYBGa0yNhrTB/nWESB18WIZ/SJjhnIRjlEcWdn2yqoXeI4EulGYZV5/drleBslY9jlfs/c0VPBZRKxiYNf2vIlKf33DZc1CwrbWbVKqAJJRBwuBpgcEF96qSrNXrYujbUJVPPgs+ueVqLhzCJW/X+Cz5RHx28GddiUuPCNc7s7iyevoDh/bgkdYTnC7Jzy01VNNHAw6uF/R5NRFw98yZ+akOnL6U91gvl5p4Yhu/Xqxmr/qXnZASdNH7cTdi/XnljlfKiga2u1qTyr60ChBH+5Svte4Yg8KmEBJV6jfiC6nfpiIpWsqqxOC+u9tn1KZpP20OM+mysBqTZpxxwW4rvxo+P4Z3IqaclhvEIblPbq3DvOKHFGOZJRCMFngpVX7Q9avzE6pZch+nYewpYxla7L7p9jAZw6flggcpIGe2ht6017MloTdkr4f810j7XZ1UPRyIT2iY77eLrLVYp0LK9G89mobMNldfFAJF6U2is/JBDSmtcRa8JnkGnnu4s051ffY5aIGObmr23LoVlSRfDu5J6ZNrrLZBa5q0doTSaK2kD3LMMDpLh0fbOvhHxBroxZDPJFCGYpcxeKpNcbRtjPYFIZoUbZHhFAc+sQv1j/2ai2V2aF9H8M2vdJ/1vI7snxXUx7ElgNN+02FOae/OdWxK+KijHGWR0schhkEukgXYuOYIiye3pnd38pNoOaWzSslhxANdSKGIHG3bTWdZDZrxvt3m4wguv5VpgHf5MagLqEmZw5OCHHtWhKfqbqEUcss7VMyPUQLDFu14PKEJUXVCd6lqt6v33L4zt/xd/YsTiouU40FTzgRiEn888E49ajbItimfJQFV3m23ESvsg5K2103bYSL/D/0YoFUs+SuD+d7tAcTfqf2a0L06kIIZX57kM96cys/3rk75s7Hcm7tA6kxC+ed+bIBcCvZJ63j5hvgqnsHcJS/iY2bAwCBot7dJIIE3nAmyuOA7VD3KZH8ACT3ELVeyHDN2mACW7FnCMvC1yPlvxw0KevIjgWrEvcjUlo3tgS6De8htKmlvcArajnyjSTdhxPP05AKfKPgbkUJ8FlL9Es2RPIpPU/GBoyp1MfpQ1EgdB4R6firMSfmoH/YEE9dr93QIfsK9W0brDIrCTtAuegiUISCWMDJSERlbeqvprm0KwZQgvACKmUCUwq9HKaLzX04ZEfZpsk6XLCmD6CgVgjUgQkYD7A5OKyH2EUgqMJtJGAZoA5JRvYUaUOz+LhzDs93zi37bABu7NzfbxjsLz0Ti9+D7iTMQAGJ+F+u7YQRtP52SfSvp1qh/+8IpgwBp/wdOotN8JdNxGNpJt5YE76VztDCISMQDLQ1xlc4dKDVArLngU2aIDvyX0punuZF161JY/5eXszYiBSApJD5PPSQq5Uj2/D4RbqPo7ODnjVC2piRtcg8nAr/nHIHT+gtYGQwYkLUBCMi8yUl3wUWGL552S7OwFcDkvPyrfLawpDUnfY199Lu/KLKLQTBwMKkjB1xktCaw8n2Lx62PA7f6q/qjTfqQ9HyRYb+rGV67jLAKuwsU1rLolTpS8NezWRMALcWb94la7GE5zurcNFKo/LSiAPFuiOA/fDS1QS/PBvkWsaS0IlUo+epxdvN9bThuUvHYLbw9bBVpG9T3ruXFrhqrgpXXgQAG2L9vm2lcDRlBJhoi+AqhsjbfabRublFLjRl2/9I0vY1qAKHWz7oh7ZpU3p1waWr+X6ECAPXGcQnIRG5C9tD2qG5LWZlF0uoek1BKPkuqLDlCNRzhSqWrQ5PZDrI/RxUSQldqNdlmXXHSjP224gKEyagWr543X2YWmYHkDq8hEgcSIa3YhID4+mw7AbVCNzcayaMliAjXxApiJiv34l10HeesXICD8tXpRUN0tTSVG3DWm1jtuY4ZSf9jwfgtL7T2whw26KEiMH0D1K39bqrtzeiSv2ZfZ+qa8sDT1fYqvgALxp1QtGoyL3ZkQOvFsMZFtLCB7sW/UJFQ1aLiEFUR7ViTXaNiYWxxpxek9m/El2eFNWJs5PDyr4DYPXZ/DxgNxaBIxZ/VVuVJFrqkiiCh1HpQuNq1yDjPDT5Nzayryq4N2ztwMhLCMIv5vFJZBD3f6fxvG0uuU/nj6kfkfhp6IJrCa45mpULMoPKd3CYgstVRMVC9Wyt5m7HlSmNRAtOAF7GL6KdqWZreDLjdZ4vJX4PViaf0mK4TgbRYIc+3quuriFsD+LyeWDjhVs41X5VkONgcjC01PizsWxGLmgVnkjLUSsI4tzcx0mIqbo8IrR5ZUd0ZBlqwuO1Mjig+ctUV9ZTDF6EDhN/donLMtPgJN6XzMnAW65zYIEIJjiJzg8L/8C223ry4VMX84VF785I6jnxnMMAPbkHhytlBo1wzDb3Ka7epoHgyF+IgwA3qyjefxXw3orBAkBPt2vIsehLNc8VXrUETjxFCfk5pW48EJk9Ic0k+wfU5SQwlhNXpd7gm8NTe+U74WQBtWUJGzPZSPsRRer7TOFMXZC7dQzEQkvvTLfQ0MnLQgyMbxlHeJEGhkEur0oxDVUafu67lolz1sRKCK+G9pM6V52K9Q8dAv/n/m3SVa5b1mzR5EqFqXEazqjA0k3tjipW8ejeej0aZSE++MmvUFPVN2v8EHE3NZxSgNohgDtOZbb8Xy/jQ47IU4WfrVF6Z1wR1XnYrR8zL5gHlI2bgwtR7ZMD11ocyG39HqikcrdFOgUTV/5mmEs1kU76DwsVu3nY4OvlVLp4Q7p89Oce520x10C6rXKOxfXjY43IX8PqA/kwukJMsWQ4n1srpcMhH0TIdCwTRQ/0WPeXMVe15Nka7QrFeEIctKKcdy81T2ORyCk0EqZlmF68bUW+E5phQEClLKh2zFD3YX0LJ2A8AffCq0Mvh2u2vsW/wixF+mQTVleKSUJLe+YPhku889QspRC8ffxdUxUUAJrm8YsuMWUodfce7NL/y+XVRn+TfMkSdsjJd8kKt9U6jjC4QqLBY00fED1Wp859GVL5e3qT8Sn2PtUQ6BBbm0yALHJmTo2n0oqA12SPE6pB4dM8GQ74YNkjDvgGHNv4MV8DCFPnPjRHzRB1YU82aTxX1oxKACapy2dUKPdAov5KRezqDCVQTqBE0VVVEa4aCNi8oWn6fXIQJvdTmDLAKzsDpO1bu4zh3JA+LO4c3LL6sZEalodxpXszYNDvNpcMoRh+QfdNB9VO+3WttUwikCsVxY5pcVkCiv8Ht8iVJeku3LUl2K7R0nLSjLFgBJnBHAG/ID+sNVhfAhIqWaslacbcuIaEufEmjxJGkzaf49xfvHMKexTd2LzkjQgJJrpe796V9JjawAW6y4Dje6KSvPoSgZwb9MyJu3+cbN+51zzq+P3veDhEpn5e+mMsH6Sg/bGfYcsCq0LETpO/tiYJLHweCUxlZGzPlqNGzATNqNFcej+xopUFtDWNFaZHia6+TSGhIUZU7W/QDCAy6MXMbxNaH01abTBohxSlZkNrcZp+RnjEj95miBhMH6foRs7N4vY1IkMcuNKg6bmqqM3meOUM9FVsOZF0B+ZHcL4sY+I4vtOiR8P0jfo4jF3Ak6D15U4crCzMNfU/91Qz5Am3QIsf5aWAjhiBMQBAVK8P27apVw+WhDEir1rKolIl6FxuEHtyhp6zt+cj/gmrdQTtJAgFwdKPfNk6KDy9KWWN7oqLFISSZUUsxsz1ztjibXJQ+wnhQkvGzF2npas8CD8kgzUzri3xYUOaaFPrF8mVAByqyQZathXsW9dDACa/j+KP3qbQ/SVDEp4nDYOCVIPyPOArpmRENbW+FnYgNZpwNbNcvPhC0h8vByp/zf/8qv6mvWWlqEGnxiOUwMjIpKZZSodU6GrO4NJ9YSLnKQq6wlLu7w50EakdIjXMoP/NW7ErVwfBIT0qbZ8e4Q1x+QGvMUx7WDBAs3ZAw/iGWA1M8nQUoIELZSmFSypaBLxBfvlMm9wFk2cx8Opb7FNdIO721MlI9ltiWvPuQIDVtc5wFkZAjrlz2st2ilcarCOfOP+wOXXD4y2NTeqUwYFugFO8TmqQEYMD6nvGUND2K3owLNkIJAUSW/PjFyy+TzM8ozlSaTtvwsQy7GvB2CL85c2DjatKWUWzDGoPsmiCOuUuW+9x8Q1spFBKNtVHH0YvbmGmJYYs/pPEKA0NYkafBUmnuf37I7ElwedJ1zTfhmHxnSJH+nXIFh/AebQWLiRMcjYQ64kQ6JfksXkdMxBGHTupcAx8R6uU83m+y012uhPHWjNwkEPF2pLjkec72y/HE1XJjrYihTx8QOgqr1i4pV7JRr18+oG1Adg0LNgL6VNzV42aZkvQKf4IK2NrinE8d+z1uashnIy+CplPl2FO+E8YwU0Ya4n79t3X8SqDrfJV6hIoKl3OEvlQv2H8gzlhRdOd4+ZVUWd0TNgf0iZtQHscuVlc8zgiZFTcUNA1CmQGfqMDNpng4bbHq6L+qc4+CabdHN/XIvUAVYyMxZ3NTtciUgIYsiE60CKjH4YsIPbILPxLgeq9FZjg6hFOPZEZiHqHTDIZn0wU4+lI7t6Vb/ZG8Hi4PDOe/VBABAAZUpCjhgnOJzGhhJFKdEbipk5T5gVZrdBVv9SsXyzMJepNAqIV5M7zRPVwAWGBG97YuGDmn7Y/AT+eqM7dVLKFTPPSZbmt0RpAryTVpqYXfhjWCX3FQJG0rOq/ajmGX+DDfTwnKq8yg8B8He8JZ3WjpTIJ4rkv1jtNPDIGUt2uIBN5VNxb6dcOUUIWA+BwZwbWFZArmW7OxV40+jul8NeABa1FgJwZ0d3D/EjgdTrNwJQKUXu+0CwCF1pUa08vr9OhWKnmBj8vLk4W8mJyiOcUPm33zqDrsVmPx8vR3mpil0ZEec71bfEo2Zm9lzP9R8tBdR9Ff+ddYZeaP23BbZ2DgdkydFwyUsow+mutgEkxnIJC+YC8Y5rhsje7Ez4A9oybZIL8OTLT/4xNU3GVO9PPae/3naBFDvuat+oeXCEWbbmjnmRSYTwBZXd4PdS7D9kT4sm8SSfsmtM9z7ZQEeRSjn5nihzeAAu6LAzReLukBtzzHdSWMwKZ1xZc73SXendx9o/XVnVx4URjbrTbYSn/hx/KofwIHZPB/e6IQI4mfVLJEHtRGaLlDY+rU8/vcy+/sLRY1aC6MVt5dUND2R/XK7HkBICwbfh30Xup3rCp6YVgiuJLPMpGPoJEBDPhMEyyG33czdEwFJdiEYBzclCAgqnaapAzw4znarV0ZULc8k7Ur3CC/MK50yGCdVZRYnHenJrMVyNHnN3yG9cc+KIjCWig2JpS5VQym0p2pbn+UBTMZV5c0k3ByzTa6ZMxU3MMesm/IYw+LrQwCaZ07TnQaurFwL9xTUS+FLLPBhmNN5gQtOMCugzQui6zNy+6xFKRM+AAKB07sQmGmw8HpeNaq/aoX7TS239vMuPXb01md0AKmttrQv4WEB/DLxEODqlsDMZXiyZZW1Iav05mWz/3Cljyo9bGazD+rurGxBM/6XO5yw+UlyJKNYLNlLFFUfgeH3Rvtxl6I49GJYHkuyzLOlXyQfqGX0/gc/i5DvFuSSShe8DXSPouUPS9SdJ0V5y8n6uNSJSqrJVSCFkHM9r4tKIZ9aSODRoi3itHQhReuxDnI1rjAthr2TgVmE7Uh2VSM2nA5GEieJ+GRJS2X7jUtcTGKcjC8Qg+s3948Z9yefGP/dLHUsvv3nAuziNyStVsJLxY30O7oppRCNzitQQRn1AV0DiYYn/1DRLwVFa1SDAdyt/xAvRCiheThEL7n4A1C2jQcSAxJxor4cxZHuQFoPwCTjfjPrQrS3VrW5ooc73AkwD9AWoeuE3f9/KhKOTgRygrm8uZRP58uvh1eqpn65kOz+ccjE7x5tElpOSbIp0CJNwIawBvPQaASKfjNbVfRyTxapLb5Z6ozSy4rB5e32UQmhO7zr9sWZCBYtX2xn7G1q7OXoFT48we98OhiITeO82W0plKanqSEYkT3Ld0up5+htPAg+RY1hylBLce8raD15LFjiFQKjFuw/+ND0eV8MmMqOiOaX0ZKBr8giZQwvOwuthlRN8EYs4+GgNCExZYG+ZvlUei1wD7EyaQWIAPlafjE088i6Px57DQPtf9a+1xy9rVSy/qdC55ZCndNmIRNz0oEaz05FglJx/1oLDA79c9bsv0UXzHuxyJN2KVd4cTxrn3AvBTyvglEG6zdsIKRJxEVJs/Lm4HsY+TuMSclhNuUy4nvNSsdLBwvc+UpVOwS7Rlv0ELJM0JnZAgu47+Mk9/QpW9X/qqz0styez1lnhAlMrRWPz+aoamXLhydTgU+9l3JudH8mPtxWepR3cY1+r2Ko8NHjsHdHbdtx8nG8E+3QRKS6vwgZ6AaES3vzTCY3sj4V+225NXpKIxrQmHkPz2mKUzXRRqUsd5VvNmaqsl3Acn2c7H3vRam3aOAt4o+CG4k1+uUK+NAauyLGET9jDnPSAo1Awj+taC/PyojM0DKZx98QgptekW7dS4HnWlCFCRHM8R605VaPljnV9u1y6JAF9egAt0ZK9d7PNy4FIgi0Q8ga1CI70iG/nxxuQC+7KC8IfO4A10MV3dosksImNoFUXYOqlN4hSaWNrVqyhjqCcaaZEAjyKvuEwZrTJdnMYH4E8JNhjYI+2/8DK+faHxAxskmJ7TeckrRSqycKW5nhUvDdlNo5JVcLqfSQqrqqe9OoV63Umr2FIjt4fByZY2IWf2QNuMVrtgDC0qMCAfLX847UFk2W16SyXyd3wzJ51UFaB4LeOASY6lBBpwi6Y7eZ72hxjungITU1kDK2U2Cxh7WcBeBBvHIsieEApWEFA+sGQwutsMQ8GGpxip9zyvUVs1WcmSDW7T+mVYeRMSIkFNwLdWUctRmf1SHXK6GQ3CRtw45charzTyac+cP/oymSZE0FL9fCrtsvE8trIS5TfcYkiwpVOY/FyE7eCDN9hKICEN5mVtuM1h5/1iElSiI3C25t16f8MpgTEfi5Gh4ceDiwhZWKVvYpUrWQAcgbKj8EOHJ21DYX+thaVpZIEz+Gn/77or/txOsKRUhygmFYJ5qiP6eBJt3eqo3iIZcGh/IZDZ2qwAxbL4BBDZcBcpwQEClfYdRROoitfuEeha8z+VNpT3s7qeLlgWGjFOkfB7YQg6w4zpE9EHDHOc8Ehurxpi2Uhy2Fw2mLmnKe5RKGTP7AZArBRHpvGEmtWUJDxv0t/AQrtfHmZxNPvY3Ihq+iBD2X1ZUtapAWFK0q8s6CjP1WPnctrzK/DAJx58LP4e8Ld0Ee2mZJceHu5ZXJyUwiccwSA+D6bIeQ23i7TPeGXGTh7d5V0EpsyLr23LZUIwPnZsvkP5d157xVIR3+gpN0j7XAsg/SPlW1toS/zEb3iYyFHB0gl0MzBEtxOVRn4+ZX+PYbyP4ZisCM4sHZuwgxzedsKR93NyLgKUATty/qMj9yyG4BEfW0bxACt3Qi8H1Ua0BynQYJ+Aeu1xZXrYiLwklmnzh6A43eVTZLc8VUQKDratZ1Sc6ADPbEGpmA41EMRZY7TTqO0ZTY8v+m6T6nwJbdeXKZgtZ9kE2xNXo3p1yUuYCtC1ToalR8KI1eoj5u+7mOC3WmA/FBUFakVelU7EpvZ+3Rl3gNg35chSyCbKg5Uds/yzzsZcxGWSAZbg+gEDq5T9ELZEw+fLYIZv4BtXQCGZzT5fxBDqLbsDeX0Yf3RnY0a/77WGgFsRwGnqaEp/kCzmOcCsnXQVgkQCZCUVbowS7IGqEMmb6/LGOd+8phaMU71+BtkUBLq+OISKa6AqmUqwUieH9AREHHy/Azhe4RPFn0NwqTp26LYuyRVjd923khh3f2CSzD/+ejjubH4U5mUc344Po=">
            <a:extLst>
              <a:ext uri="{FF2B5EF4-FFF2-40B4-BE49-F238E27FC236}">
                <a16:creationId xmlns:a16="http://schemas.microsoft.com/office/drawing/2014/main" id="{3F549287-F359-4157-BD31-8D28041F1DE4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9987916" y="2098760"/>
            <a:ext cx="1869122" cy="416631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btfpNotesBox350040">
            <a:extLst>
              <a:ext uri="{FF2B5EF4-FFF2-40B4-BE49-F238E27FC236}">
                <a16:creationId xmlns:a16="http://schemas.microsoft.com/office/drawing/2014/main" id="{A408CD3E-4A1B-4FF6-8FE6-2831516FE5F0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</a:t>
            </a:r>
            <a:endParaRPr kumimoji="0" lang="pl-P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6" name="btfpStatusSticker269916">
            <a:extLst>
              <a:ext uri="{FF2B5EF4-FFF2-40B4-BE49-F238E27FC236}">
                <a16:creationId xmlns:a16="http://schemas.microsoft.com/office/drawing/2014/main" id="{A7357602-178C-45C1-A24B-014EFFB252FC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67" name="btfpStatusStickerText269916">
              <a:extLst>
                <a:ext uri="{FF2B5EF4-FFF2-40B4-BE49-F238E27FC236}">
                  <a16:creationId xmlns:a16="http://schemas.microsoft.com/office/drawing/2014/main" id="{25E35A0A-16F4-4C41-9A2E-DA9CE1C4BEF0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68" name="btfpStatusStickerLine269916">
              <a:extLst>
                <a:ext uri="{FF2B5EF4-FFF2-40B4-BE49-F238E27FC236}">
                  <a16:creationId xmlns:a16="http://schemas.microsoft.com/office/drawing/2014/main" id="{9FBEA0DE-BCC0-49F5-BF72-3B3A43F5B12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78C8D620-520F-42CD-963D-AEC143815E6C}"/>
              </a:ext>
            </a:extLst>
          </p:cNvPr>
          <p:cNvSpPr/>
          <p:nvPr/>
        </p:nvSpPr>
        <p:spPr bwMode="gray">
          <a:xfrm>
            <a:off x="339726" y="1646238"/>
            <a:ext cx="1874520" cy="449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which country are you currently employed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1456D98-B5E2-42E0-8C5C-B55EE10D881B}"/>
              </a:ext>
            </a:extLst>
          </p:cNvPr>
          <p:cNvSpPr/>
          <p:nvPr/>
        </p:nvSpPr>
        <p:spPr bwMode="gray">
          <a:xfrm>
            <a:off x="2749233" y="1646239"/>
            <a:ext cx="1874520" cy="45252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der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FE8CC28-E99E-4561-8A22-17508AB63E9A}"/>
              </a:ext>
            </a:extLst>
          </p:cNvPr>
          <p:cNvSpPr/>
          <p:nvPr/>
        </p:nvSpPr>
        <p:spPr bwMode="gray">
          <a:xfrm>
            <a:off x="5158740" y="1646238"/>
            <a:ext cx="1874520" cy="4494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d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DA09900-D41B-4CB4-9076-4FE150369709}"/>
              </a:ext>
            </a:extLst>
          </p:cNvPr>
          <p:cNvSpPr/>
          <p:nvPr/>
        </p:nvSpPr>
        <p:spPr bwMode="gray">
          <a:xfrm>
            <a:off x="7568247" y="1646238"/>
            <a:ext cx="1874520" cy="45252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est describes the industry of your company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5DAA55E-CCEB-4D0F-A509-3BD2E6D63A68}"/>
              </a:ext>
            </a:extLst>
          </p:cNvPr>
          <p:cNvSpPr/>
          <p:nvPr/>
        </p:nvSpPr>
        <p:spPr bwMode="gray">
          <a:xfrm>
            <a:off x="9977754" y="1646238"/>
            <a:ext cx="1874520" cy="449429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of the following best describes your current rol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E606F4-F822-4251-8855-93ECFB3A19BB}"/>
              </a:ext>
            </a:extLst>
          </p:cNvPr>
          <p:cNvSpPr/>
          <p:nvPr/>
        </p:nvSpPr>
        <p:spPr bwMode="gray">
          <a:xfrm>
            <a:off x="3877098" y="2605424"/>
            <a:ext cx="734507" cy="332712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</a:t>
            </a:r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btfpMGChart5517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T5pfdkbUOnkYudNyNyLWTdO329Fgmbo5A4RIDT9h9LeoFbbclESC61DGvLg/AQmW4KVVZDApKFL51Ia/XAyW4c5NTiwP7Uk+2mykSLcaAPfooXnlnka+mn6Ryv8SG93zUg6Uw7PHNOPy5XDpQinAFBnz0SVXJiFLiR731H6PFhSVD1PXtgNhIJ27zEi1h/NLYwVQ7RCnUk1UNQXcxJw/VERl6oeyfxwwUoJA04jdqKUIpg/tqkP/oj0bL1VUR3yrqrpOwoe8fYtiLfdU/RXE2z9Sztjt6iIk3Al+g7aCNMaWhuOHOJob5zias4VB5q4Nu4XVs8b0fhJGwlMOX/Enz6ICPVwaLWw31dnYhEqVfsRa0A5CzyfeAYp+V2OdbZXAPzbtMTx5dLYwBOATmy9xDL+MUy1w5OwnU2HF7ArG0LjgDD4TljiVbAxrtET6MGgYQd2Dv2nEC4nzYeQVw6KkNDU8lEkpxfaurucxztKubixDsntyo6NvmSyhV8wbRRRG2IfclxuAv66K6dfZcPMv6vwVu1na2IqkI2ttBDQYlZuEAx7pcfNakf4rPERhHPL5u9Yl/SEUmToGguYl9Pd3cL6ituE9Z0ggnCQwfdo4hA4yJJMSS2q4RCzYLzdKvDYLBnIivV1WPGpCpssUp5WvOJF1r+0Eh4jbzVRjxmlwCXQozmmLrjWCRtnmLRZWBwoC812mBT92wWnmjtIQ78TgOpdx8wjaDVG66DtsA4+CWTR+s2KHVESjKgLyjEUb84K1TiAmHcYu/aoPmq5lwn0hTWaFfPixOBXKAjuogvMECnMLHeLmdoLcBgQuqcDjn6PzEDvnjW+VUOddgSQlkY3OLDln7Blh4pnhFOYrzrTMQZWU3WVDTZJYIdrU/Em26aSSYPAKdBrgc02KPxxPo7Dvu+3aqFalCLZ4e6Q97atSkGPw958Ej+2AXtW+2SYmtRZustBfv+6VOkGu3W9ikiFc1+GkiSsqSN+EbcThm18i/vlNc09xCkv3geVCoee0IU7mr8qN7ep0haFbBe9LkfobCAllxIqsSFAUozKZP09i/jBTrgAabb19U+FrnkyjTD44yAYKVTBrrtdMSgeGcOu28IjmEnr9u+RA+18J/cDJDNn+RTKjn292/gv1WAnVfj/BLLm+EgHHI3GaAxc6nQXrgzLVM9OJsVt9wPkzfVG0wyRsdyga+55/vpJWkvy57jk0FDN4Oxgcf7txc+5iHV7SCw8wddBUcdigxggQY/hlNanCs+OljwurFavkzxla4BGP+LsD6/UCiQoKyUpYx1unth5Kke5GIG+5p7nDxmC6Nng221X49dRT038VpwIM071VTQWR3RgGsLMG3GmykY0DInG5ING/64qgsNWk5g4ykKbRx47L3dt5jRen+3XM8TIzAWbjCRv+4YyQ8PHBcOmN+ga9jzP9O5Y6FTkV4bmn/5CccrcEOioyOBzwobXwK5dL78izsu0rbDEx5KKBpjuMNhZE7E0y1pGufrC5Q6tA+0eKPXWFXk3Qa69uKp6guZ5JfQ1igwi4QgI5E481ifpt8h2qwXQwqgWYvh5AcrWmPArgxtBbYeTyuQPiv3bP83OSx9B+KymxkUk+rpFkASyi5l6c2Up0nNIe63CQcLJNL7+f81cIJvT8vPgRei49REoqJBGSGvs3coTu0MvbEMVTGON8yK83KB+r30xMdCs9RetREiC82JGnKsDtEgXxu9MlYHN6HbgxMeJF+5gV/tYiWM40yqvPSDX9l5thNaK7bZpxompj5X6anEf9+gFTUrEnGb1v7KOs6UFPp73IqNGCl/J9DdoYlTQqbNxhdRtl0hPLBceZOWfvCbjG/J/fURcThabLKeXBhsKv/gGQqPCUaAB8bIcLXf4N/mmRqus90UiAu4VXTybp8gmVXUUhVrizEt85XNGQi7LL4Dlo3aY6k2kBBqYTirsnEvqqwt7BqnpoYLN8QlONMzMHAKBXA7eHpBCghfDO+XKxpyB7ct8MMRRMdMhvvJStA5WKOaeDmOy0O7/LLXPPWWsPN7ctRe0wJ71Fudr29OnLN7qdSQTdafzt1pA15qux5JT9Xlg0Hn3SfFWERNbUHz9X5wMZjX0LxCcc6obUJ+fEiIIdTR2A1zCjEZQNZdZ91ZXblEQXkFKFsdt8Q4Vdloo8FBLFnNAMJBE1muaKp0bYyVu1SosYfHt/repFdwgM4fqiJW+4JUsYUNxmAzLalRMgeXayEVpN1uQ766tgNGdAc2Ox8MmYdrv7gb5Brrwtc+/cPNK265pA6jjoqgor5JfRWXla2xEpAnM2m6pGRnMiI0qPwmd8O2Vdrh1t2ugC0DrR2EHlofAy9v2/aXISkDp2Gvx/uI1X8K3KvN4Rtbjm+FQOg75nYBMvMPAA5wx+wjGGXE0CgNuN5Rjhlc5f9ApACoh/LJXaIhfe9iWrjTppF21q20udHFEHsDpmoESrHQGAOkjZ3qyMBgpXKsNFqLM/f+H3EPKbgzbjc8i1SA9MuhWn3q8O+rsOrz0SmUvxmMaGH2MJmw6llrLD44sKaqcZm/efl4Eg1dVOJcoOFO6jT/e3yVCqvdmoSnErpG6ZZ1/lz4Bczibfvbmoss8ZQdaqJPygbbWHs4FcvfTfe5qfNTIJujdYbq0eilNJFZgmCkSzkcqxoetxhuS6He3rfjrB1Y7N1BVs7G6GVlw1UoGn9eTGWmryoTCHrCh8dQBkWGgAhMu6RhjyXu4+w7bXRUTdm5kvCncJ4RJ/AE9NbO93kKVbTw+zmE0urWoagUkV2Wyl/6msbLuIgpa9wPuVejvQH/SWBCYaWCm6WszQ4JbMzUNqqgx0xJi8kE03xep/VbAxHB2LUzdZz6uMAtWZ9lXdpAGDpGmINXlE990rcXjSpC0FUjhgGOsYzFUtIJ+5+nX6asTlhg8sN7x1MUxt3QLhc0NPa9KEZc3H1WxEmun30LriZbSijnHCZq88whjeR3c2QJX/ygJ1B0t7qrWWzuITLFX7HGaeen3TLlFbVaUDq2rntkZw/YiI2Sa3ytyvYQrBmQb2gRUikp3TdVbDfoYGteni6PvQQSB4kyum9FSsgCY5ixcyackT6trLjXpaLNcVNHyyRXijPaMRT29Q62XHhi60gCQYElzwbI7cdhejtwpOqtE4OFfnbHtGUuFoKClyC4MnNKiZkeES9ije/5VAEXL8eIMCihX1zWYcC3vy7te7+gQYqoMNatzwjBVHjiGByqKVTcFCVtESmdwUKgVLv0WtAMlREBakD8q/Rzf6z5Hpw/oX1O635l/MJtfqmKjDu2qgHCQ3eOrPfjEZUG8vAYMeUT7zJoNSpsGBSwXmORfLLUxIx7sah6tlbr8hqAmAFFfvDIhIlRpmRNrnhp4cO4Wrno8yl8NIYnBHjO1LqEKFQNn7eNVTESb2DPM+tGygQexK/MWYDVVUZiKEbvJPAhBpomxYNorm6UpdoxoxtWwcLnm7ipMxuWFCiEIsxz3ducExEYpap4Leudh15J+P8Hvqq9FqgNqJpo9RmmxbdfqfR0Ahe8G5Xm+Z4AqKmP+aNSlU/Lltuk7Z8bKBa+fsItzEWiNjO6v+Zi/b0MQQX6Rlt8sf9SxLpFO5fKkEugO3Y3AwVmWYfLbNnbDqoffNVbpKLbqgIisP74UcJTqxOmrffiN3umJbHPXEob1Zn9CFDPCoXF6yXRX1DgwbgaBDv6sodOYYsDGDb3Z2M+4vPlNJawqLNIPZ2wfG3bXHAZeBC9BQzjWmwcj17poEaPaf8gTc2mPKr/ypOPA59bcXNlnmw+lbal79FPWct4VboRL4LavJA4UnsMpad8JYKOVDu63wGp8oYyEbtJ8ALnl7IBwx33mJN8zGlYcd06O7b2eponwms1PL3b/mA39ZWp76uMw4WUSzDnCjIhpyAL2Q+76d9n+UrYn/j8GLq59+QCEr7iqjvYhbYXGUrDSL0qPGZlmM31DfGyPNdy9+Tsv8K2EMrqHdQcKql2a0JfF+v3s5BPxH8B7ndtm4YG2c9M+i9aUcDvc1o+MonbEMyrR/XtvVKEt5cMli+NNERmqskju1vaUiIKjoWjClarb+x/XpcXOK2KwM4WEqkCO2ptSzWQIdjUHyn/AKrOHXkuvs/Dn+PyvDi+YfPpuNMqkHMM41c/IUX+gH4yS2lYkY13pZZLK4U1SDpJP6EQNksVfWFvoDBOsVdDNhXpKtth75ZjQ5O51yhjkynzu+7nmKeVXTIbQ/hRj4NOm8qnN2CjHiuccLuU0/PM1h7f0+8NVnrmSoaLOQkP9kLHDnmvet2IRQWoAH+N3MDtQ//i7iv5ot8EkA1Htw0VQqGGKteqNsh8D0+ELU7BVS6ed1zD1DuFMxi1+RY6CV6Jca24kHCxu3m+QCS+T3t95mBIGSxxte7/y7+kEVFNepWdbcscyEO0g2h4CzXJth9cdZOzQx6TIEVqkWjEuOqtJdMmbhzSiwt30SZKZP8p21ToEmQRITEvn4p9RWNvXo70xeoA7S+TiMr5k7oFFVEIoe88NSZwKD+F8AJz84WZ0npXijQrRCKeCTFgEXP1vnyfrkKjLeewzVXnVOusk4dD+LGBKteoXPFr93YuqIVYzsvzRTmfi4dyV6IAqjYY9CQOtrwsOBdo2jMsxQLnNWgM0AdHZt21bklgoWnHn0wNckjJeE1Ig1I+yU0EUJcQngaZI/bN2kJveRLRo/ukRr8X7DTC2+Mu2sBp82ua0dc7+vndpudrvYMcitYy5xz8GgUVzEoJST7Cyam3+kuoYDVvLmhY7hIbREUcw1uZ6zw0j1aYZ3U7i5zZVCmwp2y7lywHv7eJBEVNveg75z+V3zYVVsSlhgfl18Uplmn5d1NUtQyrjyU5C+It5ZDxrBB/NmxiaGbtp7b9Fg+GibanuaMQGZ1FJNl9MvZRsiIkRiKP2dYcKuub2MLEOLp2aqycvyu1YqPSKWU0kc+wVt0Y2eLyGVS/z8DrhjnHzBQx3lBFc6U/IkNkbFGtQwuoPCPLaBvGNGLW8T4raJnTX/HQ7vtrA074PVa8GrndXUtK7bhUD5yOYLCczMcpIusY1Rle0mo69e3Msk60KkdsLdmxwq0rPP8s0r7dpPo/LY/Xcyz4L+9rHDy7urfPMR3Obr0wraJA8vkg6BZWXnRlTxZrQdI4YCluMMHW0EKglIzCOv8rYQkesd/Dpyx4ACzgfFWdXqo3NLuZTPv3lARQrvqUoxc1UTzsHAzjVD4dXsAfRMor5f820OWJhKIQ1dEasLWyekX0dvdRJ9/NVysC9c6NGs/bQSgMZ41SMSIkKf5SKWYgVWKlIBF3r3isSTWwX4GJpoml/3Hr1/HVOO4tzwNdAQxvzJq2rwC7RZCT+qpK4QPmQsNqkCQJlpEj1OGRJrxVxLs3uvpZECVVBJkClN928Ic7aQzkPv8jwC55oZzDGjwof8rZvIOW7uwpazkzf/Dt7+c5Dl2jl2bP926g0Jo/QZPkliKrbZ6OFPcE/Qb8D4zxbTRbgjKrjKlNxb1T3mpibifHcqmrPhvdBPDA6p1AhU/VYlUT/DJ9TeQ6IwIcF5Ayd7vJt7EnEakpy3CHgct5vHH4W//jteVmWmi+QnFPSgubt3kJOdQgTYZv5sz+MJYLaXgNA41ZzJBENbp8pAdPVLyTEPBah9K6HbPVSTcN6qTyCONcKgMfaRp5LbkKzgVekvR+CjAc1hX+HQBA2ScK2hRV+4aa+mYzlPGa45aD35qerJ/qDdy3fvtiZKwmzNITq1q0TphoDXwq59G/T9Q69/yiQQYnsweAj8I/c4bNtlIa6Ummy3vg4wziKH9yilE/HDFyfwqc0hpg/CYirmzUCzmkrpOcROY/2ygvh2aGF1ET4nj/vsFYe8YON5dSgw34TktHFmSSinLymaWMo4SnXDCcbI8gzMf32ZyXwiDPa6wxlrA/PumGEOdr8Ub22oVx9+TuNaT6poRdzTOEgdJH5FR8JICo7GQKh8Hhtf2w/pGSWK5x0DUV/pkz8e0xs+p6OWciBDZvul1LpPoJVGyg5b+qGPq12NeY8ui1Plhbxo0znO1wThLy/K3qMojBgwAqXfUW/UJU7ghqXrsWJnD4MsdtzDwj8sVio0++vLQOSc6ZPcV6XgvQ+reVIo2+8OHIhO/qiQYu7ChTLOU9ZLJ20xcNux0T6D8Vg3xjdcAI7bD3Jo4ACzaInlIxikHwSYfoZGh3aNmxmrx/8c6Bkabpd8NTUO0DxVJsc+ouu3OcizhazF8WX/4c0I2IhcNoBaxevn8Diy0WJv3YeIPmhMN/3HZBbnrJNoO8RnzX+ndVmS9VENl2fIde3QwD6SlJC5r8dmQl3GgAMZoVwD2E5IKXngcqyMPDPcE6E7jBz859bPBFSIgvpL5UJ21hvNj+4EOw5Z0RjRMV37z35KMU9QaIFfzeAD25jWeXOviZmtJ1+gQHgeg5A2CgZZwUkyux/keYQv34eX7CGwJfOiA73ThLla/qNe9VHo1eATEgakfA2ipKG0uhBvrxxmbWCMbd2286OwXoPPNH8Nfls27G2hmr5fqhIg7k5y/f9o1oMcwq/I7USemPnVzNBk5h6MlVz/wCYdPg4kvTBwP4rGI80ZbLQ2Vt44RjwTP760+EYxgbFOqYpc9v8w7W8O9qi/mM3n47gHgbxm+I50HIXI9Ue5sBXfH32ObbIVOVM28XV7+3xfxhYq5/OoHD85sR2Z4Ud2StnJmleuaVk8l0g47CKm1HKJPshWb9lTogXh9hkm8wNZg8TFI03ESN5pMfFaMXB2Bth7H6Pr0BDK4k9wvlPTsztBs1YZ2+ZUvLru2BAHW0/UemFP1xMXAwJvsAS7a5CWphdw+en0P8nnZT3pqrdoYKTmpqudOPtVehAnSmr+18r5i86w5V99MprS0I+BdS+SoD4Ljv/F50sOghdbUP1ZY7VHgAb1KMH5SQgRCMl5xVn66divvuVxGpiG272zBG4clKOQuCeQmcyQP2DccKd6QeibjNXg8JbBMB5/lSk1Ga0Xe7mATKo3vZ7sY/h0SFgJOwK1gADSTZNwRGKGhXq3KmTa9T5KaIP1K2sUAerWZC5oeH2bqt+w5BMKNxpiS2GHwZVfoyg5buyDMvWh8FOqsnTUXTmWb1Co5bX4vfVmwJW1GLQBoPLG4L+ecIx07iJsJ/k2+a/+I+ZBFEW2bQwn81mgxknkFb6BcjSgk0n+9wMchKnELjTvQ3uTfZoz1Ol9RK9TP6e6Zi7MCscmcYovpiXWAmiS7XNMsIgkJkOZyU6EvV+OIP/ubZhQjKo/6w3L7HVCjkfPsnthiE+HtW5wZ1I2w29bU2uMvp4tmuVSgErixIrEeA8/9ls+UzJs+tZvkMbGeaQ681JAeUmz+NmJCbGYGeRDOzbRBgkryF/jat0jkKr0DUj9iuzqceGs9gCr9P5wj222vMQkGa/4nVXKEICec4k8VlzUxGyh04zXRo+4eGICj7qxQFUvuGoOOrW4n54AN6C68+6lrJIVVoK81ZZwsuocaBOJR/VhXbRaqN6uGJ6nXzUPji8YpMXKr6kdmCqqEd/mdREzqkfdE280vc9E1qqStLpZWyhcgsCe6q/IjRResAwasM91Zq+4/41TJ7OHAO7AeYU6XXbGGuYxkOdSOlYph4Xfxpn+f140FYzlQILhglZzPYm+/ahrOY3KTHJGB8J/8s4BoEpum4onP26BeMI7UWCD+GwxCMBRA7GVXL74TWmcS402hwQcJDpAy3IyOgp5SgrtDQfW72l3yyswWG/ei+sttrgv8oFUjqkJSF2u0gemJNCMfoZTzDz9XhgTz6V6nYZ2S+bckbiKCio3cb+RKTFVtlzSQqQWZLs8fRwHd/3YDdpYbMZYKo0U03GFCz4ZF07z81glcgb+ewuTRelnPPxOqcInrCSBQ5xwK++DOYYRDFyFGHLAcroheFJbAQLVkAopw6mG1VhydABsThh/IOuuZiw73d674FDOKID6drzpG0S0Zjvy7BwZUm2XoamMgfWz4292EYk6afp+RGRY4qilrsR9Hmvm8slhbOlRsJitfaKtpoZoYN6AY3yyv/TInEYUMQ16dqLoUfT5+JlZW0RWPmNHf40Q8QEYAA0Q4kR4WAzLLN1Q0BTKAkQN7stKbryH8ybNxxrVOtNhGtix3nx6tJVPNNfEfdSnsQo8zNsc8pi/9V7QNOPeJIS1wWqhqfvsYWZgC4owRS9KBAPascp5KKp02oaDJN/nDXy+E/Cst9SfHAH6GQoO2bM+rR1VlkVth2r7zL/temHoTDbPAw61wz+OrJ3NbtFWQs0KJq9sGtK5dMj43rSnP00Cqs5sitpJDvWuQ7j9W22zDzBeSBudlQ1rMtYv2lwyb2UgVKr40Q9EZNqNnjB7OW9Igs6puZtBV0OyeVMiZ2JBSOwTFlN6iWvVtxw1BvkpF0Kx4FLOWkbhbGWtOtbjoKCpAi8XrA/+2XQBe15hfkZZ2mng4TalBX2eZvblrew0fYShtkFP5wR7GYMzrp2ZgxiDXqRjllz4wyJedQ4rDvT4jp1/krmJQWSNDiMCztSlanc+TZBKcq0qNacLYw3Tv7mHc6aMZGxe0C+XGV0VKcEo6lp0p+yH0duhwNGn0gvk+34Lkv5sxSt4YhGqmV6d+ktxLGn+I+sZw1+zklzAVxtVVTYVXsovcPzPXHPSetOf1NT8m7/B/Cmmla/GeY48MaPBC4Ddr8WHjWnx7bYQkfw2DjyR4RvEy3Qt/ZVju/AaAaUg8ILxopb30bZqK3X2t9Q8k8DdJ9XMi3J4JP0jnrjeTFBUeCseomsfuzQP1dn9njqhUP0P+8xHDS/49lhTKVWf+tewFardCIo3nyZXw+zClmXQ5ykoK53jn68SfJSxqk86hmnfO6evaZDz1fH4h8md4liskpLJi4bwp2UHs3G8IFPjC2IUeMiUmDoRMe6AN0aqmXT969fwxLXzmPJOLIgc7oCj3A31Y//V8ug8DRdt+CGMoRLGElYEO3XXQHp+IUsAiMOypp8nOkJ3Yj8JQAq8NpQJpcx9+l6o0839GUrCa4x+sW5HWRIdIIeQ+DPTnW0HWPfcGHr8E5BPPIDugaINEnUro8VOCBBmhJj3Ket2bL6x7sBWvoMsBAIrugvJfFOK4CcCvxzaFv0iang7sCFlMgzdnfHysf4N/MlSb+iYvLoMDoBzJOa/aUmp1dkF7sobhZfjfjDeZkTuPRJiSBPi2FI9YHfIoAgMwpP56C9Y/K/gPVeaWI8U0dQxJ2Xj+6zwrc3K7ZfR8nj9as/St+L/9/+crm1DgV9wAigxHIXNceQmh/fVPOcRyM2jufmi4j8Wp4HwJ73HjHZroN5yMViJ0raHoEABgUu0DawAqDj9wt83PZwXN7AC+53f5ldql59BrUEViY31o1DUtrC9u0/kGOXjIev2oVRpyZ/zLCVe8a/UvLM+tzC/Bb5lEQriJTO66Xx1MmehtoukcrwH7sevCrwwXNEeTxHlvcG3ieYRBAvk8sEsnTDm6RORdfgBdlsNkADA2kwHXQ8L4ai4tmIYzGIWPYoQagEvRH0XPJilBpbZreuPJOHbM8r0+nNyCExBA0obmRp7In18TVtiMk3sVRAiA0okqoyt7nWYYuO5TQmLGkr39SiW6XxzM4h7LOgcADJl89C7gtxRmPL344MVSMqbG6ClJ/1HOJvnNsvZlQMBDeMSHtuwptvrRMiN+eQexhy81Q9MsOS2wwoz+wwr42oJhRBsb2zrNsMJH/19lfWbqQlWX7YdteWP/x8UJKC1xkl4FbA7zkUKbFtbfr36nuNoZ4+3tGOjh8Aejxd28OpdfqF7QqzYo8tW7cB47OgVW+sHxIIBggSywvNLmO2jYvStVKTt3B6iFefXUReXNalxjotfti0mL4K96/TMHB+DcCuf6J9YmxbJ/y4xKFuyDingCogR2xpgXO2orQYP9eljaxy9iHnuCCHvm8+LXXYar6ErFSWNlAR79ZlmZpxxvzEEZAJab26aUR60edBLC6YsFDdQeIUoE8tiudHwOFyZn5kCn4pAe4Lzwruc+GIxiEEs0FKb2hADgDTBvZ/03pcl+TI4VyN0T9pjs3+Afc//IziH8DPIRQOZKojp2eeyV7sf87nVWMGHN0CEpGRHD4Xz+7judxB66VYNl2sKa5ULzVcexmqx1s2xZEO7ca3E6SVA4Zbf8hlrey9I1HiwfZ+hOtm1YHAsCmkji4sBHcm6kMULXXuFoqk1AXgUV12sqMkr9a6U7YAFVtB32Y5yZrvAX7t4jUekgsKCWqb6nLDZBa+9qG5BKzDN2ka92ykCdMpaGB2yNC/j2olBYOi306PSjWgzPRBJQdCf4GxmGWdh6irRneiQc8kdGkFmaso9HeS23sdu+R3mX8LwcKyL1/cTdogG1pK2+vicQTq6NokZSAU//2fo5Qzx0e3utxuNogYN2s+CeVkxtS09/V4J1XATtQRCpvw1cJOxL/tAk4OKxgSpGL6OMRQGxtDKENCI2Obdh3UlwTv/No0of697t9Ja2qn/8hkxobkEFChrvjifPjx+ji8sMCfIp3xZ8YApWK+pxngOfbY2Ph0UIeezqKAYqgOcX36MKWhky+LkrTVtdlC7STiOYHItxIRmvLwhVuImLUBqPqb9x0uEftK4olTOy9l6d0m3+qMBYEKOFUJeiNTdyPFdoGRwJkWPjGu4Msj4Uyo/pA7XauJQmjaLANJ88rXUTdwaAst6kdqLB+0tPZUAiQwGFBEIBy/7SwZao9GHOIwJ7bXFzL3jJyZVO/VRWhz6gES6lj8yiLZ2KjjlbMEWRWy8whINfKEUhL/eeF/n1DHCbhKs2uHUBQ1+BVTSwtSDvGK0r82iYRkbtJo8+Kzm5zFe9ECtj/MbV9CIYgcpUjmq/KffsDFIUTv7FTMZZF3fXRD3uYTkHL7DGqTByX3HS3KRgOlOvGWEOZr1DBqATZCCUEI2m0n8vEdl3zPNI84f+nunyClyxrBElHZicpDmXQmht+W0yYTaIH7zgcN0IpWu9DqSY36THjaFrmicutqOrAdxkOSc4jrJQ37ZYN53avrAuyoU9OBcav7jug/3R7r4u6y5JEKHQCkC0+6/jX0cFT9ygRWUEiv1Cv1/74nmZfX4EN8ACHjHA3S/S+FaDZ/eR2xLCPan28x0g1eapMBrP2lMQYEPB7CtSYP0xpdOLs/cohL2qxqGM0QzT/CZ65Hb0EJw0I4G/4u/lMp46nCcoYPMbHefwXnAfojP3ha5yA9uGNjbsK7FicdE8nQK7LPDEFr3e6pNTt1hvHOMokJhpGobZ6cWFh+3tr1D0gcWt0JH57SjhIp347+u7SM8wfR9UdBGtLZ+DBZP8DkPahir9EPzPFlUqjsGmh4TIUDfqHCzTBD1PW8o4KchO4ntclgiEED0CdLpZEGzy3UEgJOCSUTwZjg4LIJZAcgKi48FybjdsRkNj0C+UnZ4sJnr/z8Fq7y544861wKs4YVIuaG8Ch9m/8zrJ+B+8sTWT9KGdfVda/Mj8diXWLhFEgUpHMW08Rw+Cx2HTfiACcPI+Yhv1X4mzVswxniq9LyD7vULorvvixHscSfD8wLDkoZtz4AkMCm2ZocCkiGqbFpCLI1fxo9R6KRFYi5lzIGHwGs1OaLd8/kw3wTmJYxWVcEtMXfsgIIYBNZcNoPc9/EE3Z//sSv5ln767oIOj3w/IRKehzEGJG89c8oiSYLN5tsdDHPuSx8BmhoeFGg74lEEDI1bBqRmBCCh9gksZJgcfaGVOfuWvPeWDEIIbnHizsfo/lv2eOAgNppgLFNFxdWXrEnrTZxTEPQnmBICGc8Oj/5As97ZfWsIrhlFxKv9vxPbxEuooVz2OUyjIqBZM0gQ1Ek/ZUfhWwkswKmstP3oAvbnGd1PooLxBboy7vDWRilhNT8lAakin/nNaWPwjatdaIB5mJg1iclIq2CeRCaESggfZRhGBa1UmhYEUmcKIBmjjnnAjMlhzLZzmfKs4g+FYWwzttUEpDk0l8eo5ZsqTvKRI0SNnjkvYOuukNM7t45ks1McYRNsOnupULSXvasD07ZoLTFisVbPemkYhxHyRtcxC5rsk2MuC/pgFnEteJ+Uu6HWPZhoCf3F6pvAiDQUZIp037my402+RG767CIYfRcKR4LO/txuu1nbBtWVPWtlswQ1PuEUiXSirag7+VHnV7z8Ot9GcSwxHiPbGxyIVtPLNPNutQLRNzCHtYTxFHxNKCgiXKnz/Ew6x8GLbpx0bZ9PVrklO7GAHUkyRLpMt9+yMZzdTXeApy5uBtSZz0khOboXGg47AnxqSCls07bkLlRnikwKpeGiAJraiCDtqn1NyTWp8Eq6SsZ5KlUhDHtobOtjwRhUxJBBDO9CvreU1NcGZKDK2DDbk9z/K+XgejhsV1bVfSUjiWHr70ZWcobcMPDrwrsS4Mc7bSO3ku7WwINbGkHtI8UcrzoJ6Vr78NcCqM4OqqS94Nw/yy8S+pY6+X8u6/nDeXGvgkXQV/QJsx+qSkL3wX2VTcYo6cdbTzU6mtKB8nYxr7FGg88nYvpUM+V0iyjMn6Phczuv3zTVU2eoecr20Wjq4+el9W47G5oo64UWjJ4XmDwQSaqltUTGuhl9Co6vEAxDLl7aVymoagrznhInISa9oJ+56orRnsQrFbCuNNLKQ38SJ1JvNteDS4ENxTcwsBcpTwJbnIoXMUDqt+ZZS8G9TB7+aynnRRoP4zrzfCacd+zsjFUAYJKjIlmAnE2MMRru4RC5aNFh08zJBsTWkWf6v0mRW7ICnyTvaSvLjI/Y9TMk5pWW6t1jnrFVJrqsMN/2/TQ5MNbMEWcmpePk8RLdkWAlaEAeFrkTXHlQ3z9KLkwYu/gpLgmJFq6yWgF2jOj4ogoI6FydfIwhtu+zNS2Meqz1NFqHX2hSM8Ljnip6EGAWvuJafb0Ibw+Qy6vueK2aUXENMH7AT+D6Qjoj3z5Jl2BQvjuu9CJfyHcUBFGh5Z8qCOLTGDlT7PbI48aFaOpQ9kCQWeWbGRkrR3cKL9z4AiA1F//R1tEAnX2YSzQr4LM3uvvwCC5s/tvvyicViHCx3TcpvBipkZNDAMGXvlrhwwIsd2xHw1Ac0EfqDvN82dKoCSGeAho6zThyVFCvxSTOiFU3iZJRm7j9Uf+AAMQFL2ikFjBHK2w+Loqi4bN58k0LdMIpeQ3ksLnLhcAp25E4oTdxA7IeXx6MZbjkUNd5D9wj9XAmtbJSvX24bV4nOlS2BQj5LSHtm3WyMW0guk49GAmqgEpHBI2p1GUUrfPMMsUP9Q63oF4JUqsXnmCrXvbTAom9EHHLwuAnJtDv6G5qKf094AB8iZj5K8Wc+N+N98sA4NHEY2YpBii7lUboxOH6GSCbDciOSmsqWBXsfhcgwiqUpVuZUqFXw27wwsWvuKJ6x394o6II9PHUmh/Ew/m39WDY3xJ3lyLTnPdT+oZ3xMrlROU5fLNLIwUl3FT+aeGPMj9b68RoqC7rZJhEQvfq9q0ZVg/V23qgGej9Sd/oIvO94hmdG3P53KQfk5iNWar8iOUs+6sU0gOSnYQ4Gb0wX3hJyT1RyY9SUbLO3m2bRXosDrDx8NWHYWJ3mAcsvnhTicV4QwpooZDMjqrhDpa9Nmi//uqNVVxQCLqr3sQpmrlSuPSggZDb7OzVybQ/U2UzCijcd16Jju4AND1CAtsMtm39nRMCv1C0s6h3J2yg1HOZ8/zf5oDL+MLLi2AkzX0uv2+27rivJbb4A/xitz4XxCv3yo2LPh3zxUzu7xowjstlPrK0vVv1gaLiSiQWg9QE4lB3T9hDHVmaySFf0l2NV3NYQvJpaW6xAy3NhPNhjft4R0psh/ztxhMH0sFu6I5y5lNeLQ6Ul2R9b9HjVhzJ/ZlQ24D4UPm+QH5qaU0tDyN3nRknmfNcEjMH3QrUCLTXI2121efNWBf0GW0qy6i9ucSKvUQnDpSJXCIPoduvyidSP03X/2IO8derIVOzfjuOjATsuvE1/8TaGK/536UQ9r+aYVvNOi2490fLJHDkKxaT380ZYpWa6nhTxT7xXuWeDkMT0o6ceHisKqybCXAoyeackMr/bDxxU43hWZeDFKwFKfm7F6e4Qwg69F5g239Z85QEWUkqcemOjTxCGtMcbOauqybR6Xjs1/I3dtBromo2P2U2n5sc/t5jumuGgmSzIP4ZRHEokAxu8spBrf70VJ/GGHIaQ7BPn8Kp8be1UzLz4w0NtaSBGTo9jYNuZtaVA/JNkDvRpSL2NpXbrmPjgHZRrvAMPLWb49stV1QF2sM+MmxJj1U1VrWCShlGimofk6aZV2L6zhoBh3SOvGkvJ88u7+Od/nud0dKwPlSeBFDbB6dttmGK6BUcXvhB7IbIv/oVMYgWG5Yay0GIm9QJTo+HYiUcnqe9Llgabo/joQ6ZB9Ujjm0KWHMIxlXVLfia4gtRA6GWmsvWuqxI5oHsAsp0Wc/stRouqRHOLhq1yOvH+eQ26qGQfB9S+JxY4uSUCVO6UkLj0xpGzpLjvmLvMERS12EN6/0TqZLwwvuc8YzOWKxh8zEoONytlmcovJCGrAtXGbI4LNMFuWon29ZgVR+Wfym5jq8tQmuKsHK4+BK1zTD8NGo0dsuoZX8Ur7W4Rworq+wXctFYj8HcjMHKLtENcOhBcz/4j0lXXU11NdrZD4JAApy8vSUSVerqMuV4MCAU3gYkuAAl9gG5sQGnOEy0jSchWRft8ajXokvsoFipwz6TB02h/ud4ep8fIzoZCzAF99yucn6PDZ5oZ10uSbvNgRJTjehv05FS9i1Emgtiflmw35uu3CgnJKhQCBKeOKL89MPLvZh1ITE18XJck8Ht+WETUSdhgUZHV8E1HWWc7j35U5IbuKuB33hGwmRUcJtw1TqgAtWTPueI1mg+hVuO+VIafMVlaoAnQW9eXNURiL2pPB0d7u0CNCefBrcFkz9yGz1jv2zpHBUkqo8F30b5YoK5YJMUIVXuTKu4TswFTRQz9IQAJOmzxauQOuf+mnkjg1JsjwPHRmRvq/UIJ2BP73CURuDnqUbkRClbujLu6NfIrPjr2HosPQzkTEWlagV9jcOAZ66tZ5NCV2BoeV8aV7jsQ2s9SggymqKLfXCOGERzHmyJAQNiSVGSeGhsE0NZnqe7Z8xSMdSlVo8893HaeX7z2DtkuYz0xZYEQOeebWblY/TglTMFJGdOkJPQBAqOr7K/W0Q2tY57YWfPL8mWGYT+CfMqzO+6IvN2Qp0ZbjcuiGFYc593GpzmnYw07EWmzPzGTplzrrWtGoyrMtuBHIBZMQiVTF+STqaJ010ChDK6Jdy+QFxjQQw6DHLdwO5Pzg/LadmLPKg3zwYhGQCSNDfz3265OoLIRyEDGib1ctSAUO/ela7sTnb7L4o3esP12Te53VYEwGaK40kcPwL6weKcupdEXF1OdGJuJqF7dz4Rt353PWCjWh+d4ISSPCSd23tM8iGYPnJvgXUg+dcpLUDLixkMimmnetT3CHzYVP+2spghe+zhAP+JG2QSHZTbMOYiZCkSp4MM3gEtaVkAFP7VztO4tUe9/dFrYnmNEBWvgsp+IkGhOoyzVeNzy/8QrUSLxglJtXfwCWYA/ykuHQ7NxMQrcYsVjJyZKbK3fuJ1ogVa6DMHgTZLfUdDwoZSq7Nroy5SvLwecVT+lnUy0vcqrbtAxJ4Yv8zv0vFqafU7i4Co+dAohP20+Hw/QY/JsLTDeGx362+uENagMG1MOcP3ItKqgxOu3VWOPKNz6CWwKBQOrgfmK6fBI5lgfLBW174A0KTb7nYoFjGTjXqZ5alDNqNlRuInXMBfD8MCb5/nPGgPYrL1ETbs1LgJjVaXPCX8hL8Tuq5U+4rzFs4209H6hCR4t8foYkRUwgz4U9DakcqzrDi8IkATyMspNDE2jLhwdefWsE7oHnZkowlRBY9FEFP/FbrFV/Gh1vhcAOJ+ts+GdKRFz7G76FnHoAPuAcYekXZqAqEXxwbKOa1uX8hxTNlvppuvwa69f+muVghRHIciHu+eWUt/uyjTpARKrrIiqQefwpGnTfCSWqd5xGOS1PbArbWh9pjFPcX0hyREeiawrwtmRc3x82vKIcesPoR+kxfiqBe7Z/Pk/3zsr8672JRczR7LB19effY6TxUC2+VfaI5D+L0zwk2VrSQz16qXym/YophYM0AkIL03uBfYcqEGaKwEEDqsOKD6XqscLjD/oZ7GKMqyZ3ww1Ro4CdqzhHGzGcsXhLKVnMwSKvdPvyx1UA3fw/aooCgs5ROSRj6aIZdKx0+EsQV8rVNf1MTo9Ns5Ct7XdGH6M8QI/3lhbjmQwz80bV6tyPiJlMdiahjL6+5jchUllNWSn4rbyoAt76oMu8gcW3PrMRM2D3zjgpSsYh6mLxLN8ggUDvK+pcwqD3QBarrx4/Cyj/ntpVZ1XOflQNeYKdPEcoqTvN4GYUB/MzTqVbnNK+Z/uZSGLFKV+H3jpLi2L0xvlYDt97b0CadBSjgXNqdOkzBatP0I+mckHDJX0v7GobgCrwpj5Qggf23fl53Zi2tu46D/nPUaeu8REmepOByJPZz2lN6Kd5FT6GS00JBFlF8F4ZDWUc5YhQqcVskJHFJnr/xeQLn8gX+n6roMmY5Hg0bBP5ZBeqMTRd66dFPwZyXCRWH+1QSBjoWB1lnDV7tCdOaOb2IZxg5BiAWC2TQaG41gvbmfSRlB281DddpKkJEXfXT2c7qprxlYTWutn1LvVpsZi9K4V4riht/muMfh6LY4AxH8CxA81UJy2LkQk7RWoFoP05kuKtE4moqFjtlrHuLq2Qv5NmWF0RdFYjbBzoAFQ0nkfB/9icV6HM4SmOGcKJsaUF9sUJBcfck/47wv3IV7CxatA5KnP3rtzQrc1eirPVqo6Svouj9NSvOBuPM3egQQgcodAG9sVrJcoqZql8iMxB5193qI0BiL1YTAkGlqBNBlQpiDiKh6xco/Omeo8CK42Ib7HkeOiaXr+iha3UU9X4NUCfxorraLcjjZdemklxO+Q6m1qyuQesQQ28gfIf7sAT1Jri4g+28W9ELZ+oVXpp+Quf/iH5GS4oTVtZVy1vXATy3N/suHt7G+nq4EHEq5reQmjSF9uKKVMOxG86CKUvhbziRO5wh40r2tdsNHxpeaZT6ElMLfs7zelLwW6O8YYc5Osfp4bbSr6bmgVdDZ8neSTB/fIKD9wn6WoOKSljZAB47ZX2aKH7XWLish/2lNlPbGkphTT2vPbz4AtH/ULGkhB178G4owTjINBZIZ5Zbi8eOCA+KOuXXhEqAGo5FKay259tbFaEg/ugMBjsiMWbQ9MGrbBVQTvkm9YWg12TWavsocFteOsmxX1eJyl4kHG3Tn4aFOdB/pgoP+TZ/GYatwPiMybLP1fA6qM+5uh8uyQ7S55E9X8uT2oXqG4KfCPzk7SECz3ppbDYB1s6sd3voFtbQsyPZS6B0NQk5069MtEmA1Ssatjiwap8N5WjjawfljCVhg+Dws9sYrYyqYy4zh9vm3dM0fMjTvmD+VRBOq9FkVvoT96tSCYE6kz6tywwamkUzfkz6Y//XUUOvig7kU0aNsvZkSrrql4uRAHxijHIHM6Tjl0ZNR7UIj1y8ILdxAzePjtdYz3936903JGY1FJ1xPQlGTuROoW9KVCS7ZDoLxUuJQwaODsMKY36eRxZKhh5wcHE27HEqHElFW9IjYoKuVU3Pe98Py6qEUFPkRqQrRRKCzZ9NL7xYtmG4/n3d+yeXjPpgE4HW83i42VGaspT2OH4xeY23ym+hcnYQw7i+38rxRtVZRxorXux1MGXyNGu/rhw6IhCDO1FcwVRUEK/kM7Pv28EqEYmdIqhiS9Tr78S0cdXJRPS15MEuLYLVKID6iFxYUWVCCjEMNrlrwW7eJ+2ERSL7KIoTCnumK/+g3wPJhtSCNWaY8NC1GK2te/gOetyTHyMU/mewNk8QmwQ6/DypL6vPfKP87a3jOeIpwl8n4qNeJyUV+wryx11P9KXDDbt/U+mHpx4ni7eILCaarjK9+i8fWVPMKytl+vxrMmiOdoux9anTW2S15ktU9sUZNEqSyKfTLuvBiYHvJ7+Fx+if+wMtPlOtE7l5vwK5f3pNR4a/1MQ6+kfHrCQzWMMH+e88X55HWMK2MtcwhhVoJAhpFSrUVbuY822+Rhp9MAbzCnhcIT6PVL75zSwT+WJ3ImrydiR37lfpTy5j8A1rLzU44aqVEecGIEmO3vHw8Lf6on8b8ymoTRGJC/wIfj0XCVZxi1E3SV/tkFbkZU1IDmwJoLdPx+1ez8yNGbUsWq7cAij4vot+Au+M+i4tRbT5yF4/1Mz+Gk1vvqNA/drLZ7iIZlOGJVQezTJCCfasfX65DL7pBldf0x7e7r5WCeOX+GD3ks4XJjhZkN/jCeoREj1Mf3Vkuz2vUGapTCgYzvh0D7arpi8nc1f0FCF4EjdLYr+zqBAdl3BZsw6X5iZWmogPLh7EwRoCqd/VQlChVwjBG/TOtvtc0d2qCoHN4ba2lgw/m53TaHIMvDjRSEyKzvfJStENsWD+PaW+tYmOfDKv0gIihpcI2iP552rqFEjlXqfF+zDR84C55lVlVg5/VqzNw9D7mb910sQj73vj4MqNLpqC3Rvqrk5frddRp9IF+0ne0k4AZehS1+Gc2pcVa4lHV1t8XhhMYYDFMtiSDjkdixpBMoEYbCQ4uidd29pDktILLFnKAd/MgIhy+sfXFIlAQ2NIAZDdiaJYzzjX1m/VOwJKUr/QJsFcrvduDMhx2C3vWOAHi8/kWhi3vPDsWeaAmVthp5pF9FsSEr1RY6uCXOC0/R2Liicy0JDXzMMqIo/NNFksi2prEZFR4sUux+nTk0Ut+OocYN52VgUpogR78rja/ShZEuuGF0spg/sakiJXFuWGUFq6Zm69EVsuC+DWIE4K8M4Omc/+kKRMQkqtoDSBbhXSP7zsBhD+0QZZibYwhV4smTVTjSIP4D4YaJIvp0wRCt6LV54fK2rnHf60nNzdIWApFFlsBTwo3cF0gmZRO3S2iGj5p1YY3UXTGYzlnvoQx2jq4mK6w0QEA6loIj4ewOl0EwMgSzAXc8JkQFJXrASMhUpQ2P2fYLqhxUhHXB5y2d5dLHgtn9rFZITuMkGCWKpyRJ8Tb4x4als/DFZEYlu3cW2kSssrGCCs0L3FcKco3wC3Woo7cAAmBXWd9FawNRl9ynvg6xHi5qtTgWpinxxV3Ab3ggZ9F1QBSyV9r8iKD8yIacTscUD45a4zFaCCqvJUbTpsg5tmxq24injSnXDTfnwkfM5D3c3Jdzx1lhDiCStCABOJenJ4t50fgO1TMnGCAKUtkKmdwCs8ve51uTyOAQSb9F8hS8fUB6t5BiAd9PKNtQNxbtaSOwciv0oZEyEMggJzQCCBdwPO2pO8fYVoxq8wGKeLFWpAipeM6LEGEz2bwrUl1RtkmcGuAdvJYsHBseuykABCxPbXQke5pTgcrtT+j4QdLZYuQyQ1K/AW29vFOzeTRfaIZ3GWGTH6kmVhakWsattvE4HA1VP6hPV3pUXrhcOC6lJ/yBebAueg/CM6D2SW+YgyW9Af/Cc5Qt/Czcv8+jvJlBeoFbPQESqgLH4zh7sGZpLlbWAup/3kafbI4GW6vsqHqFs9EPW3b8hbHIe8CjgY9wFM29rnYK9xGDN54tNf4Jx1kkdFdAFHKDRv/YyvHGimEIwQ+OA7mJfGt3jWh6mdUO5dgfD+DZOHSSZaN+RbdsKzx4C3mwucCQz2aoGZtggOAVFtRIFwZZ3vDQojdU7D8i+B7taU3fhW7ViFxaX/fFquoe9HsHvbBv5hD8lpkhinsCzJlr+4hyp2D5gMwV76XF16375BOBW90B3JzN719jzcjpxCehreNckMhGfx2vAkDYCycRGSO0TK69cDeTNHdz4xESLJF00naTx6JtYZuXzSu8en3DKmxn2ao6+ukgaAkpBvhPsmOTwqvefjNguCWFKP2XPTnUcBUZe5MPgUm4V+CIJU7a67ws1mARnhjfc/3eMh6P3SLW9YhPuonfyxMUdh5Qot8JrqHF7L6qgis7+s6tRuzq+v+5mg2PLCaPrglvs+CgcSPYofivdakg9Utve6nn0wAZ98j96i5Ap3NVIWD6qN91XDsfy6LM/aVoHfwr+bxnu26hZkEuj02Hz8grWJ69vg1iCS+/RLEL+Glm6zcs5bo07jlBDwAOmKQzCquchk4WEgcwW/xWmLeQihV1gqYlZJCpIR4s87TTHwp5VcNL0mjpnCGVLFVPnKKBbmkwG3BeLwU3ggK8WwfglIooRLaWpnO6pUJjEKsDCETHjNxEqbu9aTmkiuGywH4XixlTq0IqvVz8RziB0/rpSrOnrZk1MCX/N3uf0c14YUED+ggGxaoSt0BijM8WGbSDlx+iBxy5qhEFtspoWXxORzDPMu3qax1+N3ARJnsbR9J8RRxstwwPxZ7KAMs+KsOXGgeKdlhv+QFRK7n8av8G8iNurGJIP3Uh19d7I/lNP/lpOB0k29wLGrruWoGLjTT35/kN8lzcKvo/w85xCvVcxBbj2F1ZeJKvwS0CqJKy3FIjWYjMNffR3/OIPmXOktBfORhJwSNq5U6HpTIcneapEsZZA349KdRgGS8EILRbUj8xW83CiLc7u9JYYwzX1LQcS3vSLTBbcyGTdX02XuvlS67PjGkwHiwO8oLc+vwAMCdcLMw+4SWWpIoB7J1QPTTbgGtVpULn+S2FPbC16jvffX0m6IoFIH8yBl4o/9HFC6ShCPgcDd039w7b7k5Ur3r5hZLTowyVdwxSEZJQ22X5lckAy7t87Uol+ZmotIxwLVMMgnfOPPp7GfU2LNgaOAyVScIeCaIUO/edHopr2F+nm7wWQ0y0ilpPhZMS5xvSYGhq7i85lx0fceo5X98Jh7ThkeUqANTbWGhh9wOvOSZ5M+RML+giJA/5wLjtQy1vIbd/+7nmWiO+yvfSovFFeeDp6SITkx+nH1o5p8qXSaIEf12on8akJdKwBKPRaIDULTUL5ClHAzJ+fHliTwR2H5NyRNLU96gGCsmf5k5npW5tyZq1q4wLA9JnGTzl/prn07uOWm74csXaR4PSmz4r7QBTQBzQBCkfAFcKPKyLUzb106mdAu6iMBovRbPiMIuva12p4BBzrFmlGgqVgGqBugJwN1H/K9zx3+ZVqGuPxpNJ1KAU98sTvhMwgJMhBrFdCDNWGrM25Yegi08YMhsHqcwMVSRHkA5PBtbQ/O9IfZKTya+dJecuHTDn3ApKily7uBn4lww6hmcfnJY5FDothErK106RKzELukl82VtL45y1TI3XfDc/aBlh0JgXxSgntt4tyi02ploIo1CDo/sJX/UR6kPFspVHbQ14unCKx7LTKHgxms42Q2/wMywYcxBiGYpQQ28E3tLfPrj4I2kGipVb2B5AZ/b667bxgUMg1HBC42wEtxKYGREB5syor5jB130lxWbjTnNYsosRQ8GuhwkZNW/hqSoBhIyEhTEH6uVuMlRbXAoWJsWq8W9WEZOM5nOo0S9JIJsIXQVvfOlxxEXZch5zEYAuPJUnQka2xd//9mEAu7lQKhdGvdrq+PE2j3y5rtYVzaYEdUSoeMQZkCZe6BifG452N9e4ie1AR7ZFgIGnY08/c9Mk/J8Sa2Y0IXytuA4LLO0PJyHMApO1JJqOul+JoZyIljztTSa7VgYR8vhp5wxxm1yPU9FZQNlz2e7CNj8oRsAT5l6a/BcEokv3cjPHmlJ4O4Msmb+hPiVorvLkjxSsYDVSMWy669p3rhBbpcBuS9ywWUIM6wGSLynR3phzPFQ48sdZBWGewVgq0FnMy5Z9sq7QyJDxrzWEu0s3GHdEgODLG0QBz5z6JpLVR931HpO24ZJMzb5m1um7e2UbZvvj0vOK+OPnQWOnvwOQ6wRlcZNV6TyzE/ZRDV06xRhbUU0nr8P8NDhn7UCMxHJcsp8kOiMiB5vlhkzgyCmUPDFeKpjVzbf6w77IBvBbLeg0mbwKTJrCH+4WN2P7Yx0tdb2uhgiVL/gNN4pKe2oKYSID+ptRf5lHhx3HQO1DY6vrorX0ToJCy9VpyANIcUDsu8Pp5Gw+w3wnz25ghkR+VrIRyuhb+dL2BDCfnw/o+ylNXkaqgRi/H1v/IQ8Sor5HR3rQwb0vc40r7lbTIHW1DDRdg/hJSXU7wHac6aHCotA4dYUz3jWH45eECkMf4aiky20gbOxIbjSpEn1z85zKlSjHyMKK7q/PABsYNBQcMyZkqs55oOCRXy0j9jz8GXkW8mTJ0g24zC4jlELAsv5vAVM8pm8PzcP/ocnDZFRkobpZUsJJMOqEc9YGh+GN89zme1iGgk429IZNXy/Ips9kaSiDiAP5tLjER7bxf2FjzDF2Rz33n7uxNF663IXjQhAjqjL0NekCJFFW8MYDKTeZQXj0wxJ0Yy7SBtE8q5kLjRpFXz0D4iewEp2O+7BlGVulQpLhcf+qZbZBPrLhcxQXHk/PWagADqXOFDig1IH2dsERRSnTZkwiI/ElEAeCrbALyFS7zP3N8cy+diOv9me5aunHDzMKC7rgBwEL4nmJFzGyEzhKAr1NWzAuxOXlOtiEdHGe1qK6o2KMP3eCjMas7kiQLvDHL0znryrIJ/QV5omBkJ04jrhtqS7xZQe6qa6yYTVYjTLRHuh4SQ6m1EjaTCXbgzDM148jeDp/TGaE4R70p8D5LopLZtjKJgH+M/tlOAJwLTQQq4xX9fCgnF0kiob0KCnMSdOhGox1udXAYxMdisPhoJFyJQPeHKAi+hjbtsNiWL/rrfdLVfw9lsveo3R2GdLRq3PcKs/hpfrziqx2f07zkjXqvDv0LWd0Dj0iWs1w7uty6R7VVxZ3XPxelpdPvx7oH02YP48yu/gNGR6C9CumQSOALS2Ld5gE/VRd48tDIiLVdkyXsclnV+gq8pNY3Q1BXUb6L4VY0hQyC8CCAmA3+Gro8g3lmuhH3N0/0xW7bgjdkUmo9k7slHKyz24QU7G4K2SOj/RfXKeZDnvcj3YDG8+yiDCi6CRDrGtq6ptKmLgA4oola68voGYslr1oFP4w4uZd2dSXv09ncA3Vz+L0Wqk4V60/TfeiP8Biis8dHnUcXDFXy3A+9Z8dppwQIvj2L/jEgR5Kc+r94kMddwSHysdx8tO2Uvv8o9gozDOOHnPDrKRssB2+r0RULn6NwVeE6rU2rGnSxAw2LIAvEELRRw/e1UBnA5XPpeoGunjAyfTI/FPllmEJnLZM1GmJnDN98DLhWB20wbDRYTVAhwe7c3w1rxaoCAZDs3LFBtZPujOF6Fes8w+VFDvx2AjBXVhSrIukg+0GW5+kC3iWNlAw2O7m4GFdz8XSolREgQlqOxwSEncfVW9SbxcnhcJzZ0w0E+VjKmREXWmEzVskIxZpORur9GxJt6ieEwKy4e99srrPMUwI4PzjjsjwP/YrMA8jpR1WJot03Lu7cU8hM7j0/QizLGNWGHbqCc3pS1fSl6V+T7pg2tdGJZiBQcUPOszFu2vSrVzltBh1SJUKZEj9PFHn6DH/sE/c1HGP3yARUgX3yP40BNOOTRUOHWhfAi+oR1brZDigpvefAqyDvf/W6POy43blQJHK4GK6JQyLBzVf9bBLM2cnt49sOUCdaM8rp58rk0p3lrH1CsW7E+mYzloecwisSbRjEeT6rrvrx1ZfDXirOyHBhP/KZUGt+5vDtolGrcq2xG3YmRAdJMqAbjxeCCBgTIvr+OpDiiE3Yq3dWhTzJQ7vL646WSNhcJI29FCVDLCENnJ8b9CdYT6lJrT5m1FuNnZJYtVE1x/6+Wcse8hKTmX6Cx5LLbIgvZNLsdGdk1XPrTSkC79G/E+BbJUm1hl20wWdEYrcgpvp5kuDgSVuRIJ3gnmgDvUvBbXpr21oYoMUo7GzACjVrQwGn3EwJTk+6NM9iB0CtjgfKT+GNT9rf8pTKbgOMG45JQk5kjRCDElLMl34/S0ZsWX2826Ehv31WuwiLYAMFD5vGLjl6L6VD3G/XjzPmsU0amW1vt9Uh8WsZ5d2APgCK/0WI8/rhxcCyyMVB7xhsfhbrkgSaFcfaWNGLQf3+yrDggUNTZ1ShAycSgeco0yE7DoDluJUlj01pfTcvYlGPqkEaACpw7nV8ykCiuyOaSWcenkVHJWNQMAcky0RDhVSRfQJL1AHX0/pgfiMsjmze6Q6OLtZ0/DZ/Lw6TwOGUP33qo1kzKXXDyrPun0s5/X8m3KatI7E/DSJxXT4DrAaz1zz+f3e+mRPMZ6HIWn8jYbEKOV7Z2J7K3HWEa6s2f69BFhX1hfpkBept/cql07U6a+wdXGQkiED86PfYorH8LbHBPJ4kiotFMUyM9/Vbjw2IBcdy1erbaDd+aZ73ZuVC2PcKdm+w1P/40MU4swPN8ik0c3weW+ur6tplTP2qtSwSxqPYVs3uQK6SFjXecdtYkN/CKG+cTrRwRs38EtzkZ5/zRTkqIz1I545Amzgo5/UW/HbU9jy2s34psmohq7GIYyNtpQTUCmSeWOZ4JMqdA2TjljQNdis1mFcDo6T4SAe2fH1XpjoUJydJUG/3eTK5TVNpRSoih6+Wt5cHu1YfsSCau0qIS0mKuyDdiEFsx84XzESwXXcOyCxfHN0fxOSp3mA7cwK3FlEE6avXyISqJLA6/FoKurKZ631ATauRVWyX0JKhJfa+BLKnKg+AGn3Hj/L4HFGmP/t6ZAHwL2UtjUSL5BqGkHGdjBss538X3ba9/fs0NtTzzQYqm9CDzzrRrSR67Lddsg0E9jPNscNuNtgsM9Z43SOCP67JFYlvTdZsXNKLcA1xu8M96KryENu5RlcC/87HjezhKzT3kcjgoH0wfgQPFAurv/L/tWxFNb/jX39NDUmKqn7Yk2+BuvqOTUb/s7/lJcBA67M8IXJUFyXCqS4sly1+oyHtpYHATMf5M1LF8hbLtyKJifU1O5/ErHVUTDEaFClncKbA70ctBLi7EgAFLlwRnVTdagmwXT5+bn1XhQlkl/Kz636ajx/CFvfoj+G8cmd4grESsi5gM4mqIV4I02709dBRO04zHrnwsXCmFl2kOpjthESZsNhRsnDiU8u53FQXPNRsXmofSQhD6sbch5IgBy1OO5nmiFFRTxW6zizR40m6YrAWEYpd1okAmjBuK4a3j0+7Ly55NBRhCZZ/MG3zB2WgtJH3o4icjF6Ebnpf95QDW17D3AQC8B9Otboe5zLUJrSYr3kljzqAWB3X1JLKz6xc2Q+hxDBDJ/crn86LdLCWoRngND0NJDA9qF+Q5L+iHgLIgdKU5t31At8EcPjGMpHdlJFg7gWf7oaA5/LH319XQZc8wpZKwwScMHZ3Saekpeiu028DE6WyxPvLCft4aNUNX4K1dePMVOmZiIq3cRkTxaFTDFlYuHKfGVM3kdvy3cqWjrcjbHwdOXC+xJHp1KZ9bkdij3Rg2yrz+UJsvzZ8vojQXc1ze/VDV0zjU3TQLc3eNW6PxcksAo3EhnOZ9r4Spdg8yKWeLd3CvMJzup8lIGx8PTgQ6yfNg37yGCuA7V+j13/Ucs7Npdj4Oj7GENDPVNIE7lomzYYhAbkxBrGmdB2C8sy+6/K6qbp41iMwq7mQ5zuVcwonAvqSprpTeHj392+l2IO5tQ3HvWIeDEYMDIrxsLm5pHaTVTwbbhvC6WV0W+E/MrkQPBFztDK3uCcqnOVS8xBeoynsoSdQbiZUXSyJ4qTyAoA+Bpfc/sZ0en+qKid+6Vty+KAm3m5oPNS2osa5opIxqAWecfoU1cfbIQ/LDu5sXdlK7w0+i9sYMA6esGYHQUGApd/PA/n1RPRXfNTU+MPGGq317Cb8ESbYiDnaGzEJchTeOWqTAfbWIWQWMaDoJ6CA3P5LvKgHLaDwuZ/0yeYuS4sx/Md1D6t7LQA67TOTv7UPXmnSYyCbJ+QQfzgbXRfG/kEUyNhcALDgYrSxJZAMZZk7GKmAwt6o+wg8oYxJVxL4RG1uauZFoT24f8P57VkKKSPiV7IZopSNqgPfDHLJjU/a5MpcvV/EIW5h0LDJlNqSbp1NF4hTTY9V7LdKcBV/OTbd4jC3o0DgtaUGKDVhk6l8SmJ6DCmg13SdhxGKQbdZeLEuTndIyLlA2e1VFkmKd3J4AJSkJR3A8KQdlPAq9CE1K0BY1IyAtxsQUWVHlReMquxUv/l3/m+s2I9pISGam5NPLMvwNcP6EYFcqpPMB4KuP54zD5MRknV0ifURIRAVEXzTaS2+NArPrL80KktlrAw95t/gRg1UmEjdR0Phvk8w+BfXgitq/Nawz7i9PDgsNXCCu6PbmNSrp4wDU8DZTjRBmJ7LonnFMf7WrUreNjd14PmQbgdNuLg6q0evyGVCXiou+kFWWnFeEIdotoHq2lR7T8fPmNN8jLkhdhwrU0frmbhrU/GmYLuty++kMzS7m0XISw4FZ3c9Wh7BP0k2Nquzntq4qA8q8CL2Y5E9KaFSGPGu8M0PuOVCiJDoMXH/lolA/tl4vai38jaPcZ3u00uVHeTP9wJAE5Rli+z2htTeDLJ3UBrjvcCooxq/xzkeNVjQAAetBBNUvpYsR+UNL8CTmMeSkBnmbvMF3w0m3hW6OKlYcWKU1AHnmkUygEwU+qkV6oixFRpxBjp7KL6kiLnd+OjLoePrmtZefqKDF+2vLzmZLBtmtAD7rN/q7elLuGcDU6P/qehJosSrfT/PWPwxrhQX2MHAIJRZout48ZYd5avjK4Pg5bTYkxiZFGUMXVJXkt9h9/zFKrO+smSTDf3tzSeWjYAFl9O9vuvTNQVsu5AjFUpJactbbxhKpzyiGWnoxFxaZdocyVN0oTCNcrEawfRZRQLtyfNgPJRiLXuo7ZL8lbS/Sy3VXKFzWOfZSYdwDcH5jr+IJ29WcEQJ/COsaKIVH8Br+3FT+w1kql/mD8QaqXdx07JF0XYrchK8KS7dtp6/10ETy116a4sTkR6eNSqO3bHjbG4Qan58bq0Fujg5EsgwWpgKInBYSUAZVovpYGAulpdDZdlP3Ax/1YDPFPGhKeD5Aqp0pSG1zNCeAYdS00zn+qWDYLNwrDRrfQ81XpQ9Zw9m3C3XAnru6sgMbkJUbIlHxWsg957KrupFKbq37OhGoWzVC5Zxz7cKTwVvExF/aO/KHODFcTm1INe0T4yvYKX1/xtRbIaNYSmzJpdzvQSOdli0BFckufVwjJCEOSJxCeAPfy0GM4iyCx8oLSP//PEIVq2+MBjyNVmPzT05LKao3u00rV5TJnlzCs5eeJK+jtkjbN+wawsc85sKztyJ+/h7Sqec9HRYZnU6T2QLsXvFhmqjqM9FcF2qfOD4/zqV889CwXgAP13xWVTth7tbArRPiDgRScTEcJ3F3MZX9dsut0HP7d6Rv7P//QASeiQ9rW6GNWsrmo5IfT5tl093F8RIPMIUgimg+In5CVTxpdbYU5t9ds1CqDzIiQVzbGgVpDgr1pY5i7NlZOx1vkDDwdtOdjAWQLc73ybRRD0EW0gpvj/iiE9VWUxbETABSDmo3yXoDqYfbWSFdX2+Fvc4aE5hs7faKTHpKYnqeTkoZuyqweRlsUn3WYTmsvcLbs/8JGY5DNtcZ/oYzEl6ka1C62qKa8KZcyHUUPrlsbaEb/U//O+jFkPV+B/4gPASngvyjrOjLptNheElRLWcc/CTX/AdahmMwkhXfGgFYQKRRbR7OLIWDGTq0KFcoB0IxrN5tccr83ugq5+NmILX+Wj0U0QE1M4wlQhXpXP2HrMOi0QbLv8/aUAYBkeHTtT5b8v3dWxewNqygH8AmCrNG2TbRr3HD+Yw0o3PvgpdJyPi67TGJrXwbQG6cDwqjByVd6BLMU7zqV4Nwziz/SV+qscmGYyVd3HXedTFRstWaH1dBt6RKg6m8tqKonYPoAeC1L+wSiBSYEhebz+KmhSxg7AeWI758wrilVVBLNt3abpTbxd8q5LrcYJDu7W4yDyHsO+ONOWZBhol0LVbPYhxykrd9+k9An7Uezf/Gws1ca5Ze9JzBbiQnv77ELD16J11y7S+EqzpEXK+Cr4jcfLQPTr33NOgUGa3gcwpYg2bRYVNaNS5rJYwkdepFHE6YqdYeSkvqM3080/74HayXGjPYbKYLNdbOS4gaHApjk1RPhIsYuhk1Ju9zmNf28DSj+4gTca8kM0wxIPvsZ/cYfpmDXrZWxcKrQ91okfAjeNTDAPtSUEjoW7S49tYdob1ICAlgmgwXO6l4j/aO837w4VLQd2O/krJBtv5zhWtUkOo+LCJtiBxUqzn/3hQ4RaFi02/7UOIgjT43lLkyhOW89NErD0O5w1Fi4wVZzXmoi3TCb1btw7udexTihLqLov+Hbh7yirvTmcbA226bFg/DNV5hPcx0tj7+Z6vhrfltT/M9ifhvg/NmCzX7OEShZtw7vFjQ28DCamPoAkEtQHbBeHzrnLn90wde3Y7fNHbCQr72JA3TPv/8/zTnB+O/8wQ8J6kFoRVSoGhhrSQxdUWrYb80rsxCQwfvFbgsykI5q02LwlopLrkBDfYB1Milr/o0QyAp2YwaETHPT//0fQPLmVMNFX43Gayo7SLuGBKWB/LHe+Qy8SihfEWd+hoR1CWfI3phHecm+axtcwBcLw0N7PPHvPI7lEglbLKvX07teDPIUJMo3q0oLEWhYy88s22o1LK4iDlpQaBO554wAUWt8sjvQbgmUiyAcVkK2yHMT0fkANu4agrT1ZA3VJiNKtvtRMZy9hKDJ3f2UOketKtp6oTqSMhVpJHOI1E5Q+8CMIOvgalbOREmghJAKYR2/YyE5CbuVaO7jukaay73r+eCRJQgFgx/GhIRteXPERRICdHUG7lrHpovy9AFc1po3ldj1tiR2WW6LQPwh04jGEHTGkIqn0UrHot12F72doQl0Vqn4+lQcojIuCdKoqGj98Twkn88tUBmxRbJI49lmwjQPMbx+qXWaAGh4Kzb0Kfa7N7iTXkmgRLnkzKJXu7LRrUBYuSmfymyNV60sGr5L2pdbFKpUUzR7peIV/bhzHjt08K4ktyIroGljM9EulcjFo+IT+xX1gCddQz2W7koS6qLJNdWu3X5X1t942hut5a46aRVwpDykjeeuCHTC8avdZOqZMHIEtCcgYSqtE5ofia91gLVN/YD+Y5rOIzmevSQ3f0MRl7MDa1aLJNljTOD9S7Z2EQjscfpnEqRw7b3Zo548gAs34WSf8lXL+hRiznCavcRu7lACruqvBa2luVWyUfwTyYAvF6QHvnKgoXtJ+IXjan5LXs6qdUgIWR3k4O38zQrpnWlEMfKC7Wn5zMp/eLlxauP0CVt12Vh9I4L7wBzyyXhTlqfucdom/0liwrQf1nbL+pV2NrWBKSw87tnkRDtMPZdwn/XlhPXyf5Lal9kYqphFFXkPeOPlAU1T9w424psiqxokl7a2P5yIZJ84u3kYT4MG8tAU5C/yPFOkSYCeHi7N/71kCx9lwPBNvj9648SoM9VTe4cl1Ofs3lX0tBRZsxizHB9UtfS4DBT0RtHl0nxwqHJIaDNNwfN+iDPbVvkOLgWeJXklr6/M/LINV4PC4bnPgjMHzCfrZEXebGtYHPrLCI5weFRYgJwiZnIs4PX2TgFpv5E45J5Wm1BXsaAcRjRMP4+G3D073DPGYOM+zTuSQETqYeCM7cmwWwQm5EavJZv6q8ult7kKyPZaiVvU8W60dCz8ZR8h1G8bgPDr+QvcVgYX2vQxtQKDjX7GZSaczNmlcyJiT0R8Y8JLtR6HQnII9j+OsU1artvmz1qGLo0QNJ4vDFRgeTA6SnkyQITuKTcWHdZn9g/xJ+nUkheNZBW6a4OvevKUVLBoTxzAknCFG0V5a/XfrNlwHaUwUadbOtqtdpgdvGlQPc4eVdGLudJgn4/RCKBy6r60qew86AiTN1pt95q4NUqAnRhHBGz/pcHggZZrdVOPhrWVwgBt90w1ue2kEpvckO4N2C8iJGZefxFq0y3KFsGT8Y1sF+2ja5A4H2otZPXQJ0xyuKu9aqoZREGNnKCrddQws8LIA2iXyyB+IwtiADwp5JTxL/Zo9kUXbmkwffcyJhoyBzXPDYMzjCgPOfLSZSW6+bOsMP0jfkf0SzHNPHnfxSFdBF0jKNQqSc4m/aOwwTH3yLIWxLD/VaWMYuzMER9Fkrw6M1lGbjUnp2hbzNPOK0YX1u6h9h1qZZXi31T3mlcwgZHt+EhogE0dFdsrnF0f8X5ydf5/yAE0W4j20gBxO+h2LeAAXOXMc8rMGQakWQ5x+5uiwkC28b8K3kPk4R5bIUN7oDpMKNV5fuINd8/RSXqVg8EblwtFm3mVsF3EqEPv0EkGGwhbfOWAFO1JPd7seA/BL0zbwblrphrihKJMioxJcMQgcU69KG7+rrB7tCJWe4YDjdax1+HstUJcNCgJ7PUU7fpTGeBD8uL1tL4j9yJ8sZRPoFVFAtbYKlI1Q64lW577oqaeKA0EZfPVdyYOYuVcbqKj6zk7zksnAnoI4tlAsdrAgyU7V8pUTVRye8JIeBNXMEXX46QKqFfgn2hYI5wxk9ujkTP2ppoHKCU/nnKy0pb7aprEM/CL3kgYv65m21G4VDHo6bLdTxNo3vyObX0idTp1SyZfcFwKgMUljgAPGcWJKuCXmqvWz3vrEjHPmszRmoJBLDVdNPCPEab/sYvp/HFXzVkegwPCEKGD5C4iAvMruM7EKSuBndPF5cWkCpoUIjOiceFMsrU9KQGEV0g/uEav/EnRFLnqtZN6/gT2WnZr2H6M/UCSpi2vdTNdJCkvJhP4QtT1N1nOEkQ3QixNPE/38+9C8FjV1B8bTIUoTtfT/AAp7EZQomayKqges+M5ZvhhMT1Nw+ZIWiaID0crBbETq4VHl9Hd6iXs6mH4xIucdte8X2RE7ArwyUyZyTS8dn1ZiI/Q26TdzuuZdvR7WFKPHmRsfEh2rExEnExmuHZfjG0q5vdZiV5wS5GIPwETuxipGaTRS1aWWxqM5ZCw0as3m2nQqZD0UItEiQUzphud/+wVRT5Aws5w6N56wcg9xX8xBSIqiTXaNwnNyvx03l8POsZgeeXatZMQaz2mvIG4P49V+hLPdrxU8HaVcg2+wuJHqfBQv7bOqCHbUNxOuei1Kr73B5tB2CK+9kJ/ZVnZqVlsYzler4pXM66CriK/4v8CU8+QYbKU0BHH1Xx8QCbd/8cxnRh0jPZ6CU3a+85ZyVEsTp+EdDZFHi8rJrDngMNxM9wYPIvozGqjyEcc4VMZ58QGRKY3ZXsIXdclV30GYtwaJpMooOEX3FldasQPM9Ilx7/XFgfiKu9iOvTpz9CCCH7filo7q5G71eDb+Txg8PKnVsL57JKSWTtXG3QbQ3l0/P4gJyWI17zsU6qbch2EBf1hlvbTeXG/wYuB57+EQYkxQ2bLFxsLihWrYJRM9HGjk+VCSwOhsGhqESyqemix4h6rhLnfhIwhE2sIVNvqVHTsZ3LSOBGxOoX/+frF9vHapaCmk63c59ZvsOnd6icGwRtux13jg9s4VpShwMvxZ/xB8GectqGu0p8PS+hzyXzgmquROA6Ap+mKNyTHZCXGCtbmHUajCe9UIPOW3yvjFcq/CDM7msieyyp+eujwnLQ+aB4OyVYSqzsXS5xoGiFgG65+72tQHTeXyGC/zPEAwDlxwgwksvgZyDKni6ma9vWvVYiXEWBksZD+gu2IugGN5eMRSLwrKnt7tn/YAs3Ls3hQPomEeDZcIsXtf3C7REYt43UIxwrDAh4DOM/osukrbXVwOpqfCg88/yCwGNRx5vDUU47HduIk2z5ttSOVMNLWoqgWS9wAfXoE7nL0Xz7lq5oP8XZJAD5VCSOTYKwuJvy+NX8SKBXI1KrDeXrwcOWInd9Pent//s6wGyq9o7aPR4kNW7GjITu6M4sKuxWCmULT/5VPr5hCIk5V7tYmXFR7wLdJSuY7pwZWQN8UXgAWgpFXCePxty44lP25b9TQ2qS8nLkXvMBqBCh/rZkWwitL9YRWWhPRkb5MWWMNibtOYazvEeAE0TPKzZCqeqw2RoyTBLFDuEt3aXVYUMYrwI5rT6dK/7kF/juu8YcTMPxLrpRtIuIfY9LUuwoW3CB7grLd+lU1RAVxSs8Ne5ublgJHn2rdDZDCKz7Bg/MVUhjX0+Pzy0vuOOLHqtjQPoFb2tZ4uA2IPS3OnlMWkCDGI+/ojVJCNhn6RnTjeEOJ5j2tbjA3DsNwpwUBfPCVVTalXKjefj7CLYDNpW+8acP2w3H8Ui9l6Y0Mv934rGOtpwSRqFvp5qcI+F4o+3wdO8df2EoBLwip3YLDgh+ZGLcbEV4mAljfGHVcQ27h9+Xvu4mqmCRA3Wj6aoFnvgNqFhpwTk/ZQrI21xtGVUB//5UrC6zKQIOFm9bW3+KY4P1Fn7/QSwleqspud5maRoEc0yGR+taAcRFUR/MGZfLfMA/ivUpWB+ryMXaNRPLtPq7uPiglefzQPgrsB9KH34VcP/tMfihv6U+8EQLCnYbQSvGBaSeSXXTH4jv9GvYOhBgQVqwaXWKKPrvrMjZ6tDMtlkUdR1ADivKHshxirBCzrrfZ7I9tYlIczZ+Ok5VMjd3fxxJo/qITSrpRxz9qM64wl8wL1qLpAvoGGl4Hxv4bnVbKRNnAqGI7s4YWlA33vScPxeAxgbS/igcrkpDSwanuCKo/a2pkD/N4ICWnbehC6RUmHPZgGBCWWRCcBubA8PUVG9iDGkiMax3hwZMoIBSmQAUi4SLM6OETwMoIKL7nAP43NHK/Rnr3zq8d/aZREvyZBrraU8M9k2JVG51rVcpPkSOhSpcn6jq/sLJj/bxJYQcNic/j7/LWycjXcAazpGH+Gg4V/KOlTrfplBTKBwMdNVE8GjSKAa1QIDH81VWqZCxNFsv1LwPNsOn3lA72SkbsoQS5PzCQI1GtMym346BoDpEaP6RTBtikI+khITe0+zxu/33+EQiDfDqnzezhuyruvFJ44O0VKlkPKLWXTf7UYZTWmMujUI1tb9Zu6rjEIlhgK/IW7k3o/cSSyC8O5SMYKaNJD0tja0ouYNkL6+PbtOCdCGbvA/tay7a1KjGSlQg/g/NLHfAh6s9MhW5ia4B30UAi1I0JD/ZYUi+C4VU0iqEDhCRu1gdVZKcgX5UWiWYhOlnd+gwlJ04ab7H1s/8NEUtS854bGFSl61/JiPA0MXozGKt5dbtxCMNBO4aaHFoalmA4eNY68fRVNC8eUMP4hUWqcjfSH+Y2PR9AZXmiaQLvHK7yWm74rWCEG9L0xPMwrCP+E/RE9RN1GUgRaOk8iaOGwMoKjKO8T9/24XCxK1Vgu4aqTCtG6bCVtadiSLBgEjjRg7q8yCDF74AsmMPgNS/8+l10KfMz0Q32uyLu5VJH71VDvzwI52j7vyVMFwy4ESe8F1KmuF2BplhS8AKdIs1ASK0+EZuF2/1ft0IrVlXE5J/InDDozlSe4wUUl/e10BCdxizBhVIr7fMKVJDyy7iIxTAV4CqyaqwDAFXxUywzO8+12za2BZhnaxSiVVncsrfRWEgbDKLfISTO+Ie7YhRsXaS7GWicc1P/g8Qz2t8Av4BKgI2+28k+7JraeDmwxLUdGgo9y7JGHgKEW/arrYNOwBHbBae5CgnOKnTK6oXK4mgZjIp39ywWqHOjCW06VzNAX39mM7j9g9zFBiIllJMwmSi7/hoPwA6xydnuPER5pvXCVAQUnjZ2A5KujaU0REbtvJWlGKoV0omAzRxM789qKI4h7arBdjAy9NCsYGGhOH9WqKu73HTg/ozIgSaOavxotAIpyBTfRB7tsuaVIoGpCDYvvCl09gx25S4xrdi1lUPW5xEu4RBxQTzDs/5Ki+uqfTsjIi+GnHJvfU9RgRdp0k/grxTggTP0l+W64b3lPp41/rokqj9kwMPqhhz78z1fDTg+tTTdOduLsOdgQxhOwg+xCK/U/PUdePZ89mJD/rNq1fcQyQMxoRCQubpTrEfbhqkIPm6wEK1A5uvD7DgHjJnqlbBVdmWeAaEg8hyICgInK+pSJtYfrgDSv5RWYprh8yNtoZ1c+yRgCnnStgfvDf6EogeROZsTD1PSPlZ+WKDCC2meTi/E4Hcgb0gk51kwwm41zaSdiD9Er+35atrFyf/2TQIcA4hNU7r8MOC4pZH43Cly7NVNJt+aq9kYte8wTVltBTxZF9sBYCqQR5c2Lh2P2xECeDKfTBzd2cgZgXK9i8nsN3tjKbGB4Xp2c6wQEOegCofQ3xcVo1oDkImEayQv+0gm045D0+XzaDNtSG/v1DqOCXVMzEI7gEeBVcdleKRdTb0xPZT9oGDCxAeArNJwbRXLNAfDA+oTCT7Nd82jn7VDwjvdOSSBPAoquRMC2mbuugJQfi9Gl+x3yve10DmJUvuGDmSowd6RsiXFpwG6vROVa3v/8lKGCPhd+MamZrG/RMungBzwPJCidZ/lbXENczaAPC5voGzkn9qxcSBera9VGByRPSVbBv7iv4B6MLOoj5I4EQDZvCmhYW6mWRvGkMKIegjZdjdVOdRHYwHgT1u9O/qgh7FFs+IsEaB9S+k55YfT7pSdjXbXg2+DeFS96Zp1j6e+4FJobwtyPMhGuuhys5TO5lMX39jDRWgeGiFsabE/gopEyG0MZnVBdZVgGe62tjvHv/ePU62X712rZmqrykMHSPDcK4rYUVMtqlgERuR7pSpV32hEKDwveD2ZHgFZ3V475rqTd2mJzpvGHPk1xQRDedFBBHXmoqYva1kNWpmrwPm391GCgTovvUqiUBRtZ4P8sDCKhzMBytNYRZZMH6tPpGq9Sz21dMKZ4orK2PomU1DEUkIeGIJdp6u0CMNp9/OxW5+7LdRQGWCzDFD/vJAWdR1DgVI3hwPm1TOoIXL5UTuLeZj1BaIddMEaCCnO97pTHmEcvquisblkXH8RM0bDp1XMh94QzDzpCOEL2y/JIVbE8B+VnQS9c+KTt1JnUBzD1CHztvhSdZnHJvSFBAQryuQIXlPMwMF7YcYtw1eddp7Qier9axUnzPjkXOPL7sjBSDTzm5b9AaRxhqfyXLK2C7ijMF6N0Jj9yWrHLolTLgx/LCndqKRpqLNIoMQFKlk/a02Jn9ng4uVcm6jBF5ksekHQ/VRbUSvUG0M=">
            <a:extLst>
              <a:ext uri="{FF2B5EF4-FFF2-40B4-BE49-F238E27FC236}">
                <a16:creationId xmlns:a16="http://schemas.microsoft.com/office/drawing/2014/main" id="{FA44A890-0751-4098-BAC1-C4045FA70C85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7575696" y="2094404"/>
            <a:ext cx="1869122" cy="4166310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4" name="btfpRunningAgenda1Level432015">
            <a:extLst>
              <a:ext uri="{FF2B5EF4-FFF2-40B4-BE49-F238E27FC236}">
                <a16:creationId xmlns:a16="http://schemas.microsoft.com/office/drawing/2014/main" id="{BC6ABEDA-38A6-4C50-8C33-63C4E41F922C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1" y="944429"/>
            <a:ext cx="2747767" cy="257442"/>
            <a:chOff x="0" y="944429"/>
            <a:chExt cx="2747767" cy="257442"/>
          </a:xfrm>
        </p:grpSpPr>
        <p:sp>
          <p:nvSpPr>
            <p:cNvPr id="135" name="btfpRunningAgenda1LevelBarLeft432015">
              <a:extLst>
                <a:ext uri="{FF2B5EF4-FFF2-40B4-BE49-F238E27FC236}">
                  <a16:creationId xmlns:a16="http://schemas.microsoft.com/office/drawing/2014/main" id="{20FACBF6-5305-462C-A1AB-E40032577C46}"/>
                </a:ext>
              </a:extLst>
            </p:cNvPr>
            <p:cNvSpPr/>
            <p:nvPr/>
          </p:nvSpPr>
          <p:spPr bwMode="gray">
            <a:xfrm>
              <a:off x="0" y="944429"/>
              <a:ext cx="2747767" cy="257442"/>
            </a:xfrm>
            <a:custGeom>
              <a:avLst/>
              <a:gdLst>
                <a:gd name="connsiteX0" fmla="*/ 968434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8434 w 1816204"/>
                <a:gd name="connsiteY0" fmla="*/ 0 h 257442"/>
                <a:gd name="connsiteX1" fmla="*/ 913714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3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558339 w 1558339"/>
                <a:gd name="connsiteY0" fmla="*/ 0 h 257442"/>
                <a:gd name="connsiteX1" fmla="*/ 1250343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1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26655 w 1726655"/>
                <a:gd name="connsiteY0" fmla="*/ 0 h 257442"/>
                <a:gd name="connsiteX1" fmla="*/ 1503618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726655 w 1832234"/>
                <a:gd name="connsiteY0" fmla="*/ 0 h 257442"/>
                <a:gd name="connsiteX1" fmla="*/ 1832234 w 1832234"/>
                <a:gd name="connsiteY1" fmla="*/ 257442 h 257442"/>
                <a:gd name="connsiteX2" fmla="*/ 0 w 1832234"/>
                <a:gd name="connsiteY2" fmla="*/ 257442 h 257442"/>
                <a:gd name="connsiteX3" fmla="*/ 0 w 1832234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0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1 w 1726655"/>
                <a:gd name="connsiteY2" fmla="*/ 257442 h 257442"/>
                <a:gd name="connsiteX3" fmla="*/ 0 w 1726655"/>
                <a:gd name="connsiteY3" fmla="*/ 0 h 257442"/>
                <a:gd name="connsiteX0" fmla="*/ 1726654 w 1726654"/>
                <a:gd name="connsiteY0" fmla="*/ 0 h 257442"/>
                <a:gd name="connsiteX1" fmla="*/ 1671933 w 1726654"/>
                <a:gd name="connsiteY1" fmla="*/ 257442 h 257442"/>
                <a:gd name="connsiteX2" fmla="*/ 0 w 1726654"/>
                <a:gd name="connsiteY2" fmla="*/ 257442 h 257442"/>
                <a:gd name="connsiteX3" fmla="*/ 0 w 1726654"/>
                <a:gd name="connsiteY3" fmla="*/ 0 h 257442"/>
                <a:gd name="connsiteX0" fmla="*/ 1987944 w 1987944"/>
                <a:gd name="connsiteY0" fmla="*/ 0 h 257442"/>
                <a:gd name="connsiteX1" fmla="*/ 167193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1987944 w 1987944"/>
                <a:gd name="connsiteY0" fmla="*/ 0 h 257442"/>
                <a:gd name="connsiteX1" fmla="*/ 1933223 w 1987944"/>
                <a:gd name="connsiteY1" fmla="*/ 257442 h 257442"/>
                <a:gd name="connsiteX2" fmla="*/ 0 w 1987944"/>
                <a:gd name="connsiteY2" fmla="*/ 257442 h 257442"/>
                <a:gd name="connsiteX3" fmla="*/ 0 w 1987944"/>
                <a:gd name="connsiteY3" fmla="*/ 0 h 257442"/>
                <a:gd name="connsiteX0" fmla="*/ 2257248 w 2257248"/>
                <a:gd name="connsiteY0" fmla="*/ 0 h 257442"/>
                <a:gd name="connsiteX1" fmla="*/ 1933223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257248 w 2257248"/>
                <a:gd name="connsiteY0" fmla="*/ 0 h 257442"/>
                <a:gd name="connsiteX1" fmla="*/ 2202527 w 2257248"/>
                <a:gd name="connsiteY1" fmla="*/ 257442 h 257442"/>
                <a:gd name="connsiteX2" fmla="*/ 0 w 2257248"/>
                <a:gd name="connsiteY2" fmla="*/ 257442 h 257442"/>
                <a:gd name="connsiteX3" fmla="*/ 0 w 2257248"/>
                <a:gd name="connsiteY3" fmla="*/ 0 h 257442"/>
                <a:gd name="connsiteX0" fmla="*/ 2435182 w 2435182"/>
                <a:gd name="connsiteY0" fmla="*/ 0 h 257442"/>
                <a:gd name="connsiteX1" fmla="*/ 2202527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0 w 2603497"/>
                <a:gd name="connsiteY3" fmla="*/ 0 h 257442"/>
                <a:gd name="connsiteX0" fmla="*/ 2763797 w 2763797"/>
                <a:gd name="connsiteY0" fmla="*/ 0 h 257442"/>
                <a:gd name="connsiteX1" fmla="*/ 25487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2763797 w 2763797"/>
                <a:gd name="connsiteY0" fmla="*/ 0 h 257442"/>
                <a:gd name="connsiteX1" fmla="*/ 2709076 w 2763797"/>
                <a:gd name="connsiteY1" fmla="*/ 257442 h 257442"/>
                <a:gd name="connsiteX2" fmla="*/ 0 w 2763797"/>
                <a:gd name="connsiteY2" fmla="*/ 257442 h 257442"/>
                <a:gd name="connsiteX3" fmla="*/ 0 w 2763797"/>
                <a:gd name="connsiteY3" fmla="*/ 0 h 257442"/>
                <a:gd name="connsiteX0" fmla="*/ 950801 w 2709076"/>
                <a:gd name="connsiteY0" fmla="*/ 0 h 257442"/>
                <a:gd name="connsiteX1" fmla="*/ 2709076 w 2709076"/>
                <a:gd name="connsiteY1" fmla="*/ 257442 h 257442"/>
                <a:gd name="connsiteX2" fmla="*/ 0 w 2709076"/>
                <a:gd name="connsiteY2" fmla="*/ 257442 h 257442"/>
                <a:gd name="connsiteX3" fmla="*/ 0 w 270907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4 w 1128734"/>
                <a:gd name="connsiteY0" fmla="*/ 0 h 257442"/>
                <a:gd name="connsiteX1" fmla="*/ 896079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720947 w 1720947"/>
                <a:gd name="connsiteY0" fmla="*/ 0 h 257442"/>
                <a:gd name="connsiteX1" fmla="*/ 1402629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720947 w 1720947"/>
                <a:gd name="connsiteY0" fmla="*/ 0 h 257442"/>
                <a:gd name="connsiteX1" fmla="*/ 1666226 w 1720947"/>
                <a:gd name="connsiteY1" fmla="*/ 257442 h 257442"/>
                <a:gd name="connsiteX2" fmla="*/ 0 w 1720947"/>
                <a:gd name="connsiteY2" fmla="*/ 257442 h 257442"/>
                <a:gd name="connsiteX3" fmla="*/ 0 w 1720947"/>
                <a:gd name="connsiteY3" fmla="*/ 0 h 257442"/>
                <a:gd name="connsiteX0" fmla="*/ 1881248 w 1881248"/>
                <a:gd name="connsiteY0" fmla="*/ 0 h 257442"/>
                <a:gd name="connsiteX1" fmla="*/ 16662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8 w 1881248"/>
                <a:gd name="connsiteY0" fmla="*/ 0 h 257442"/>
                <a:gd name="connsiteX1" fmla="*/ 1826526 w 1881248"/>
                <a:gd name="connsiteY1" fmla="*/ 257442 h 257442"/>
                <a:gd name="connsiteX2" fmla="*/ 0 w 1881248"/>
                <a:gd name="connsiteY2" fmla="*/ 257442 h 257442"/>
                <a:gd name="connsiteX3" fmla="*/ 0 w 1881248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1881249 w 1881249"/>
                <a:gd name="connsiteY0" fmla="*/ 0 h 257442"/>
                <a:gd name="connsiteX1" fmla="*/ 1826527 w 1881249"/>
                <a:gd name="connsiteY1" fmla="*/ 257442 h 257442"/>
                <a:gd name="connsiteX2" fmla="*/ 0 w 1881249"/>
                <a:gd name="connsiteY2" fmla="*/ 257442 h 257442"/>
                <a:gd name="connsiteX3" fmla="*/ 1 w 1881249"/>
                <a:gd name="connsiteY3" fmla="*/ 0 h 257442"/>
                <a:gd name="connsiteX0" fmla="*/ 2041548 w 2041548"/>
                <a:gd name="connsiteY0" fmla="*/ 0 h 257442"/>
                <a:gd name="connsiteX1" fmla="*/ 1826527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8 w 2041548"/>
                <a:gd name="connsiteY0" fmla="*/ 0 h 257442"/>
                <a:gd name="connsiteX1" fmla="*/ 1986826 w 2041548"/>
                <a:gd name="connsiteY1" fmla="*/ 257442 h 257442"/>
                <a:gd name="connsiteX2" fmla="*/ 0 w 2041548"/>
                <a:gd name="connsiteY2" fmla="*/ 257442 h 257442"/>
                <a:gd name="connsiteX3" fmla="*/ 1 w 2041548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2 w 2041549"/>
                <a:gd name="connsiteY3" fmla="*/ 0 h 257442"/>
                <a:gd name="connsiteX0" fmla="*/ 2041549 w 2041549"/>
                <a:gd name="connsiteY0" fmla="*/ 0 h 257442"/>
                <a:gd name="connsiteX1" fmla="*/ 1986827 w 2041549"/>
                <a:gd name="connsiteY1" fmla="*/ 257442 h 257442"/>
                <a:gd name="connsiteX2" fmla="*/ 0 w 2041549"/>
                <a:gd name="connsiteY2" fmla="*/ 257442 h 257442"/>
                <a:gd name="connsiteX3" fmla="*/ 1 w 2041549"/>
                <a:gd name="connsiteY3" fmla="*/ 0 h 257442"/>
                <a:gd name="connsiteX0" fmla="*/ 2294822 w 2294822"/>
                <a:gd name="connsiteY0" fmla="*/ 0 h 257442"/>
                <a:gd name="connsiteX1" fmla="*/ 1986827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2 w 2294822"/>
                <a:gd name="connsiteY0" fmla="*/ 0 h 257442"/>
                <a:gd name="connsiteX1" fmla="*/ 2240100 w 2294822"/>
                <a:gd name="connsiteY1" fmla="*/ 257442 h 257442"/>
                <a:gd name="connsiteX2" fmla="*/ 0 w 2294822"/>
                <a:gd name="connsiteY2" fmla="*/ 257442 h 257442"/>
                <a:gd name="connsiteX3" fmla="*/ 1 w 2294822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2 w 2294823"/>
                <a:gd name="connsiteY3" fmla="*/ 0 h 257442"/>
                <a:gd name="connsiteX0" fmla="*/ 2294823 w 2294823"/>
                <a:gd name="connsiteY0" fmla="*/ 0 h 257442"/>
                <a:gd name="connsiteX1" fmla="*/ 2240101 w 2294823"/>
                <a:gd name="connsiteY1" fmla="*/ 257442 h 257442"/>
                <a:gd name="connsiteX2" fmla="*/ 0 w 2294823"/>
                <a:gd name="connsiteY2" fmla="*/ 257442 h 257442"/>
                <a:gd name="connsiteX3" fmla="*/ 1 w 2294823"/>
                <a:gd name="connsiteY3" fmla="*/ 0 h 257442"/>
                <a:gd name="connsiteX0" fmla="*/ 2463138 w 2463138"/>
                <a:gd name="connsiteY0" fmla="*/ 0 h 257442"/>
                <a:gd name="connsiteX1" fmla="*/ 2240101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8 w 2463138"/>
                <a:gd name="connsiteY0" fmla="*/ 0 h 257442"/>
                <a:gd name="connsiteX1" fmla="*/ 2408416 w 2463138"/>
                <a:gd name="connsiteY1" fmla="*/ 257442 h 257442"/>
                <a:gd name="connsiteX2" fmla="*/ 0 w 2463138"/>
                <a:gd name="connsiteY2" fmla="*/ 257442 h 257442"/>
                <a:gd name="connsiteX3" fmla="*/ 1 w 2463138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2 w 2463139"/>
                <a:gd name="connsiteY3" fmla="*/ 0 h 257442"/>
                <a:gd name="connsiteX0" fmla="*/ 2463139 w 2463139"/>
                <a:gd name="connsiteY0" fmla="*/ 0 h 257442"/>
                <a:gd name="connsiteX1" fmla="*/ 2408417 w 2463139"/>
                <a:gd name="connsiteY1" fmla="*/ 257442 h 257442"/>
                <a:gd name="connsiteX2" fmla="*/ 0 w 2463139"/>
                <a:gd name="connsiteY2" fmla="*/ 257442 h 257442"/>
                <a:gd name="connsiteX3" fmla="*/ 1 w 2463139"/>
                <a:gd name="connsiteY3" fmla="*/ 0 h 257442"/>
                <a:gd name="connsiteX0" fmla="*/ 2631453 w 2631453"/>
                <a:gd name="connsiteY0" fmla="*/ 0 h 257442"/>
                <a:gd name="connsiteX1" fmla="*/ 2408417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1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873314 w 2873314"/>
                <a:gd name="connsiteY0" fmla="*/ 0 h 257442"/>
                <a:gd name="connsiteX1" fmla="*/ 257673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4 w 2873314"/>
                <a:gd name="connsiteY0" fmla="*/ 0 h 257442"/>
                <a:gd name="connsiteX1" fmla="*/ 2818592 w 2873314"/>
                <a:gd name="connsiteY1" fmla="*/ 257442 h 257442"/>
                <a:gd name="connsiteX2" fmla="*/ 0 w 2873314"/>
                <a:gd name="connsiteY2" fmla="*/ 257442 h 257442"/>
                <a:gd name="connsiteX3" fmla="*/ 0 w 2873314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2873315 w 2873315"/>
                <a:gd name="connsiteY0" fmla="*/ 0 h 257442"/>
                <a:gd name="connsiteX1" fmla="*/ 2818593 w 2873315"/>
                <a:gd name="connsiteY1" fmla="*/ 257442 h 257442"/>
                <a:gd name="connsiteX2" fmla="*/ 0 w 2873315"/>
                <a:gd name="connsiteY2" fmla="*/ 257442 h 257442"/>
                <a:gd name="connsiteX3" fmla="*/ 1 w 2873315"/>
                <a:gd name="connsiteY3" fmla="*/ 0 h 257442"/>
                <a:gd name="connsiteX0" fmla="*/ 3051248 w 3051248"/>
                <a:gd name="connsiteY0" fmla="*/ 0 h 257442"/>
                <a:gd name="connsiteX1" fmla="*/ 2818593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8 w 3051248"/>
                <a:gd name="connsiteY0" fmla="*/ 0 h 257442"/>
                <a:gd name="connsiteX1" fmla="*/ 2996526 w 3051248"/>
                <a:gd name="connsiteY1" fmla="*/ 257442 h 257442"/>
                <a:gd name="connsiteX2" fmla="*/ 0 w 3051248"/>
                <a:gd name="connsiteY2" fmla="*/ 257442 h 257442"/>
                <a:gd name="connsiteX3" fmla="*/ 1 w 3051248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2 w 3051249"/>
                <a:gd name="connsiteY3" fmla="*/ 0 h 257442"/>
                <a:gd name="connsiteX0" fmla="*/ 3051249 w 3051249"/>
                <a:gd name="connsiteY0" fmla="*/ 0 h 257442"/>
                <a:gd name="connsiteX1" fmla="*/ 2996527 w 3051249"/>
                <a:gd name="connsiteY1" fmla="*/ 257442 h 257442"/>
                <a:gd name="connsiteX2" fmla="*/ 0 w 3051249"/>
                <a:gd name="connsiteY2" fmla="*/ 257442 h 257442"/>
                <a:gd name="connsiteX3" fmla="*/ 1 w 3051249"/>
                <a:gd name="connsiteY3" fmla="*/ 0 h 257442"/>
                <a:gd name="connsiteX0" fmla="*/ 3219563 w 3219563"/>
                <a:gd name="connsiteY0" fmla="*/ 0 h 257442"/>
                <a:gd name="connsiteX1" fmla="*/ 2996527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1 w 3219563"/>
                <a:gd name="connsiteY3" fmla="*/ 0 h 257442"/>
                <a:gd name="connsiteX0" fmla="*/ 3219563 w 3219563"/>
                <a:gd name="connsiteY0" fmla="*/ 0 h 257442"/>
                <a:gd name="connsiteX1" fmla="*/ 3164842 w 3219563"/>
                <a:gd name="connsiteY1" fmla="*/ 257442 h 257442"/>
                <a:gd name="connsiteX2" fmla="*/ 0 w 3219563"/>
                <a:gd name="connsiteY2" fmla="*/ 257442 h 257442"/>
                <a:gd name="connsiteX3" fmla="*/ 0 w 3219563"/>
                <a:gd name="connsiteY3" fmla="*/ 0 h 257442"/>
                <a:gd name="connsiteX0" fmla="*/ 3379863 w 3379863"/>
                <a:gd name="connsiteY0" fmla="*/ 0 h 257442"/>
                <a:gd name="connsiteX1" fmla="*/ 31648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3379863 w 3379863"/>
                <a:gd name="connsiteY0" fmla="*/ 0 h 257442"/>
                <a:gd name="connsiteX1" fmla="*/ 3325142 w 3379863"/>
                <a:gd name="connsiteY1" fmla="*/ 257442 h 257442"/>
                <a:gd name="connsiteX2" fmla="*/ 0 w 3379863"/>
                <a:gd name="connsiteY2" fmla="*/ 257442 h 257442"/>
                <a:gd name="connsiteX3" fmla="*/ 0 w 3379863"/>
                <a:gd name="connsiteY3" fmla="*/ 0 h 257442"/>
                <a:gd name="connsiteX0" fmla="*/ 950801 w 3325142"/>
                <a:gd name="connsiteY0" fmla="*/ 0 h 257442"/>
                <a:gd name="connsiteX1" fmla="*/ 3325142 w 3325142"/>
                <a:gd name="connsiteY1" fmla="*/ 257442 h 257442"/>
                <a:gd name="connsiteX2" fmla="*/ 0 w 3325142"/>
                <a:gd name="connsiteY2" fmla="*/ 257442 h 257442"/>
                <a:gd name="connsiteX3" fmla="*/ 0 w 332514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16047 w 1616047"/>
                <a:gd name="connsiteY0" fmla="*/ 0 h 257442"/>
                <a:gd name="connsiteX1" fmla="*/ 14010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0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7637 w 2037637"/>
                <a:gd name="connsiteY0" fmla="*/ 0 h 257442"/>
                <a:gd name="connsiteX1" fmla="*/ 1729642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037637 w 2037637"/>
                <a:gd name="connsiteY0" fmla="*/ 0 h 257442"/>
                <a:gd name="connsiteX1" fmla="*/ 1982916 w 2037637"/>
                <a:gd name="connsiteY1" fmla="*/ 257442 h 257442"/>
                <a:gd name="connsiteX2" fmla="*/ 0 w 2037637"/>
                <a:gd name="connsiteY2" fmla="*/ 257442 h 257442"/>
                <a:gd name="connsiteX3" fmla="*/ 0 w 2037637"/>
                <a:gd name="connsiteY3" fmla="*/ 0 h 257442"/>
                <a:gd name="connsiteX0" fmla="*/ 2205952 w 2205952"/>
                <a:gd name="connsiteY0" fmla="*/ 0 h 257442"/>
                <a:gd name="connsiteX1" fmla="*/ 1982916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2 w 2205952"/>
                <a:gd name="connsiteY0" fmla="*/ 0 h 257442"/>
                <a:gd name="connsiteX1" fmla="*/ 2151230 w 2205952"/>
                <a:gd name="connsiteY1" fmla="*/ 257442 h 257442"/>
                <a:gd name="connsiteX2" fmla="*/ 0 w 2205952"/>
                <a:gd name="connsiteY2" fmla="*/ 257442 h 257442"/>
                <a:gd name="connsiteX3" fmla="*/ 0 w 2205952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205953 w 2205953"/>
                <a:gd name="connsiteY0" fmla="*/ 0 h 257442"/>
                <a:gd name="connsiteX1" fmla="*/ 2151231 w 2205953"/>
                <a:gd name="connsiteY1" fmla="*/ 257442 h 257442"/>
                <a:gd name="connsiteX2" fmla="*/ 0 w 2205953"/>
                <a:gd name="connsiteY2" fmla="*/ 257442 h 257442"/>
                <a:gd name="connsiteX3" fmla="*/ 1 w 2205953"/>
                <a:gd name="connsiteY3" fmla="*/ 0 h 257442"/>
                <a:gd name="connsiteX0" fmla="*/ 2374268 w 2374268"/>
                <a:gd name="connsiteY0" fmla="*/ 0 h 257442"/>
                <a:gd name="connsiteX1" fmla="*/ 2151231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8 w 2374268"/>
                <a:gd name="connsiteY0" fmla="*/ 0 h 257442"/>
                <a:gd name="connsiteX1" fmla="*/ 2319546 w 2374268"/>
                <a:gd name="connsiteY1" fmla="*/ 257442 h 257442"/>
                <a:gd name="connsiteX2" fmla="*/ 0 w 2374268"/>
                <a:gd name="connsiteY2" fmla="*/ 257442 h 257442"/>
                <a:gd name="connsiteX3" fmla="*/ 1 w 2374268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2 w 2374269"/>
                <a:gd name="connsiteY3" fmla="*/ 0 h 257442"/>
                <a:gd name="connsiteX0" fmla="*/ 2374269 w 2374269"/>
                <a:gd name="connsiteY0" fmla="*/ 0 h 257442"/>
                <a:gd name="connsiteX1" fmla="*/ 2319547 w 2374269"/>
                <a:gd name="connsiteY1" fmla="*/ 257442 h 257442"/>
                <a:gd name="connsiteX2" fmla="*/ 0 w 2374269"/>
                <a:gd name="connsiteY2" fmla="*/ 257442 h 257442"/>
                <a:gd name="connsiteX3" fmla="*/ 1 w 2374269"/>
                <a:gd name="connsiteY3" fmla="*/ 0 h 257442"/>
                <a:gd name="connsiteX0" fmla="*/ 2534568 w 2534568"/>
                <a:gd name="connsiteY0" fmla="*/ 0 h 257442"/>
                <a:gd name="connsiteX1" fmla="*/ 2319547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8 w 2534568"/>
                <a:gd name="connsiteY0" fmla="*/ 0 h 257442"/>
                <a:gd name="connsiteX1" fmla="*/ 2479846 w 2534568"/>
                <a:gd name="connsiteY1" fmla="*/ 257442 h 257442"/>
                <a:gd name="connsiteX2" fmla="*/ 0 w 2534568"/>
                <a:gd name="connsiteY2" fmla="*/ 257442 h 257442"/>
                <a:gd name="connsiteX3" fmla="*/ 1 w 2534568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2 w 2534569"/>
                <a:gd name="connsiteY3" fmla="*/ 0 h 257442"/>
                <a:gd name="connsiteX0" fmla="*/ 2534569 w 2534569"/>
                <a:gd name="connsiteY0" fmla="*/ 0 h 257442"/>
                <a:gd name="connsiteX1" fmla="*/ 2479847 w 2534569"/>
                <a:gd name="connsiteY1" fmla="*/ 257442 h 257442"/>
                <a:gd name="connsiteX2" fmla="*/ 0 w 2534569"/>
                <a:gd name="connsiteY2" fmla="*/ 257442 h 257442"/>
                <a:gd name="connsiteX3" fmla="*/ 1 w 2534569"/>
                <a:gd name="connsiteY3" fmla="*/ 0 h 257442"/>
                <a:gd name="connsiteX0" fmla="*/ 2862029 w 2862029"/>
                <a:gd name="connsiteY0" fmla="*/ 0 h 257442"/>
                <a:gd name="connsiteX1" fmla="*/ 2479847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1 w 2862029"/>
                <a:gd name="connsiteY3" fmla="*/ 0 h 257442"/>
                <a:gd name="connsiteX0" fmla="*/ 2862029 w 2862029"/>
                <a:gd name="connsiteY0" fmla="*/ 0 h 257442"/>
                <a:gd name="connsiteX1" fmla="*/ 2807308 w 2862029"/>
                <a:gd name="connsiteY1" fmla="*/ 257442 h 257442"/>
                <a:gd name="connsiteX2" fmla="*/ 0 w 2862029"/>
                <a:gd name="connsiteY2" fmla="*/ 257442 h 257442"/>
                <a:gd name="connsiteX3" fmla="*/ 0 w 2862029"/>
                <a:gd name="connsiteY3" fmla="*/ 0 h 257442"/>
                <a:gd name="connsiteX0" fmla="*/ 3047977 w 3047977"/>
                <a:gd name="connsiteY0" fmla="*/ 0 h 257442"/>
                <a:gd name="connsiteX1" fmla="*/ 2807308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047977 w 3047977"/>
                <a:gd name="connsiteY0" fmla="*/ 0 h 257442"/>
                <a:gd name="connsiteX1" fmla="*/ 2993256 w 3047977"/>
                <a:gd name="connsiteY1" fmla="*/ 257442 h 257442"/>
                <a:gd name="connsiteX2" fmla="*/ 0 w 3047977"/>
                <a:gd name="connsiteY2" fmla="*/ 257442 h 257442"/>
                <a:gd name="connsiteX3" fmla="*/ 0 w 3047977"/>
                <a:gd name="connsiteY3" fmla="*/ 0 h 257442"/>
                <a:gd name="connsiteX0" fmla="*/ 3208278 w 3208278"/>
                <a:gd name="connsiteY0" fmla="*/ 0 h 257442"/>
                <a:gd name="connsiteX1" fmla="*/ 29932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8 w 3208278"/>
                <a:gd name="connsiteY0" fmla="*/ 0 h 257442"/>
                <a:gd name="connsiteX1" fmla="*/ 3153556 w 3208278"/>
                <a:gd name="connsiteY1" fmla="*/ 257442 h 257442"/>
                <a:gd name="connsiteX2" fmla="*/ 0 w 3208278"/>
                <a:gd name="connsiteY2" fmla="*/ 257442 h 257442"/>
                <a:gd name="connsiteX3" fmla="*/ 0 w 3208278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208279 w 3208279"/>
                <a:gd name="connsiteY0" fmla="*/ 0 h 257442"/>
                <a:gd name="connsiteX1" fmla="*/ 3153557 w 3208279"/>
                <a:gd name="connsiteY1" fmla="*/ 257442 h 257442"/>
                <a:gd name="connsiteX2" fmla="*/ 0 w 3208279"/>
                <a:gd name="connsiteY2" fmla="*/ 257442 h 257442"/>
                <a:gd name="connsiteX3" fmla="*/ 1 w 3208279"/>
                <a:gd name="connsiteY3" fmla="*/ 0 h 257442"/>
                <a:gd name="connsiteX0" fmla="*/ 3376593 w 3376593"/>
                <a:gd name="connsiteY0" fmla="*/ 0 h 257442"/>
                <a:gd name="connsiteX1" fmla="*/ 3153557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1 w 3376593"/>
                <a:gd name="connsiteY3" fmla="*/ 0 h 257442"/>
                <a:gd name="connsiteX0" fmla="*/ 3376593 w 3376593"/>
                <a:gd name="connsiteY0" fmla="*/ 0 h 257442"/>
                <a:gd name="connsiteX1" fmla="*/ 3321872 w 3376593"/>
                <a:gd name="connsiteY1" fmla="*/ 257442 h 257442"/>
                <a:gd name="connsiteX2" fmla="*/ 0 w 3376593"/>
                <a:gd name="connsiteY2" fmla="*/ 257442 h 257442"/>
                <a:gd name="connsiteX3" fmla="*/ 0 w 3376593"/>
                <a:gd name="connsiteY3" fmla="*/ 0 h 257442"/>
                <a:gd name="connsiteX0" fmla="*/ 3536894 w 3536894"/>
                <a:gd name="connsiteY0" fmla="*/ 0 h 257442"/>
                <a:gd name="connsiteX1" fmla="*/ 33218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4 w 3536894"/>
                <a:gd name="connsiteY0" fmla="*/ 0 h 257442"/>
                <a:gd name="connsiteX1" fmla="*/ 3482172 w 3536894"/>
                <a:gd name="connsiteY1" fmla="*/ 257442 h 257442"/>
                <a:gd name="connsiteX2" fmla="*/ 0 w 3536894"/>
                <a:gd name="connsiteY2" fmla="*/ 257442 h 257442"/>
                <a:gd name="connsiteX3" fmla="*/ 0 w 3536894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3536895 w 3536895"/>
                <a:gd name="connsiteY0" fmla="*/ 0 h 257442"/>
                <a:gd name="connsiteX1" fmla="*/ 3482173 w 3536895"/>
                <a:gd name="connsiteY1" fmla="*/ 257442 h 257442"/>
                <a:gd name="connsiteX2" fmla="*/ 0 w 3536895"/>
                <a:gd name="connsiteY2" fmla="*/ 257442 h 257442"/>
                <a:gd name="connsiteX3" fmla="*/ 1 w 3536895"/>
                <a:gd name="connsiteY3" fmla="*/ 0 h 257442"/>
                <a:gd name="connsiteX0" fmla="*/ 950801 w 3482173"/>
                <a:gd name="connsiteY0" fmla="*/ 0 h 257442"/>
                <a:gd name="connsiteX1" fmla="*/ 3482173 w 3482173"/>
                <a:gd name="connsiteY1" fmla="*/ 257442 h 257442"/>
                <a:gd name="connsiteX2" fmla="*/ 0 w 3482173"/>
                <a:gd name="connsiteY2" fmla="*/ 257442 h 257442"/>
                <a:gd name="connsiteX3" fmla="*/ 1 w 3482173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606878 w 1606878"/>
                <a:gd name="connsiteY0" fmla="*/ 0 h 257442"/>
                <a:gd name="connsiteX1" fmla="*/ 1224695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8 w 1606878"/>
                <a:gd name="connsiteY0" fmla="*/ 0 h 257442"/>
                <a:gd name="connsiteX1" fmla="*/ 1552156 w 1606878"/>
                <a:gd name="connsiteY1" fmla="*/ 257442 h 257442"/>
                <a:gd name="connsiteX2" fmla="*/ 0 w 1606878"/>
                <a:gd name="connsiteY2" fmla="*/ 257442 h 257442"/>
                <a:gd name="connsiteX3" fmla="*/ 1 w 1606878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2 w 1606879"/>
                <a:gd name="connsiteY3" fmla="*/ 0 h 257442"/>
                <a:gd name="connsiteX0" fmla="*/ 1606879 w 1606879"/>
                <a:gd name="connsiteY0" fmla="*/ 0 h 257442"/>
                <a:gd name="connsiteX1" fmla="*/ 1552157 w 1606879"/>
                <a:gd name="connsiteY1" fmla="*/ 257442 h 257442"/>
                <a:gd name="connsiteX2" fmla="*/ 0 w 1606879"/>
                <a:gd name="connsiteY2" fmla="*/ 257442 h 257442"/>
                <a:gd name="connsiteX3" fmla="*/ 1 w 1606879"/>
                <a:gd name="connsiteY3" fmla="*/ 0 h 257442"/>
                <a:gd name="connsiteX0" fmla="*/ 1792827 w 1792827"/>
                <a:gd name="connsiteY0" fmla="*/ 0 h 257442"/>
                <a:gd name="connsiteX1" fmla="*/ 1552157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1 w 1792827"/>
                <a:gd name="connsiteY3" fmla="*/ 0 h 257442"/>
                <a:gd name="connsiteX0" fmla="*/ 1792827 w 1792827"/>
                <a:gd name="connsiteY0" fmla="*/ 0 h 257442"/>
                <a:gd name="connsiteX1" fmla="*/ 1738106 w 1792827"/>
                <a:gd name="connsiteY1" fmla="*/ 257442 h 257442"/>
                <a:gd name="connsiteX2" fmla="*/ 0 w 1792827"/>
                <a:gd name="connsiteY2" fmla="*/ 257442 h 257442"/>
                <a:gd name="connsiteX3" fmla="*/ 0 w 1792827"/>
                <a:gd name="connsiteY3" fmla="*/ 0 h 257442"/>
                <a:gd name="connsiteX0" fmla="*/ 1953127 w 1953127"/>
                <a:gd name="connsiteY0" fmla="*/ 0 h 257442"/>
                <a:gd name="connsiteX1" fmla="*/ 17381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1953127 w 1953127"/>
                <a:gd name="connsiteY0" fmla="*/ 0 h 257442"/>
                <a:gd name="connsiteX1" fmla="*/ 1898406 w 1953127"/>
                <a:gd name="connsiteY1" fmla="*/ 257442 h 257442"/>
                <a:gd name="connsiteX2" fmla="*/ 0 w 1953127"/>
                <a:gd name="connsiteY2" fmla="*/ 257442 h 257442"/>
                <a:gd name="connsiteX3" fmla="*/ 0 w 1953127"/>
                <a:gd name="connsiteY3" fmla="*/ 0 h 257442"/>
                <a:gd name="connsiteX0" fmla="*/ 2121442 w 2121442"/>
                <a:gd name="connsiteY0" fmla="*/ 0 h 257442"/>
                <a:gd name="connsiteX1" fmla="*/ 1898406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2 w 2121442"/>
                <a:gd name="connsiteY0" fmla="*/ 0 h 257442"/>
                <a:gd name="connsiteX1" fmla="*/ 2066720 w 2121442"/>
                <a:gd name="connsiteY1" fmla="*/ 257442 h 257442"/>
                <a:gd name="connsiteX2" fmla="*/ 0 w 2121442"/>
                <a:gd name="connsiteY2" fmla="*/ 257442 h 257442"/>
                <a:gd name="connsiteX3" fmla="*/ 0 w 2121442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121443 w 2121443"/>
                <a:gd name="connsiteY0" fmla="*/ 0 h 257442"/>
                <a:gd name="connsiteX1" fmla="*/ 2066721 w 2121443"/>
                <a:gd name="connsiteY1" fmla="*/ 257442 h 257442"/>
                <a:gd name="connsiteX2" fmla="*/ 0 w 2121443"/>
                <a:gd name="connsiteY2" fmla="*/ 257442 h 257442"/>
                <a:gd name="connsiteX3" fmla="*/ 1 w 2121443"/>
                <a:gd name="connsiteY3" fmla="*/ 0 h 257442"/>
                <a:gd name="connsiteX0" fmla="*/ 2385040 w 2385040"/>
                <a:gd name="connsiteY0" fmla="*/ 0 h 257442"/>
                <a:gd name="connsiteX1" fmla="*/ 2066721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0 w 2385040"/>
                <a:gd name="connsiteY0" fmla="*/ 0 h 257442"/>
                <a:gd name="connsiteX1" fmla="*/ 2330318 w 2385040"/>
                <a:gd name="connsiteY1" fmla="*/ 257442 h 257442"/>
                <a:gd name="connsiteX2" fmla="*/ 0 w 2385040"/>
                <a:gd name="connsiteY2" fmla="*/ 257442 h 257442"/>
                <a:gd name="connsiteX3" fmla="*/ 1 w 2385040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2 w 2385041"/>
                <a:gd name="connsiteY3" fmla="*/ 0 h 257442"/>
                <a:gd name="connsiteX0" fmla="*/ 2385041 w 2385041"/>
                <a:gd name="connsiteY0" fmla="*/ 0 h 257442"/>
                <a:gd name="connsiteX1" fmla="*/ 2330319 w 2385041"/>
                <a:gd name="connsiteY1" fmla="*/ 257442 h 257442"/>
                <a:gd name="connsiteX2" fmla="*/ 0 w 2385041"/>
                <a:gd name="connsiteY2" fmla="*/ 257442 h 257442"/>
                <a:gd name="connsiteX3" fmla="*/ 1 w 2385041"/>
                <a:gd name="connsiteY3" fmla="*/ 0 h 257442"/>
                <a:gd name="connsiteX0" fmla="*/ 2678197 w 2678197"/>
                <a:gd name="connsiteY0" fmla="*/ 0 h 257442"/>
                <a:gd name="connsiteX1" fmla="*/ 2330319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1 w 2678197"/>
                <a:gd name="connsiteY3" fmla="*/ 0 h 257442"/>
                <a:gd name="connsiteX0" fmla="*/ 2678197 w 2678197"/>
                <a:gd name="connsiteY0" fmla="*/ 0 h 257442"/>
                <a:gd name="connsiteX1" fmla="*/ 2623476 w 2678197"/>
                <a:gd name="connsiteY1" fmla="*/ 257442 h 257442"/>
                <a:gd name="connsiteX2" fmla="*/ 0 w 2678197"/>
                <a:gd name="connsiteY2" fmla="*/ 257442 h 257442"/>
                <a:gd name="connsiteX3" fmla="*/ 0 w 2678197"/>
                <a:gd name="connsiteY3" fmla="*/ 0 h 257442"/>
                <a:gd name="connsiteX0" fmla="*/ 2846512 w 2846512"/>
                <a:gd name="connsiteY0" fmla="*/ 0 h 257442"/>
                <a:gd name="connsiteX1" fmla="*/ 2623476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2 w 2846512"/>
                <a:gd name="connsiteY0" fmla="*/ 0 h 257442"/>
                <a:gd name="connsiteX1" fmla="*/ 2791790 w 2846512"/>
                <a:gd name="connsiteY1" fmla="*/ 257442 h 257442"/>
                <a:gd name="connsiteX2" fmla="*/ 0 w 2846512"/>
                <a:gd name="connsiteY2" fmla="*/ 257442 h 257442"/>
                <a:gd name="connsiteX3" fmla="*/ 0 w 2846512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2846513 w 2846513"/>
                <a:gd name="connsiteY0" fmla="*/ 0 h 257442"/>
                <a:gd name="connsiteX1" fmla="*/ 2791791 w 2846513"/>
                <a:gd name="connsiteY1" fmla="*/ 257442 h 257442"/>
                <a:gd name="connsiteX2" fmla="*/ 0 w 2846513"/>
                <a:gd name="connsiteY2" fmla="*/ 257442 h 257442"/>
                <a:gd name="connsiteX3" fmla="*/ 1 w 2846513"/>
                <a:gd name="connsiteY3" fmla="*/ 0 h 257442"/>
                <a:gd name="connsiteX0" fmla="*/ 3099786 w 3099786"/>
                <a:gd name="connsiteY0" fmla="*/ 0 h 257442"/>
                <a:gd name="connsiteX1" fmla="*/ 2791791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6 w 3099786"/>
                <a:gd name="connsiteY0" fmla="*/ 0 h 257442"/>
                <a:gd name="connsiteX1" fmla="*/ 3045064 w 3099786"/>
                <a:gd name="connsiteY1" fmla="*/ 257442 h 257442"/>
                <a:gd name="connsiteX2" fmla="*/ 0 w 3099786"/>
                <a:gd name="connsiteY2" fmla="*/ 257442 h 257442"/>
                <a:gd name="connsiteX3" fmla="*/ 1 w 3099786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2 w 3099787"/>
                <a:gd name="connsiteY3" fmla="*/ 0 h 257442"/>
                <a:gd name="connsiteX0" fmla="*/ 3099787 w 3099787"/>
                <a:gd name="connsiteY0" fmla="*/ 0 h 257442"/>
                <a:gd name="connsiteX1" fmla="*/ 3045065 w 3099787"/>
                <a:gd name="connsiteY1" fmla="*/ 257442 h 257442"/>
                <a:gd name="connsiteX2" fmla="*/ 0 w 3099787"/>
                <a:gd name="connsiteY2" fmla="*/ 257442 h 257442"/>
                <a:gd name="connsiteX3" fmla="*/ 1 w 3099787"/>
                <a:gd name="connsiteY3" fmla="*/ 0 h 257442"/>
                <a:gd name="connsiteX0" fmla="*/ 3378709 w 3378709"/>
                <a:gd name="connsiteY0" fmla="*/ 0 h 257442"/>
                <a:gd name="connsiteX1" fmla="*/ 3045065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1 w 3378709"/>
                <a:gd name="connsiteY3" fmla="*/ 0 h 257442"/>
                <a:gd name="connsiteX0" fmla="*/ 3378709 w 3378709"/>
                <a:gd name="connsiteY0" fmla="*/ 0 h 257442"/>
                <a:gd name="connsiteX1" fmla="*/ 3323988 w 3378709"/>
                <a:gd name="connsiteY1" fmla="*/ 257442 h 257442"/>
                <a:gd name="connsiteX2" fmla="*/ 0 w 3378709"/>
                <a:gd name="connsiteY2" fmla="*/ 257442 h 257442"/>
                <a:gd name="connsiteX3" fmla="*/ 0 w 3378709"/>
                <a:gd name="connsiteY3" fmla="*/ 0 h 257442"/>
                <a:gd name="connsiteX0" fmla="*/ 3547025 w 3547025"/>
                <a:gd name="connsiteY0" fmla="*/ 0 h 257442"/>
                <a:gd name="connsiteX1" fmla="*/ 3323988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3547025 w 3547025"/>
                <a:gd name="connsiteY0" fmla="*/ 0 h 257442"/>
                <a:gd name="connsiteX1" fmla="*/ 3492304 w 3547025"/>
                <a:gd name="connsiteY1" fmla="*/ 257442 h 257442"/>
                <a:gd name="connsiteX2" fmla="*/ 0 w 3547025"/>
                <a:gd name="connsiteY2" fmla="*/ 257442 h 257442"/>
                <a:gd name="connsiteX3" fmla="*/ 0 w 3547025"/>
                <a:gd name="connsiteY3" fmla="*/ 0 h 257442"/>
                <a:gd name="connsiteX0" fmla="*/ 950801 w 3492304"/>
                <a:gd name="connsiteY0" fmla="*/ 0 h 257442"/>
                <a:gd name="connsiteX1" fmla="*/ 3492304 w 3492304"/>
                <a:gd name="connsiteY1" fmla="*/ 257442 h 257442"/>
                <a:gd name="connsiteX2" fmla="*/ 0 w 3492304"/>
                <a:gd name="connsiteY2" fmla="*/ 257442 h 257442"/>
                <a:gd name="connsiteX3" fmla="*/ 0 w 349230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79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457350 w 1457350"/>
                <a:gd name="connsiteY0" fmla="*/ 0 h 257442"/>
                <a:gd name="connsiteX1" fmla="*/ 1224695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0 w 1625665"/>
                <a:gd name="connsiteY3" fmla="*/ 0 h 257442"/>
                <a:gd name="connsiteX0" fmla="*/ 1793981 w 1793981"/>
                <a:gd name="connsiteY0" fmla="*/ 0 h 257442"/>
                <a:gd name="connsiteX1" fmla="*/ 1570944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793981 w 1793981"/>
                <a:gd name="connsiteY0" fmla="*/ 0 h 257442"/>
                <a:gd name="connsiteX1" fmla="*/ 1739260 w 1793981"/>
                <a:gd name="connsiteY1" fmla="*/ 257442 h 257442"/>
                <a:gd name="connsiteX2" fmla="*/ 0 w 1793981"/>
                <a:gd name="connsiteY2" fmla="*/ 257442 h 257442"/>
                <a:gd name="connsiteX3" fmla="*/ 0 w 1793981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950801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1 w 2067875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74984 w 1474984"/>
                <a:gd name="connsiteY0" fmla="*/ 0 h 257442"/>
                <a:gd name="connsiteX1" fmla="*/ 1242329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1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79453 w 2579453"/>
                <a:gd name="connsiteY0" fmla="*/ 0 h 257442"/>
                <a:gd name="connsiteX1" fmla="*/ 2263441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0 w 2579453"/>
                <a:gd name="connsiteY2" fmla="*/ 257442 h 257442"/>
                <a:gd name="connsiteX3" fmla="*/ 1 w 2579453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0 w 2579452"/>
                <a:gd name="connsiteY3" fmla="*/ 0 h 257442"/>
                <a:gd name="connsiteX0" fmla="*/ 2579453 w 2579453"/>
                <a:gd name="connsiteY0" fmla="*/ 0 h 257442"/>
                <a:gd name="connsiteX1" fmla="*/ 2524732 w 2579453"/>
                <a:gd name="connsiteY1" fmla="*/ 257442 h 257442"/>
                <a:gd name="connsiteX2" fmla="*/ 1 w 2579453"/>
                <a:gd name="connsiteY2" fmla="*/ 257442 h 257442"/>
                <a:gd name="connsiteX3" fmla="*/ 0 w 2579453"/>
                <a:gd name="connsiteY3" fmla="*/ 0 h 257442"/>
                <a:gd name="connsiteX0" fmla="*/ 2747768 w 2747768"/>
                <a:gd name="connsiteY0" fmla="*/ 0 h 257442"/>
                <a:gd name="connsiteX1" fmla="*/ 2524732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1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747768 w 2747768"/>
                <a:gd name="connsiteY0" fmla="*/ 0 h 257442"/>
                <a:gd name="connsiteX1" fmla="*/ 2693046 w 2747768"/>
                <a:gd name="connsiteY1" fmla="*/ 257442 h 257442"/>
                <a:gd name="connsiteX2" fmla="*/ 0 w 2747768"/>
                <a:gd name="connsiteY2" fmla="*/ 257442 h 257442"/>
                <a:gd name="connsiteX3" fmla="*/ 0 w 2747768"/>
                <a:gd name="connsiteY3" fmla="*/ 0 h 257442"/>
                <a:gd name="connsiteX0" fmla="*/ 2908067 w 2908067"/>
                <a:gd name="connsiteY0" fmla="*/ 0 h 257442"/>
                <a:gd name="connsiteX1" fmla="*/ 26930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747767 w 2853346"/>
                <a:gd name="connsiteY0" fmla="*/ 0 h 257442"/>
                <a:gd name="connsiteX1" fmla="*/ 2853346 w 2853346"/>
                <a:gd name="connsiteY1" fmla="*/ 257442 h 257442"/>
                <a:gd name="connsiteX2" fmla="*/ 0 w 2853346"/>
                <a:gd name="connsiteY2" fmla="*/ 257442 h 257442"/>
                <a:gd name="connsiteX3" fmla="*/ 0 w 2853346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1 w 2747767"/>
                <a:gd name="connsiteY2" fmla="*/ 257442 h 257442"/>
                <a:gd name="connsiteX3" fmla="*/ 0 w 2747767"/>
                <a:gd name="connsiteY3" fmla="*/ 0 h 257442"/>
                <a:gd name="connsiteX0" fmla="*/ 2747766 w 2747766"/>
                <a:gd name="connsiteY0" fmla="*/ 0 h 257442"/>
                <a:gd name="connsiteX1" fmla="*/ 2693045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579451 w 2693045"/>
                <a:gd name="connsiteY0" fmla="*/ 0 h 257442"/>
                <a:gd name="connsiteX1" fmla="*/ 2693045 w 2693045"/>
                <a:gd name="connsiteY1" fmla="*/ 257442 h 257442"/>
                <a:gd name="connsiteX2" fmla="*/ 0 w 2693045"/>
                <a:gd name="connsiteY2" fmla="*/ 257442 h 257442"/>
                <a:gd name="connsiteX3" fmla="*/ 0 w 2693045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579451 w 2579451"/>
                <a:gd name="connsiteY0" fmla="*/ 0 h 257442"/>
                <a:gd name="connsiteX1" fmla="*/ 2524731 w 2579451"/>
                <a:gd name="connsiteY1" fmla="*/ 257442 h 257442"/>
                <a:gd name="connsiteX2" fmla="*/ 0 w 2579451"/>
                <a:gd name="connsiteY2" fmla="*/ 257442 h 257442"/>
                <a:gd name="connsiteX3" fmla="*/ 0 w 2579451"/>
                <a:gd name="connsiteY3" fmla="*/ 0 h 257442"/>
                <a:gd name="connsiteX0" fmla="*/ 2419152 w 2524731"/>
                <a:gd name="connsiteY0" fmla="*/ 0 h 257442"/>
                <a:gd name="connsiteX1" fmla="*/ 2524731 w 2524731"/>
                <a:gd name="connsiteY1" fmla="*/ 257442 h 257442"/>
                <a:gd name="connsiteX2" fmla="*/ 0 w 2524731"/>
                <a:gd name="connsiteY2" fmla="*/ 257442 h 257442"/>
                <a:gd name="connsiteX3" fmla="*/ 0 w 2524731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419152 w 2419152"/>
                <a:gd name="connsiteY0" fmla="*/ 0 h 257442"/>
                <a:gd name="connsiteX1" fmla="*/ 2364431 w 2419152"/>
                <a:gd name="connsiteY1" fmla="*/ 257442 h 257442"/>
                <a:gd name="connsiteX2" fmla="*/ 0 w 2419152"/>
                <a:gd name="connsiteY2" fmla="*/ 257442 h 257442"/>
                <a:gd name="connsiteX3" fmla="*/ 0 w 2419152"/>
                <a:gd name="connsiteY3" fmla="*/ 0 h 257442"/>
                <a:gd name="connsiteX0" fmla="*/ 2680441 w 2680441"/>
                <a:gd name="connsiteY0" fmla="*/ 0 h 257442"/>
                <a:gd name="connsiteX1" fmla="*/ 2364431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680441 w 2680441"/>
                <a:gd name="connsiteY0" fmla="*/ 0 h 257442"/>
                <a:gd name="connsiteX1" fmla="*/ 2625720 w 2680441"/>
                <a:gd name="connsiteY1" fmla="*/ 257442 h 257442"/>
                <a:gd name="connsiteX2" fmla="*/ 0 w 2680441"/>
                <a:gd name="connsiteY2" fmla="*/ 257442 h 257442"/>
                <a:gd name="connsiteX3" fmla="*/ 0 w 2680441"/>
                <a:gd name="connsiteY3" fmla="*/ 0 h 257442"/>
                <a:gd name="connsiteX0" fmla="*/ 2520141 w 2625720"/>
                <a:gd name="connsiteY0" fmla="*/ 0 h 257442"/>
                <a:gd name="connsiteX1" fmla="*/ 2625720 w 2625720"/>
                <a:gd name="connsiteY1" fmla="*/ 257442 h 257442"/>
                <a:gd name="connsiteX2" fmla="*/ 0 w 2625720"/>
                <a:gd name="connsiteY2" fmla="*/ 257442 h 257442"/>
                <a:gd name="connsiteX3" fmla="*/ 0 w 2625720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1 w 2520141"/>
                <a:gd name="connsiteY2" fmla="*/ 257442 h 257442"/>
                <a:gd name="connsiteX3" fmla="*/ 0 w 2520141"/>
                <a:gd name="connsiteY3" fmla="*/ 0 h 257442"/>
                <a:gd name="connsiteX0" fmla="*/ 2520140 w 2520140"/>
                <a:gd name="connsiteY0" fmla="*/ 0 h 257442"/>
                <a:gd name="connsiteX1" fmla="*/ 2465419 w 2520140"/>
                <a:gd name="connsiteY1" fmla="*/ 257442 h 257442"/>
                <a:gd name="connsiteX2" fmla="*/ 0 w 2520140"/>
                <a:gd name="connsiteY2" fmla="*/ 257442 h 257442"/>
                <a:gd name="connsiteX3" fmla="*/ 0 w 2520140"/>
                <a:gd name="connsiteY3" fmla="*/ 0 h 257442"/>
                <a:gd name="connsiteX0" fmla="*/ 2419151 w 2465419"/>
                <a:gd name="connsiteY0" fmla="*/ 0 h 257442"/>
                <a:gd name="connsiteX1" fmla="*/ 2465419 w 2465419"/>
                <a:gd name="connsiteY1" fmla="*/ 257442 h 257442"/>
                <a:gd name="connsiteX2" fmla="*/ 0 w 2465419"/>
                <a:gd name="connsiteY2" fmla="*/ 257442 h 257442"/>
                <a:gd name="connsiteX3" fmla="*/ 0 w 2465419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419151 w 2419151"/>
                <a:gd name="connsiteY0" fmla="*/ 0 h 257442"/>
                <a:gd name="connsiteX1" fmla="*/ 2364431 w 2419151"/>
                <a:gd name="connsiteY1" fmla="*/ 257442 h 257442"/>
                <a:gd name="connsiteX2" fmla="*/ 0 w 2419151"/>
                <a:gd name="connsiteY2" fmla="*/ 257442 h 257442"/>
                <a:gd name="connsiteX3" fmla="*/ 0 w 2419151"/>
                <a:gd name="connsiteY3" fmla="*/ 0 h 257442"/>
                <a:gd name="connsiteX0" fmla="*/ 2587467 w 2587467"/>
                <a:gd name="connsiteY0" fmla="*/ 0 h 257442"/>
                <a:gd name="connsiteX1" fmla="*/ 2364431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587467 w 2587467"/>
                <a:gd name="connsiteY0" fmla="*/ 0 h 257442"/>
                <a:gd name="connsiteX1" fmla="*/ 2532746 w 2587467"/>
                <a:gd name="connsiteY1" fmla="*/ 257442 h 257442"/>
                <a:gd name="connsiteX2" fmla="*/ 0 w 2587467"/>
                <a:gd name="connsiteY2" fmla="*/ 257442 h 257442"/>
                <a:gd name="connsiteX3" fmla="*/ 0 w 2587467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0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597261 w 1597261"/>
                <a:gd name="connsiteY0" fmla="*/ 0 h 257442"/>
                <a:gd name="connsiteX1" fmla="*/ 1224695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0 w 1597261"/>
                <a:gd name="connsiteY2" fmla="*/ 257442 h 257442"/>
                <a:gd name="connsiteX3" fmla="*/ 1 w 1597261"/>
                <a:gd name="connsiteY3" fmla="*/ 0 h 257442"/>
                <a:gd name="connsiteX0" fmla="*/ 1597260 w 1597260"/>
                <a:gd name="connsiteY0" fmla="*/ 0 h 257442"/>
                <a:gd name="connsiteX1" fmla="*/ 1542539 w 1597260"/>
                <a:gd name="connsiteY1" fmla="*/ 257442 h 257442"/>
                <a:gd name="connsiteX2" fmla="*/ 0 w 1597260"/>
                <a:gd name="connsiteY2" fmla="*/ 257442 h 257442"/>
                <a:gd name="connsiteX3" fmla="*/ 0 w 1597260"/>
                <a:gd name="connsiteY3" fmla="*/ 0 h 257442"/>
                <a:gd name="connsiteX0" fmla="*/ 1597261 w 1597261"/>
                <a:gd name="connsiteY0" fmla="*/ 0 h 257442"/>
                <a:gd name="connsiteX1" fmla="*/ 1542540 w 1597261"/>
                <a:gd name="connsiteY1" fmla="*/ 257442 h 257442"/>
                <a:gd name="connsiteX2" fmla="*/ 1 w 1597261"/>
                <a:gd name="connsiteY2" fmla="*/ 257442 h 257442"/>
                <a:gd name="connsiteX3" fmla="*/ 0 w 1597261"/>
                <a:gd name="connsiteY3" fmla="*/ 0 h 257442"/>
                <a:gd name="connsiteX0" fmla="*/ 1757561 w 1757561"/>
                <a:gd name="connsiteY0" fmla="*/ 0 h 257442"/>
                <a:gd name="connsiteX1" fmla="*/ 15425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1 w 1757561"/>
                <a:gd name="connsiteY0" fmla="*/ 0 h 257442"/>
                <a:gd name="connsiteX1" fmla="*/ 1702840 w 1757561"/>
                <a:gd name="connsiteY1" fmla="*/ 257442 h 257442"/>
                <a:gd name="connsiteX2" fmla="*/ 1 w 1757561"/>
                <a:gd name="connsiteY2" fmla="*/ 257442 h 257442"/>
                <a:gd name="connsiteX3" fmla="*/ 0 w 1757561"/>
                <a:gd name="connsiteY3" fmla="*/ 0 h 257442"/>
                <a:gd name="connsiteX0" fmla="*/ 1757560 w 1757560"/>
                <a:gd name="connsiteY0" fmla="*/ 0 h 257442"/>
                <a:gd name="connsiteX1" fmla="*/ 1702839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2018400 w 2018400"/>
                <a:gd name="connsiteY0" fmla="*/ 0 h 257442"/>
                <a:gd name="connsiteX1" fmla="*/ 170283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0 w 2018400"/>
                <a:gd name="connsiteY0" fmla="*/ 0 h 257442"/>
                <a:gd name="connsiteX1" fmla="*/ 1963679 w 2018400"/>
                <a:gd name="connsiteY1" fmla="*/ 257442 h 257442"/>
                <a:gd name="connsiteX2" fmla="*/ 0 w 2018400"/>
                <a:gd name="connsiteY2" fmla="*/ 257442 h 257442"/>
                <a:gd name="connsiteX3" fmla="*/ 0 w 2018400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1 w 2018401"/>
                <a:gd name="connsiteY3" fmla="*/ 0 h 257442"/>
                <a:gd name="connsiteX0" fmla="*/ 2186717 w 2186717"/>
                <a:gd name="connsiteY0" fmla="*/ 0 h 257442"/>
                <a:gd name="connsiteX1" fmla="*/ 1963680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0 w 2186717"/>
                <a:gd name="connsiteY2" fmla="*/ 257442 h 257442"/>
                <a:gd name="connsiteX3" fmla="*/ 1 w 2186717"/>
                <a:gd name="connsiteY3" fmla="*/ 0 h 257442"/>
                <a:gd name="connsiteX0" fmla="*/ 2186716 w 2186716"/>
                <a:gd name="connsiteY0" fmla="*/ 0 h 257442"/>
                <a:gd name="connsiteX1" fmla="*/ 2131995 w 2186716"/>
                <a:gd name="connsiteY1" fmla="*/ 257442 h 257442"/>
                <a:gd name="connsiteX2" fmla="*/ 0 w 2186716"/>
                <a:gd name="connsiteY2" fmla="*/ 257442 h 257442"/>
                <a:gd name="connsiteX3" fmla="*/ 0 w 2186716"/>
                <a:gd name="connsiteY3" fmla="*/ 0 h 257442"/>
                <a:gd name="connsiteX0" fmla="*/ 2186717 w 2186717"/>
                <a:gd name="connsiteY0" fmla="*/ 0 h 257442"/>
                <a:gd name="connsiteX1" fmla="*/ 2131996 w 2186717"/>
                <a:gd name="connsiteY1" fmla="*/ 257442 h 257442"/>
                <a:gd name="connsiteX2" fmla="*/ 1 w 2186717"/>
                <a:gd name="connsiteY2" fmla="*/ 257442 h 257442"/>
                <a:gd name="connsiteX3" fmla="*/ 0 w 2186717"/>
                <a:gd name="connsiteY3" fmla="*/ 0 h 257442"/>
                <a:gd name="connsiteX0" fmla="*/ 2355033 w 2355033"/>
                <a:gd name="connsiteY0" fmla="*/ 0 h 257442"/>
                <a:gd name="connsiteX1" fmla="*/ 2131996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3 w 2355033"/>
                <a:gd name="connsiteY0" fmla="*/ 0 h 257442"/>
                <a:gd name="connsiteX1" fmla="*/ 2300312 w 2355033"/>
                <a:gd name="connsiteY1" fmla="*/ 257442 h 257442"/>
                <a:gd name="connsiteX2" fmla="*/ 1 w 2355033"/>
                <a:gd name="connsiteY2" fmla="*/ 257442 h 257442"/>
                <a:gd name="connsiteX3" fmla="*/ 0 w 2355033"/>
                <a:gd name="connsiteY3" fmla="*/ 0 h 257442"/>
                <a:gd name="connsiteX0" fmla="*/ 2355032 w 2355032"/>
                <a:gd name="connsiteY0" fmla="*/ 0 h 257442"/>
                <a:gd name="connsiteX1" fmla="*/ 2300311 w 2355032"/>
                <a:gd name="connsiteY1" fmla="*/ 257442 h 257442"/>
                <a:gd name="connsiteX2" fmla="*/ 0 w 2355032"/>
                <a:gd name="connsiteY2" fmla="*/ 257442 h 257442"/>
                <a:gd name="connsiteX3" fmla="*/ 0 w 2355032"/>
                <a:gd name="connsiteY3" fmla="*/ 0 h 257442"/>
                <a:gd name="connsiteX0" fmla="*/ 2186715 w 2300311"/>
                <a:gd name="connsiteY0" fmla="*/ 0 h 257442"/>
                <a:gd name="connsiteX1" fmla="*/ 2300311 w 2300311"/>
                <a:gd name="connsiteY1" fmla="*/ 257442 h 257442"/>
                <a:gd name="connsiteX2" fmla="*/ 0 w 2300311"/>
                <a:gd name="connsiteY2" fmla="*/ 257442 h 257442"/>
                <a:gd name="connsiteX3" fmla="*/ 0 w 2300311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186715 w 2186715"/>
                <a:gd name="connsiteY0" fmla="*/ 0 h 257442"/>
                <a:gd name="connsiteX1" fmla="*/ 2131995 w 2186715"/>
                <a:gd name="connsiteY1" fmla="*/ 257442 h 257442"/>
                <a:gd name="connsiteX2" fmla="*/ 0 w 2186715"/>
                <a:gd name="connsiteY2" fmla="*/ 257442 h 257442"/>
                <a:gd name="connsiteX3" fmla="*/ 0 w 2186715"/>
                <a:gd name="connsiteY3" fmla="*/ 0 h 257442"/>
                <a:gd name="connsiteX0" fmla="*/ 2018401 w 2131995"/>
                <a:gd name="connsiteY0" fmla="*/ 0 h 257442"/>
                <a:gd name="connsiteX1" fmla="*/ 2131995 w 2131995"/>
                <a:gd name="connsiteY1" fmla="*/ 257442 h 257442"/>
                <a:gd name="connsiteX2" fmla="*/ 0 w 2131995"/>
                <a:gd name="connsiteY2" fmla="*/ 257442 h 257442"/>
                <a:gd name="connsiteX3" fmla="*/ 0 w 2131995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2018401 w 2018401"/>
                <a:gd name="connsiteY0" fmla="*/ 0 h 257442"/>
                <a:gd name="connsiteX1" fmla="*/ 1963680 w 2018401"/>
                <a:gd name="connsiteY1" fmla="*/ 257442 h 257442"/>
                <a:gd name="connsiteX2" fmla="*/ 0 w 2018401"/>
                <a:gd name="connsiteY2" fmla="*/ 257442 h 257442"/>
                <a:gd name="connsiteX3" fmla="*/ 0 w 2018401"/>
                <a:gd name="connsiteY3" fmla="*/ 0 h 257442"/>
                <a:gd name="connsiteX0" fmla="*/ 1855792 w 1963680"/>
                <a:gd name="connsiteY0" fmla="*/ 0 h 257442"/>
                <a:gd name="connsiteX1" fmla="*/ 1963680 w 1963680"/>
                <a:gd name="connsiteY1" fmla="*/ 257442 h 257442"/>
                <a:gd name="connsiteX2" fmla="*/ 0 w 1963680"/>
                <a:gd name="connsiteY2" fmla="*/ 257442 h 257442"/>
                <a:gd name="connsiteX3" fmla="*/ 0 w 1963680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855792 w 1855792"/>
                <a:gd name="connsiteY0" fmla="*/ 0 h 257442"/>
                <a:gd name="connsiteX1" fmla="*/ 1801071 w 1855792"/>
                <a:gd name="connsiteY1" fmla="*/ 257442 h 257442"/>
                <a:gd name="connsiteX2" fmla="*/ 0 w 1855792"/>
                <a:gd name="connsiteY2" fmla="*/ 257442 h 257442"/>
                <a:gd name="connsiteX3" fmla="*/ 0 w 1855792"/>
                <a:gd name="connsiteY3" fmla="*/ 0 h 257442"/>
                <a:gd name="connsiteX0" fmla="*/ 1757560 w 1801071"/>
                <a:gd name="connsiteY0" fmla="*/ 0 h 257442"/>
                <a:gd name="connsiteX1" fmla="*/ 1801071 w 1801071"/>
                <a:gd name="connsiteY1" fmla="*/ 257442 h 257442"/>
                <a:gd name="connsiteX2" fmla="*/ 0 w 1801071"/>
                <a:gd name="connsiteY2" fmla="*/ 257442 h 257442"/>
                <a:gd name="connsiteX3" fmla="*/ 0 w 1801071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0 w 1757560"/>
                <a:gd name="connsiteY2" fmla="*/ 257442 h 257442"/>
                <a:gd name="connsiteX3" fmla="*/ 0 w 1757560"/>
                <a:gd name="connsiteY3" fmla="*/ 0 h 257442"/>
                <a:gd name="connsiteX0" fmla="*/ 1757560 w 1757560"/>
                <a:gd name="connsiteY0" fmla="*/ 0 h 257442"/>
                <a:gd name="connsiteX1" fmla="*/ 1702840 w 1757560"/>
                <a:gd name="connsiteY1" fmla="*/ 257442 h 257442"/>
                <a:gd name="connsiteX2" fmla="*/ 1 w 1757560"/>
                <a:gd name="connsiteY2" fmla="*/ 257442 h 257442"/>
                <a:gd name="connsiteX3" fmla="*/ 0 w 1757560"/>
                <a:gd name="connsiteY3" fmla="*/ 0 h 257442"/>
                <a:gd name="connsiteX0" fmla="*/ 1757559 w 1757559"/>
                <a:gd name="connsiteY0" fmla="*/ 0 h 257442"/>
                <a:gd name="connsiteX1" fmla="*/ 1702839 w 1757559"/>
                <a:gd name="connsiteY1" fmla="*/ 257442 h 257442"/>
                <a:gd name="connsiteX2" fmla="*/ 0 w 1757559"/>
                <a:gd name="connsiteY2" fmla="*/ 257442 h 257442"/>
                <a:gd name="connsiteX3" fmla="*/ 0 w 1757559"/>
                <a:gd name="connsiteY3" fmla="*/ 0 h 257442"/>
                <a:gd name="connsiteX0" fmla="*/ 2024107 w 2024107"/>
                <a:gd name="connsiteY0" fmla="*/ 0 h 257442"/>
                <a:gd name="connsiteX1" fmla="*/ 1702839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024107 w 2024107"/>
                <a:gd name="connsiteY0" fmla="*/ 0 h 257442"/>
                <a:gd name="connsiteX1" fmla="*/ 1969386 w 2024107"/>
                <a:gd name="connsiteY1" fmla="*/ 257442 h 257442"/>
                <a:gd name="connsiteX2" fmla="*/ 0 w 2024107"/>
                <a:gd name="connsiteY2" fmla="*/ 257442 h 257442"/>
                <a:gd name="connsiteX3" fmla="*/ 0 w 2024107"/>
                <a:gd name="connsiteY3" fmla="*/ 0 h 257442"/>
                <a:gd name="connsiteX0" fmla="*/ 2184408 w 2184408"/>
                <a:gd name="connsiteY0" fmla="*/ 0 h 257442"/>
                <a:gd name="connsiteX1" fmla="*/ 19693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8 w 2184408"/>
                <a:gd name="connsiteY0" fmla="*/ 0 h 257442"/>
                <a:gd name="connsiteX1" fmla="*/ 2129686 w 2184408"/>
                <a:gd name="connsiteY1" fmla="*/ 257442 h 257442"/>
                <a:gd name="connsiteX2" fmla="*/ 0 w 2184408"/>
                <a:gd name="connsiteY2" fmla="*/ 257442 h 257442"/>
                <a:gd name="connsiteX3" fmla="*/ 0 w 2184408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184409 w 2184409"/>
                <a:gd name="connsiteY0" fmla="*/ 0 h 257442"/>
                <a:gd name="connsiteX1" fmla="*/ 2129687 w 2184409"/>
                <a:gd name="connsiteY1" fmla="*/ 257442 h 257442"/>
                <a:gd name="connsiteX2" fmla="*/ 0 w 2184409"/>
                <a:gd name="connsiteY2" fmla="*/ 257442 h 257442"/>
                <a:gd name="connsiteX3" fmla="*/ 1 w 2184409"/>
                <a:gd name="connsiteY3" fmla="*/ 0 h 257442"/>
                <a:gd name="connsiteX0" fmla="*/ 2370357 w 2370357"/>
                <a:gd name="connsiteY0" fmla="*/ 0 h 257442"/>
                <a:gd name="connsiteX1" fmla="*/ 2129687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0 w 2370357"/>
                <a:gd name="connsiteY2" fmla="*/ 257442 h 257442"/>
                <a:gd name="connsiteX3" fmla="*/ 1 w 2370357"/>
                <a:gd name="connsiteY3" fmla="*/ 0 h 257442"/>
                <a:gd name="connsiteX0" fmla="*/ 2370356 w 2370356"/>
                <a:gd name="connsiteY0" fmla="*/ 0 h 257442"/>
                <a:gd name="connsiteX1" fmla="*/ 2315635 w 2370356"/>
                <a:gd name="connsiteY1" fmla="*/ 257442 h 257442"/>
                <a:gd name="connsiteX2" fmla="*/ 0 w 2370356"/>
                <a:gd name="connsiteY2" fmla="*/ 257442 h 257442"/>
                <a:gd name="connsiteX3" fmla="*/ 0 w 2370356"/>
                <a:gd name="connsiteY3" fmla="*/ 0 h 257442"/>
                <a:gd name="connsiteX0" fmla="*/ 2370357 w 2370357"/>
                <a:gd name="connsiteY0" fmla="*/ 0 h 257442"/>
                <a:gd name="connsiteX1" fmla="*/ 2315636 w 2370357"/>
                <a:gd name="connsiteY1" fmla="*/ 257442 h 257442"/>
                <a:gd name="connsiteX2" fmla="*/ 1 w 2370357"/>
                <a:gd name="connsiteY2" fmla="*/ 257442 h 257442"/>
                <a:gd name="connsiteX3" fmla="*/ 0 w 2370357"/>
                <a:gd name="connsiteY3" fmla="*/ 0 h 257442"/>
                <a:gd name="connsiteX0" fmla="*/ 2548291 w 2548291"/>
                <a:gd name="connsiteY0" fmla="*/ 0 h 257442"/>
                <a:gd name="connsiteX1" fmla="*/ 2315636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1 w 2548291"/>
                <a:gd name="connsiteY0" fmla="*/ 0 h 257442"/>
                <a:gd name="connsiteX1" fmla="*/ 2493570 w 2548291"/>
                <a:gd name="connsiteY1" fmla="*/ 257442 h 257442"/>
                <a:gd name="connsiteX2" fmla="*/ 1 w 2548291"/>
                <a:gd name="connsiteY2" fmla="*/ 257442 h 257442"/>
                <a:gd name="connsiteX3" fmla="*/ 0 w 2548291"/>
                <a:gd name="connsiteY3" fmla="*/ 0 h 257442"/>
                <a:gd name="connsiteX0" fmla="*/ 2548290 w 2548290"/>
                <a:gd name="connsiteY0" fmla="*/ 0 h 257442"/>
                <a:gd name="connsiteX1" fmla="*/ 2493569 w 2548290"/>
                <a:gd name="connsiteY1" fmla="*/ 257442 h 257442"/>
                <a:gd name="connsiteX2" fmla="*/ 0 w 2548290"/>
                <a:gd name="connsiteY2" fmla="*/ 257442 h 257442"/>
                <a:gd name="connsiteX3" fmla="*/ 0 w 2548290"/>
                <a:gd name="connsiteY3" fmla="*/ 0 h 257442"/>
                <a:gd name="connsiteX0" fmla="*/ 2726222 w 2726222"/>
                <a:gd name="connsiteY0" fmla="*/ 0 h 257442"/>
                <a:gd name="connsiteX1" fmla="*/ 2493569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2 w 2726222"/>
                <a:gd name="connsiteY0" fmla="*/ 0 h 257442"/>
                <a:gd name="connsiteX1" fmla="*/ 2671501 w 2726222"/>
                <a:gd name="connsiteY1" fmla="*/ 257442 h 257442"/>
                <a:gd name="connsiteX2" fmla="*/ 0 w 2726222"/>
                <a:gd name="connsiteY2" fmla="*/ 257442 h 257442"/>
                <a:gd name="connsiteX3" fmla="*/ 0 w 2726222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726223 w 2726223"/>
                <a:gd name="connsiteY0" fmla="*/ 0 h 257442"/>
                <a:gd name="connsiteX1" fmla="*/ 2671502 w 2726223"/>
                <a:gd name="connsiteY1" fmla="*/ 257442 h 257442"/>
                <a:gd name="connsiteX2" fmla="*/ 0 w 2726223"/>
                <a:gd name="connsiteY2" fmla="*/ 257442 h 257442"/>
                <a:gd name="connsiteX3" fmla="*/ 1 w 2726223"/>
                <a:gd name="connsiteY3" fmla="*/ 0 h 257442"/>
                <a:gd name="connsiteX0" fmla="*/ 2894539 w 2894539"/>
                <a:gd name="connsiteY0" fmla="*/ 0 h 257442"/>
                <a:gd name="connsiteX1" fmla="*/ 2671502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0 w 2894539"/>
                <a:gd name="connsiteY2" fmla="*/ 257442 h 257442"/>
                <a:gd name="connsiteX3" fmla="*/ 1 w 2894539"/>
                <a:gd name="connsiteY3" fmla="*/ 0 h 257442"/>
                <a:gd name="connsiteX0" fmla="*/ 2894538 w 2894538"/>
                <a:gd name="connsiteY0" fmla="*/ 0 h 257442"/>
                <a:gd name="connsiteX1" fmla="*/ 2839817 w 2894538"/>
                <a:gd name="connsiteY1" fmla="*/ 257442 h 257442"/>
                <a:gd name="connsiteX2" fmla="*/ 0 w 2894538"/>
                <a:gd name="connsiteY2" fmla="*/ 257442 h 257442"/>
                <a:gd name="connsiteX3" fmla="*/ 0 w 2894538"/>
                <a:gd name="connsiteY3" fmla="*/ 0 h 257442"/>
                <a:gd name="connsiteX0" fmla="*/ 2894539 w 2894539"/>
                <a:gd name="connsiteY0" fmla="*/ 0 h 257442"/>
                <a:gd name="connsiteX1" fmla="*/ 2839818 w 2894539"/>
                <a:gd name="connsiteY1" fmla="*/ 257442 h 257442"/>
                <a:gd name="connsiteX2" fmla="*/ 1 w 2894539"/>
                <a:gd name="connsiteY2" fmla="*/ 257442 h 257442"/>
                <a:gd name="connsiteX3" fmla="*/ 0 w 2894539"/>
                <a:gd name="connsiteY3" fmla="*/ 0 h 257442"/>
                <a:gd name="connsiteX0" fmla="*/ 3062854 w 3062854"/>
                <a:gd name="connsiteY0" fmla="*/ 0 h 257442"/>
                <a:gd name="connsiteX1" fmla="*/ 2839818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1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062854 w 3062854"/>
                <a:gd name="connsiteY0" fmla="*/ 0 h 257442"/>
                <a:gd name="connsiteX1" fmla="*/ 3008132 w 3062854"/>
                <a:gd name="connsiteY1" fmla="*/ 257442 h 257442"/>
                <a:gd name="connsiteX2" fmla="*/ 0 w 3062854"/>
                <a:gd name="connsiteY2" fmla="*/ 257442 h 257442"/>
                <a:gd name="connsiteX3" fmla="*/ 0 w 3062854"/>
                <a:gd name="connsiteY3" fmla="*/ 0 h 257442"/>
                <a:gd name="connsiteX0" fmla="*/ 3223153 w 3223153"/>
                <a:gd name="connsiteY0" fmla="*/ 0 h 257442"/>
                <a:gd name="connsiteX1" fmla="*/ 30081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223153 w 3223153"/>
                <a:gd name="connsiteY0" fmla="*/ 0 h 257442"/>
                <a:gd name="connsiteX1" fmla="*/ 3168432 w 3223153"/>
                <a:gd name="connsiteY1" fmla="*/ 257442 h 257442"/>
                <a:gd name="connsiteX2" fmla="*/ 0 w 3223153"/>
                <a:gd name="connsiteY2" fmla="*/ 257442 h 257442"/>
                <a:gd name="connsiteX3" fmla="*/ 0 w 3223153"/>
                <a:gd name="connsiteY3" fmla="*/ 0 h 257442"/>
                <a:gd name="connsiteX0" fmla="*/ 3391469 w 3391469"/>
                <a:gd name="connsiteY0" fmla="*/ 0 h 257442"/>
                <a:gd name="connsiteX1" fmla="*/ 3168432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391469 w 3391469"/>
                <a:gd name="connsiteY0" fmla="*/ 0 h 257442"/>
                <a:gd name="connsiteX1" fmla="*/ 3336748 w 3391469"/>
                <a:gd name="connsiteY1" fmla="*/ 257442 h 257442"/>
                <a:gd name="connsiteX2" fmla="*/ 0 w 3391469"/>
                <a:gd name="connsiteY2" fmla="*/ 257442 h 257442"/>
                <a:gd name="connsiteX3" fmla="*/ 0 w 3391469"/>
                <a:gd name="connsiteY3" fmla="*/ 0 h 257442"/>
                <a:gd name="connsiteX0" fmla="*/ 3660774 w 3660774"/>
                <a:gd name="connsiteY0" fmla="*/ 0 h 257442"/>
                <a:gd name="connsiteX1" fmla="*/ 3336748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4 w 3660774"/>
                <a:gd name="connsiteY0" fmla="*/ 0 h 257442"/>
                <a:gd name="connsiteX1" fmla="*/ 3606052 w 3660774"/>
                <a:gd name="connsiteY1" fmla="*/ 257442 h 257442"/>
                <a:gd name="connsiteX2" fmla="*/ 0 w 3660774"/>
                <a:gd name="connsiteY2" fmla="*/ 257442 h 257442"/>
                <a:gd name="connsiteX3" fmla="*/ 0 w 3660774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660775 w 3660775"/>
                <a:gd name="connsiteY0" fmla="*/ 0 h 257442"/>
                <a:gd name="connsiteX1" fmla="*/ 3606053 w 3660775"/>
                <a:gd name="connsiteY1" fmla="*/ 257442 h 257442"/>
                <a:gd name="connsiteX2" fmla="*/ 0 w 3660775"/>
                <a:gd name="connsiteY2" fmla="*/ 257442 h 257442"/>
                <a:gd name="connsiteX3" fmla="*/ 1 w 3660775"/>
                <a:gd name="connsiteY3" fmla="*/ 0 h 257442"/>
                <a:gd name="connsiteX0" fmla="*/ 3821075 w 3821075"/>
                <a:gd name="connsiteY0" fmla="*/ 0 h 257442"/>
                <a:gd name="connsiteX1" fmla="*/ 3606053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0 w 3821075"/>
                <a:gd name="connsiteY2" fmla="*/ 257442 h 257442"/>
                <a:gd name="connsiteX3" fmla="*/ 1 w 3821075"/>
                <a:gd name="connsiteY3" fmla="*/ 0 h 257442"/>
                <a:gd name="connsiteX0" fmla="*/ 3821074 w 3821074"/>
                <a:gd name="connsiteY0" fmla="*/ 0 h 257442"/>
                <a:gd name="connsiteX1" fmla="*/ 3766353 w 3821074"/>
                <a:gd name="connsiteY1" fmla="*/ 257442 h 257442"/>
                <a:gd name="connsiteX2" fmla="*/ 0 w 3821074"/>
                <a:gd name="connsiteY2" fmla="*/ 257442 h 257442"/>
                <a:gd name="connsiteX3" fmla="*/ 0 w 3821074"/>
                <a:gd name="connsiteY3" fmla="*/ 0 h 257442"/>
                <a:gd name="connsiteX0" fmla="*/ 3821075 w 3821075"/>
                <a:gd name="connsiteY0" fmla="*/ 0 h 257442"/>
                <a:gd name="connsiteX1" fmla="*/ 3766354 w 3821075"/>
                <a:gd name="connsiteY1" fmla="*/ 257442 h 257442"/>
                <a:gd name="connsiteX2" fmla="*/ 1 w 3821075"/>
                <a:gd name="connsiteY2" fmla="*/ 257442 h 257442"/>
                <a:gd name="connsiteX3" fmla="*/ 0 w 3821075"/>
                <a:gd name="connsiteY3" fmla="*/ 0 h 257442"/>
                <a:gd name="connsiteX0" fmla="*/ 3562543 w 3766354"/>
                <a:gd name="connsiteY0" fmla="*/ 0 h 257442"/>
                <a:gd name="connsiteX1" fmla="*/ 3766354 w 3766354"/>
                <a:gd name="connsiteY1" fmla="*/ 257442 h 257442"/>
                <a:gd name="connsiteX2" fmla="*/ 1 w 3766354"/>
                <a:gd name="connsiteY2" fmla="*/ 257442 h 257442"/>
                <a:gd name="connsiteX3" fmla="*/ 0 w 3766354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1 w 3562543"/>
                <a:gd name="connsiteY2" fmla="*/ 257442 h 257442"/>
                <a:gd name="connsiteX3" fmla="*/ 0 w 3562543"/>
                <a:gd name="connsiteY3" fmla="*/ 0 h 257442"/>
                <a:gd name="connsiteX0" fmla="*/ 3562543 w 3562543"/>
                <a:gd name="connsiteY0" fmla="*/ 0 h 257442"/>
                <a:gd name="connsiteX1" fmla="*/ 3507822 w 3562543"/>
                <a:gd name="connsiteY1" fmla="*/ 257442 h 257442"/>
                <a:gd name="connsiteX2" fmla="*/ 2 w 3562543"/>
                <a:gd name="connsiteY2" fmla="*/ 257442 h 257442"/>
                <a:gd name="connsiteX3" fmla="*/ 0 w 3562543"/>
                <a:gd name="connsiteY3" fmla="*/ 0 h 257442"/>
                <a:gd name="connsiteX0" fmla="*/ 3562541 w 3562541"/>
                <a:gd name="connsiteY0" fmla="*/ 0 h 257442"/>
                <a:gd name="connsiteX1" fmla="*/ 3507820 w 3562541"/>
                <a:gd name="connsiteY1" fmla="*/ 257442 h 257442"/>
                <a:gd name="connsiteX2" fmla="*/ 0 w 3562541"/>
                <a:gd name="connsiteY2" fmla="*/ 257442 h 257442"/>
                <a:gd name="connsiteX3" fmla="*/ 0 w 3562541"/>
                <a:gd name="connsiteY3" fmla="*/ 0 h 257442"/>
                <a:gd name="connsiteX0" fmla="*/ 3402241 w 3507820"/>
                <a:gd name="connsiteY0" fmla="*/ 0 h 257442"/>
                <a:gd name="connsiteX1" fmla="*/ 3507820 w 3507820"/>
                <a:gd name="connsiteY1" fmla="*/ 257442 h 257442"/>
                <a:gd name="connsiteX2" fmla="*/ 0 w 3507820"/>
                <a:gd name="connsiteY2" fmla="*/ 257442 h 257442"/>
                <a:gd name="connsiteX3" fmla="*/ 0 w 3507820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0 w 3402241"/>
                <a:gd name="connsiteY2" fmla="*/ 257442 h 257442"/>
                <a:gd name="connsiteX3" fmla="*/ 0 w 3402241"/>
                <a:gd name="connsiteY3" fmla="*/ 0 h 257442"/>
                <a:gd name="connsiteX0" fmla="*/ 3402241 w 3402241"/>
                <a:gd name="connsiteY0" fmla="*/ 0 h 257442"/>
                <a:gd name="connsiteX1" fmla="*/ 3347520 w 3402241"/>
                <a:gd name="connsiteY1" fmla="*/ 257442 h 257442"/>
                <a:gd name="connsiteX2" fmla="*/ 1 w 3402241"/>
                <a:gd name="connsiteY2" fmla="*/ 257442 h 257442"/>
                <a:gd name="connsiteX3" fmla="*/ 0 w 3402241"/>
                <a:gd name="connsiteY3" fmla="*/ 0 h 257442"/>
                <a:gd name="connsiteX0" fmla="*/ 3402240 w 3402240"/>
                <a:gd name="connsiteY0" fmla="*/ 0 h 257442"/>
                <a:gd name="connsiteX1" fmla="*/ 3347519 w 3402240"/>
                <a:gd name="connsiteY1" fmla="*/ 257442 h 257442"/>
                <a:gd name="connsiteX2" fmla="*/ 0 w 3402240"/>
                <a:gd name="connsiteY2" fmla="*/ 257442 h 257442"/>
                <a:gd name="connsiteX3" fmla="*/ 0 w 3402240"/>
                <a:gd name="connsiteY3" fmla="*/ 0 h 257442"/>
                <a:gd name="connsiteX0" fmla="*/ 3244697 w 3347519"/>
                <a:gd name="connsiteY0" fmla="*/ 0 h 257442"/>
                <a:gd name="connsiteX1" fmla="*/ 3347519 w 3347519"/>
                <a:gd name="connsiteY1" fmla="*/ 257442 h 257442"/>
                <a:gd name="connsiteX2" fmla="*/ 0 w 3347519"/>
                <a:gd name="connsiteY2" fmla="*/ 257442 h 257442"/>
                <a:gd name="connsiteX3" fmla="*/ 0 w 3347519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244697 w 3244697"/>
                <a:gd name="connsiteY0" fmla="*/ 0 h 257442"/>
                <a:gd name="connsiteX1" fmla="*/ 3189977 w 3244697"/>
                <a:gd name="connsiteY1" fmla="*/ 257442 h 257442"/>
                <a:gd name="connsiteX2" fmla="*/ 0 w 3244697"/>
                <a:gd name="connsiteY2" fmla="*/ 257442 h 257442"/>
                <a:gd name="connsiteX3" fmla="*/ 0 w 3244697"/>
                <a:gd name="connsiteY3" fmla="*/ 0 h 257442"/>
                <a:gd name="connsiteX0" fmla="*/ 3076383 w 3189977"/>
                <a:gd name="connsiteY0" fmla="*/ 0 h 257442"/>
                <a:gd name="connsiteX1" fmla="*/ 3189977 w 3189977"/>
                <a:gd name="connsiteY1" fmla="*/ 257442 h 257442"/>
                <a:gd name="connsiteX2" fmla="*/ 0 w 3189977"/>
                <a:gd name="connsiteY2" fmla="*/ 257442 h 257442"/>
                <a:gd name="connsiteX3" fmla="*/ 0 w 3189977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2908067 w 3021662"/>
                <a:gd name="connsiteY0" fmla="*/ 0 h 257442"/>
                <a:gd name="connsiteX1" fmla="*/ 3021662 w 3021662"/>
                <a:gd name="connsiteY1" fmla="*/ 257442 h 257442"/>
                <a:gd name="connsiteX2" fmla="*/ 0 w 3021662"/>
                <a:gd name="connsiteY2" fmla="*/ 257442 h 257442"/>
                <a:gd name="connsiteX3" fmla="*/ 0 w 3021662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1 w 2908067"/>
                <a:gd name="connsiteY2" fmla="*/ 257442 h 257442"/>
                <a:gd name="connsiteX3" fmla="*/ 0 w 2908067"/>
                <a:gd name="connsiteY3" fmla="*/ 0 h 257442"/>
                <a:gd name="connsiteX0" fmla="*/ 2908066 w 2908066"/>
                <a:gd name="connsiteY0" fmla="*/ 0 h 257442"/>
                <a:gd name="connsiteX1" fmla="*/ 2853345 w 2908066"/>
                <a:gd name="connsiteY1" fmla="*/ 257442 h 257442"/>
                <a:gd name="connsiteX2" fmla="*/ 0 w 2908066"/>
                <a:gd name="connsiteY2" fmla="*/ 257442 h 257442"/>
                <a:gd name="connsiteX3" fmla="*/ 0 w 2908066"/>
                <a:gd name="connsiteY3" fmla="*/ 0 h 257442"/>
                <a:gd name="connsiteX0" fmla="*/ 2747766 w 2853345"/>
                <a:gd name="connsiteY0" fmla="*/ 0 h 257442"/>
                <a:gd name="connsiteX1" fmla="*/ 2853345 w 2853345"/>
                <a:gd name="connsiteY1" fmla="*/ 257442 h 257442"/>
                <a:gd name="connsiteX2" fmla="*/ 0 w 2853345"/>
                <a:gd name="connsiteY2" fmla="*/ 257442 h 257442"/>
                <a:gd name="connsiteX3" fmla="*/ 0 w 2853345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2747766 w 2747766"/>
                <a:gd name="connsiteY0" fmla="*/ 0 h 257442"/>
                <a:gd name="connsiteX1" fmla="*/ 2693046 w 2747766"/>
                <a:gd name="connsiteY1" fmla="*/ 257442 h 257442"/>
                <a:gd name="connsiteX2" fmla="*/ 0 w 2747766"/>
                <a:gd name="connsiteY2" fmla="*/ 257442 h 257442"/>
                <a:gd name="connsiteX3" fmla="*/ 0 w 2747766"/>
                <a:gd name="connsiteY3" fmla="*/ 0 h 257442"/>
                <a:gd name="connsiteX0" fmla="*/ 3001041 w 3001041"/>
                <a:gd name="connsiteY0" fmla="*/ 0 h 257442"/>
                <a:gd name="connsiteX1" fmla="*/ 2693046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001041 w 3001041"/>
                <a:gd name="connsiteY0" fmla="*/ 0 h 257442"/>
                <a:gd name="connsiteX1" fmla="*/ 2946320 w 3001041"/>
                <a:gd name="connsiteY1" fmla="*/ 257442 h 257442"/>
                <a:gd name="connsiteX2" fmla="*/ 0 w 3001041"/>
                <a:gd name="connsiteY2" fmla="*/ 257442 h 257442"/>
                <a:gd name="connsiteX3" fmla="*/ 0 w 3001041"/>
                <a:gd name="connsiteY3" fmla="*/ 0 h 257442"/>
                <a:gd name="connsiteX0" fmla="*/ 3169357 w 3169357"/>
                <a:gd name="connsiteY0" fmla="*/ 0 h 257442"/>
                <a:gd name="connsiteX1" fmla="*/ 2946320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169357 w 3169357"/>
                <a:gd name="connsiteY0" fmla="*/ 0 h 257442"/>
                <a:gd name="connsiteX1" fmla="*/ 3114636 w 3169357"/>
                <a:gd name="connsiteY1" fmla="*/ 257442 h 257442"/>
                <a:gd name="connsiteX2" fmla="*/ 0 w 3169357"/>
                <a:gd name="connsiteY2" fmla="*/ 257442 h 257442"/>
                <a:gd name="connsiteX3" fmla="*/ 0 w 3169357"/>
                <a:gd name="connsiteY3" fmla="*/ 0 h 257442"/>
                <a:gd name="connsiteX0" fmla="*/ 3355306 w 3355306"/>
                <a:gd name="connsiteY0" fmla="*/ 0 h 257442"/>
                <a:gd name="connsiteX1" fmla="*/ 3114636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6 w 3355306"/>
                <a:gd name="connsiteY0" fmla="*/ 0 h 257442"/>
                <a:gd name="connsiteX1" fmla="*/ 3300584 w 3355306"/>
                <a:gd name="connsiteY1" fmla="*/ 257442 h 257442"/>
                <a:gd name="connsiteX2" fmla="*/ 0 w 3355306"/>
                <a:gd name="connsiteY2" fmla="*/ 257442 h 257442"/>
                <a:gd name="connsiteX3" fmla="*/ 0 w 3355306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355307 w 3355307"/>
                <a:gd name="connsiteY0" fmla="*/ 0 h 257442"/>
                <a:gd name="connsiteX1" fmla="*/ 3300585 w 3355307"/>
                <a:gd name="connsiteY1" fmla="*/ 257442 h 257442"/>
                <a:gd name="connsiteX2" fmla="*/ 0 w 3355307"/>
                <a:gd name="connsiteY2" fmla="*/ 257442 h 257442"/>
                <a:gd name="connsiteX3" fmla="*/ 1 w 3355307"/>
                <a:gd name="connsiteY3" fmla="*/ 0 h 257442"/>
                <a:gd name="connsiteX0" fmla="*/ 3533239 w 3533239"/>
                <a:gd name="connsiteY0" fmla="*/ 0 h 257442"/>
                <a:gd name="connsiteX1" fmla="*/ 3300585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0 w 3533239"/>
                <a:gd name="connsiteY2" fmla="*/ 257442 h 257442"/>
                <a:gd name="connsiteX3" fmla="*/ 1 w 3533239"/>
                <a:gd name="connsiteY3" fmla="*/ 0 h 257442"/>
                <a:gd name="connsiteX0" fmla="*/ 3533238 w 3533238"/>
                <a:gd name="connsiteY0" fmla="*/ 0 h 257442"/>
                <a:gd name="connsiteX1" fmla="*/ 3478517 w 3533238"/>
                <a:gd name="connsiteY1" fmla="*/ 257442 h 257442"/>
                <a:gd name="connsiteX2" fmla="*/ 0 w 3533238"/>
                <a:gd name="connsiteY2" fmla="*/ 257442 h 257442"/>
                <a:gd name="connsiteX3" fmla="*/ 0 w 3533238"/>
                <a:gd name="connsiteY3" fmla="*/ 0 h 257442"/>
                <a:gd name="connsiteX0" fmla="*/ 3533239 w 3533239"/>
                <a:gd name="connsiteY0" fmla="*/ 0 h 257442"/>
                <a:gd name="connsiteX1" fmla="*/ 3478518 w 3533239"/>
                <a:gd name="connsiteY1" fmla="*/ 257442 h 257442"/>
                <a:gd name="connsiteX2" fmla="*/ 1 w 3533239"/>
                <a:gd name="connsiteY2" fmla="*/ 257442 h 257442"/>
                <a:gd name="connsiteX3" fmla="*/ 0 w 3533239"/>
                <a:gd name="connsiteY3" fmla="*/ 0 h 257442"/>
                <a:gd name="connsiteX0" fmla="*/ 934772 w 3478518"/>
                <a:gd name="connsiteY0" fmla="*/ 0 h 257442"/>
                <a:gd name="connsiteX1" fmla="*/ 3478518 w 3478518"/>
                <a:gd name="connsiteY1" fmla="*/ 257442 h 257442"/>
                <a:gd name="connsiteX2" fmla="*/ 1 w 3478518"/>
                <a:gd name="connsiteY2" fmla="*/ 257442 h 257442"/>
                <a:gd name="connsiteX3" fmla="*/ 0 w 3478518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204076 w 1204076"/>
                <a:gd name="connsiteY0" fmla="*/ 0 h 257442"/>
                <a:gd name="connsiteX1" fmla="*/ 880050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6 w 1204076"/>
                <a:gd name="connsiteY0" fmla="*/ 0 h 257442"/>
                <a:gd name="connsiteX1" fmla="*/ 1149354 w 1204076"/>
                <a:gd name="connsiteY1" fmla="*/ 257442 h 257442"/>
                <a:gd name="connsiteX2" fmla="*/ 0 w 1204076"/>
                <a:gd name="connsiteY2" fmla="*/ 257442 h 257442"/>
                <a:gd name="connsiteX3" fmla="*/ 0 w 1204076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204077 w 1204077"/>
                <a:gd name="connsiteY0" fmla="*/ 0 h 257442"/>
                <a:gd name="connsiteX1" fmla="*/ 1149355 w 1204077"/>
                <a:gd name="connsiteY1" fmla="*/ 257442 h 257442"/>
                <a:gd name="connsiteX2" fmla="*/ 0 w 1204077"/>
                <a:gd name="connsiteY2" fmla="*/ 257442 h 257442"/>
                <a:gd name="connsiteX3" fmla="*/ 1 w 1204077"/>
                <a:gd name="connsiteY3" fmla="*/ 0 h 257442"/>
                <a:gd name="connsiteX0" fmla="*/ 1390025 w 1390025"/>
                <a:gd name="connsiteY0" fmla="*/ 0 h 257442"/>
                <a:gd name="connsiteX1" fmla="*/ 1149355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67958 w 1567958"/>
                <a:gd name="connsiteY0" fmla="*/ 0 h 257442"/>
                <a:gd name="connsiteX1" fmla="*/ 1335304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1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567958 w 1567958"/>
                <a:gd name="connsiteY0" fmla="*/ 0 h 257442"/>
                <a:gd name="connsiteX1" fmla="*/ 1513236 w 1567958"/>
                <a:gd name="connsiteY1" fmla="*/ 257442 h 257442"/>
                <a:gd name="connsiteX2" fmla="*/ 0 w 1567958"/>
                <a:gd name="connsiteY2" fmla="*/ 257442 h 257442"/>
                <a:gd name="connsiteX3" fmla="*/ 0 w 1567958"/>
                <a:gd name="connsiteY3" fmla="*/ 0 h 257442"/>
                <a:gd name="connsiteX0" fmla="*/ 1745891 w 1745891"/>
                <a:gd name="connsiteY0" fmla="*/ 0 h 257442"/>
                <a:gd name="connsiteX1" fmla="*/ 1513236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14205 w 1914205"/>
                <a:gd name="connsiteY0" fmla="*/ 0 h 257442"/>
                <a:gd name="connsiteX1" fmla="*/ 1691170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42822 w 2242822"/>
                <a:gd name="connsiteY0" fmla="*/ 0 h 257442"/>
                <a:gd name="connsiteX1" fmla="*/ 20278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2 w 2242822"/>
                <a:gd name="connsiteY0" fmla="*/ 0 h 257442"/>
                <a:gd name="connsiteX1" fmla="*/ 2188100 w 2242822"/>
                <a:gd name="connsiteY1" fmla="*/ 257442 h 257442"/>
                <a:gd name="connsiteX2" fmla="*/ 0 w 2242822"/>
                <a:gd name="connsiteY2" fmla="*/ 257442 h 257442"/>
                <a:gd name="connsiteX3" fmla="*/ 0 w 2242822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242823 w 2242823"/>
                <a:gd name="connsiteY0" fmla="*/ 0 h 257442"/>
                <a:gd name="connsiteX1" fmla="*/ 2188101 w 2242823"/>
                <a:gd name="connsiteY1" fmla="*/ 257442 h 257442"/>
                <a:gd name="connsiteX2" fmla="*/ 0 w 2242823"/>
                <a:gd name="connsiteY2" fmla="*/ 257442 h 257442"/>
                <a:gd name="connsiteX3" fmla="*/ 1 w 2242823"/>
                <a:gd name="connsiteY3" fmla="*/ 0 h 257442"/>
                <a:gd name="connsiteX0" fmla="*/ 2411137 w 2411137"/>
                <a:gd name="connsiteY0" fmla="*/ 0 h 257442"/>
                <a:gd name="connsiteX1" fmla="*/ 2188101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680442 w 2680442"/>
                <a:gd name="connsiteY0" fmla="*/ 0 h 257442"/>
                <a:gd name="connsiteX1" fmla="*/ 2356416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1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680442 w 2680442"/>
                <a:gd name="connsiteY0" fmla="*/ 0 h 257442"/>
                <a:gd name="connsiteX1" fmla="*/ 2625720 w 2680442"/>
                <a:gd name="connsiteY1" fmla="*/ 257442 h 257442"/>
                <a:gd name="connsiteX2" fmla="*/ 0 w 2680442"/>
                <a:gd name="connsiteY2" fmla="*/ 257442 h 257442"/>
                <a:gd name="connsiteX3" fmla="*/ 0 w 2680442"/>
                <a:gd name="connsiteY3" fmla="*/ 0 h 257442"/>
                <a:gd name="connsiteX0" fmla="*/ 2840741 w 2840741"/>
                <a:gd name="connsiteY0" fmla="*/ 0 h 257442"/>
                <a:gd name="connsiteX1" fmla="*/ 26257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2840741 w 2840741"/>
                <a:gd name="connsiteY0" fmla="*/ 0 h 257442"/>
                <a:gd name="connsiteX1" fmla="*/ 2786020 w 2840741"/>
                <a:gd name="connsiteY1" fmla="*/ 257442 h 257442"/>
                <a:gd name="connsiteX2" fmla="*/ 0 w 2840741"/>
                <a:gd name="connsiteY2" fmla="*/ 257442 h 257442"/>
                <a:gd name="connsiteX3" fmla="*/ 0 w 2840741"/>
                <a:gd name="connsiteY3" fmla="*/ 0 h 257442"/>
                <a:gd name="connsiteX0" fmla="*/ 950801 w 2786020"/>
                <a:gd name="connsiteY0" fmla="*/ 0 h 257442"/>
                <a:gd name="connsiteX1" fmla="*/ 2786020 w 2786020"/>
                <a:gd name="connsiteY1" fmla="*/ 257442 h 257442"/>
                <a:gd name="connsiteX2" fmla="*/ 0 w 2786020"/>
                <a:gd name="connsiteY2" fmla="*/ 257442 h 257442"/>
                <a:gd name="connsiteX3" fmla="*/ 0 w 278602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474984 w 1474984"/>
                <a:gd name="connsiteY0" fmla="*/ 0 h 257442"/>
                <a:gd name="connsiteX1" fmla="*/ 1242330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52916 w 1652916"/>
                <a:gd name="connsiteY0" fmla="*/ 0 h 257442"/>
                <a:gd name="connsiteX1" fmla="*/ 1420262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89547 w 1989547"/>
                <a:gd name="connsiteY0" fmla="*/ 0 h 257442"/>
                <a:gd name="connsiteX1" fmla="*/ 1766510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1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0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0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btfpRunningAgenda1LevelTextLeft432015">
              <a:extLst>
                <a:ext uri="{FF2B5EF4-FFF2-40B4-BE49-F238E27FC236}">
                  <a16:creationId xmlns:a16="http://schemas.microsoft.com/office/drawing/2014/main" id="{BE85DC4D-5223-4D5C-8071-61432E3AAA03}"/>
                </a:ext>
              </a:extLst>
            </p:cNvPr>
            <p:cNvSpPr txBox="1"/>
            <p:nvPr/>
          </p:nvSpPr>
          <p:spPr bwMode="gray">
            <a:xfrm>
              <a:off x="0" y="944429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ographic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722708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816E317C-EE51-4E68-8184-778C1BA39C3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585935">
              <a:extLst>
                <a:ext uri="{FF2B5EF4-FFF2-40B4-BE49-F238E27FC236}">
                  <a16:creationId xmlns:a16="http://schemas.microsoft.com/office/drawing/2014/main" id="{BBBE650F-875F-4B1B-8446-46103EDA19B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278396">
              <a:extLst>
                <a:ext uri="{FF2B5EF4-FFF2-40B4-BE49-F238E27FC236}">
                  <a16:creationId xmlns:a16="http://schemas.microsoft.com/office/drawing/2014/main" id="{8D9CD9D0-4AAF-4DDD-9FAA-C6A36B1B265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57244">
              <a:extLst>
                <a:ext uri="{FF2B5EF4-FFF2-40B4-BE49-F238E27FC236}">
                  <a16:creationId xmlns:a16="http://schemas.microsoft.com/office/drawing/2014/main" id="{6C5E6BCC-F90E-4037-AC9D-F01087051ED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22259">
              <a:extLst>
                <a:ext uri="{FF2B5EF4-FFF2-40B4-BE49-F238E27FC236}">
                  <a16:creationId xmlns:a16="http://schemas.microsoft.com/office/drawing/2014/main" id="{A81AF27F-815A-4C6E-B607-BBD292EC1CA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E76E20C9-C35D-458F-96AB-13442482E13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71136">
              <a:extLst>
                <a:ext uri="{FF2B5EF4-FFF2-40B4-BE49-F238E27FC236}">
                  <a16:creationId xmlns:a16="http://schemas.microsoft.com/office/drawing/2014/main" id="{04093447-705F-4093-9CEE-F3A8B5808EA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23867">
              <a:extLst>
                <a:ext uri="{FF2B5EF4-FFF2-40B4-BE49-F238E27FC236}">
                  <a16:creationId xmlns:a16="http://schemas.microsoft.com/office/drawing/2014/main" id="{7E86A726-30F8-40C6-A165-6A6E69ECB12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65144">
              <a:extLst>
                <a:ext uri="{FF2B5EF4-FFF2-40B4-BE49-F238E27FC236}">
                  <a16:creationId xmlns:a16="http://schemas.microsoft.com/office/drawing/2014/main" id="{BCBB619C-BBC1-4E38-B954-4CDE8BC33DB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14511">
              <a:extLst>
                <a:ext uri="{FF2B5EF4-FFF2-40B4-BE49-F238E27FC236}">
                  <a16:creationId xmlns:a16="http://schemas.microsoft.com/office/drawing/2014/main" id="{8577F765-0405-49EA-90E0-DFB1CB6339F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btfpMGChart1238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ENV4Nd3hBen/O1kLX9k3pcNAOL+EE2V3lmD8ruQbE13g1FqVUG0VWnOCyjJJS0CFzMrRb5eXt+rpsG/92dsnLvHpo59OnndKmhsb6FgmugMZqIgyStP9ymmG4xIt5kTVQsOWym1YlgjCxvdF9ttiwvbGWZJs/wazTY0shvaOXw2lSoSTbKRSSlEk8mW6tviIgbOkaFS/aS5bpGkFypPzvadYmJ6g2uzKT3z6jxx2A7EQRSttBH4YypdEjghU5JmAJ/5G7Gpj5N7FrLjJPvhdo7weafVRvQNeRUNnu5GcRVDKIxhwECJ1HSnAqvbYbazq3NtLME6kSvnH2LPUM2gkcZhnSgdzZ04lvRPuOao8FeFP4N8HvgLeIvh7Vt3sCT3yWrQRhPCR199aku6nqPrbsCGBYqM2J1LjDEx1cKDismKeCN5xJxpcnPPNcT426YZYkw/dm5r984wAUF+jywv7bpzKBSLgz+VwafwG/SgDfamFhwycbCjaabdC0b2elt1t5o8HKEI46/G5uo+FkxD1L9JiNI7M8RAiYOfpWySCrEVm2+rg2oJjaflvD7i2Mwbw8lv7ZXBmukw6iC4DeIyBDAe+QUvvrhlwoAM0HFqP91MNvOBoxlZB6LQOgclvk8c2Tth0PXUlQtD/qSyd5hFV0ecHjimTcJBCmIuoyy/mYCbbBTlJD5YWnyZ7kQ8Oi1WDTIuei80msRjcqzrJCVO5BQGhc3f/5otAlqXluhIks3jM7iCADa9jTLGE4EaYooLmOZnNIoHYSYIwmeISqkcCHkgHtxYi58HXbWpfZqnYR6mcJ80iZPjRoZrKK7K1X3W/nXsCDyRNlozr/M8/0EJGf9T9YpZxoVfgfXOTJ74SatktDiKV94fWOHNa7uxlb94OfGUk+bSEKeux989ii4lo6+nknXZwDvn47WlnskfHes0jCVyxTE5xzLBWHlUkZ+FtWz/eEZZ8OqABL0BlWadOKVOx86bBK/rbJ5d619jkNSFf5S1Zs/BdcuvTuWgMrCLFUgfb2FBQcgGC4opO82qxCxdp8tLGke8/+KJIDk5U+uoDJh7cAn5RC/AQQtlUMUzZptGL6NomNS/4hIeYHoJBIuMFL+jvGEpSNT+dDOl1syCYYMthxJk3xgipl3GyvJM0GsQAkK3JwBc7DokOVNY694qH/hqMKW91XHTLePt3v28kAhRn/NSYCo7mUdE+6e6f7QcrALvvoSvtRO/o6jsjvIyPMW18qjsEhfPbbSSyeP0Jt7sdFmit8YYeIkZWNQsHxBS+8mkHrytLmXrRUrgdigW89lBH+ixjam/aKacqcxVa2x3MCjye5FC/hw4Kc9ULZIYi6Rvbm6NCg+JTB+hOPi0PqyEYv86O4SNUwXEYhZKmJhRZabWzU4DtKY73Zf+G4MSRlZK00yEcgWEBbpoySyZuIPYlQU2EE/cbss8EAMYPANdM+/aA03tLvQq3Utx97sSs3BTaKV5HHbKxEaFsf9cGX15Hr72MJS4ci/BWkaMYmL0sg2i17J5ZWX4ED2gRsO9lwRlh97ZB6S/mfMiDQc33sAORS2MZGmEZ3E+dr+kM8zEIF5rSikQrWrxpmSDIbczyo0VLtA1WYlyFnYGk1G9l0JMS5i713dr4u4PZTGOly9wgWQgOIjmR6Y4BdkFlOZXP8sV4iBL8pxil4QoGu68Q3kl6hN6i+CDRbb3XA1PeOrqIgP1K3RDDZb4HQZqBNM9YFZlZflAKsYgD/+/V82mCnzD5hKg5lmwGFmBJFHYwFTuCzYIZVV5kVjSKsxArGC333J7z3vF5TkY6uefL/lPWQN9KKZ2hBKlGNkUaEN0N+lcBlCuN7LVKITgo20aBCPuVO1qsYKOeixSDZk0M72RtHATUb+24tCmwYYm19aO3A0fL0PwrDC6ecaO4XQVI0Y/qhnHCjldieKJW8KZ8SjdnVk7D1B7L+QlMXXhq95jaI+Bwu+Kjt/78MsgJbpqLD9b800VwWNyxCr0kKpKUcKCbhT55zrvH2BI9INPirLF8RPUGVYyPGBfrTBj+4rcjAZC7qKcvGz6ka4VgvEN5b/qbdP7FRIyaHBNrfJjxw8d/wgffNg30smS41FBLZjs+UnjyiIY3CY1X3c5ScRT9DMAGxQv1lNNLV2lowA6CJhZpMyQ7TPhOG4K3XN6rMAgwCEyCsTH3pYUPVsfC/tR7FBu/C60MTpInzEKaaYS69yFXTFlpE0gsIGbrDz0mV8P/gL5gCUA+gaBy0oPoXW3zATfZ4CpOethR/T68wuME/XBn2o1+PutnLXvHdpZfkpnc8ihL4Imlf8Gud/aIKN44XCME+Ntd8fVLDW+ox16tFRav4MUI0WE1dEsH8S1gxBrdM0DddaKM/kjwPGI3tH1WsH5PP/JdzP0D0recrY+vFUCnzowS40IcwGJ4wAONZaYptQ2SuX2qE5QdVORhsfmSWjUoHAve4qZpU5VAm5bXlCnP+QEtcklJl/bnXm79FlLOgBI2vQ9NSxFSSABoCbg/Xu0oI4scqUOYV3ZJrsSnOlrHx4BaUh968d2GtyKqXeuBAwIL6Ka+TlKDAIb6uB98YShDcxXiR1JCkia6eexHMqQDhqwh+Mkbx7vY/jcsmnc8oP8OA4kfWmQpCvJg+WBZrSJsA6Kaj4djCDW18srLx3PZV0z7t7h5R0IxYQPgm7pc/1Zae4t0YqtSAKemdE+BxyCQ4HcXgYWOJPw8U4kuhC6Clho1BalcUOyEy17jjUFoCkBoG/L5Kq08Sr1X5xAjt/55mWRR6xPhPmFH25cUft/2MlzGJeyKLLGnHrPhK+7hrTBYGO+3fKRX2ISV93MOOeEy5rvXUTqRVqSqpQXy48SROPEqzAXYVnKKF2lwrHQg5lMekCbx83bvFefY1t9Kch/E/m3J6DRq7Nqj+u9Z7kYc/JWgQaTcSxdyH43nOb3XKHu5Vg9XnEY7LzqxpgCVjYjt6YeLe0v13uRqzfd5U+wVt6ZQ4tOfvuA/bAPzplN2hP/+AQPaEM/P3+VCQ8dhtgUYLF+cftgZy97naRtJxOeKTUcfNLZqgPvi1F2GTjJkXVnMcjRoBXp6bwgF1l+t5954PjgtBURjcdPL3cyHN0cAYpmELCQrtVvpiFXQQMUcr4tPTIBjP5jGvgJTPxggalouNbMAe0Rl3gUNf92mWh+Or8sMOezJjUFxSmIIpRCaygxnNAfZ24SdkCcW0i1RnBnxGRiuLkKMEnWfzr3066ziPeuLWB9zJtTOxj6zo/uUNkw0ZW+BmEB6BEshnd20ZqCmg8LV2RfBopomPI4TwI0lS8kUw8qN6+QS5o22UZ5WSSKHi++Th4gHb82G30h81NvJ7W1bpwqfmYieHf1/9YoUVVSOxw4NclufH3GveTyMtbsxTlLCt7c9RzPdNE3C/ep+JSNaEAoSMfgw7mX9Cww4AmOnbrCHjvcsV/JiPr45Ae/hiS9I5TunNqb6qfOLN7cJEp82xgD8mRY49OOlWkVYVOowf87c0mEPevJo8iAJzTkbWfXUuki/na5hyT+G/ZjAdajB79ZCiPnYVrczKs2RzZWMA6+Tem469HWq/gDKIy8K40cSt39OAaoz5L+KLrjOIVVnv1Lfi9+ts9wnHEwSgXMB8I2AmOKBXiGSNNqq9i5flKBUmOcsfYRs+JGwGAkK1Am2h1a0LZBDirT7ZDKVy4GAAd8R6wT9q6VsgwWoTiqV6rSAcx0Y0BGMQwWeRm4b9R0hRp9FwycKl8HciM277/TdvewOUNhF543DarqwMjZfiydQm1v4B3PFA/As5UC6ndpvMNXruP8avwahQqP9v5CDzi9Ysk5EXXz3TShE7tGCI8q5oCNJknOgpL62kU2EyXgAottfNXP6sqlBkAtmPnICpu3KwPQs7RKWHpijt0g135xFNG+tWG4mzSwgAprq9vn+IKZQ6HDZKjST3Vu93kFQBpf98UfruecrOG63/DLitNqAeWePixV8ywD23DOqizWLn/1b6CW6x4ajLdkJyRlAgIpPmtDUyv1s0eaJt56ThkkCuW4suoz+SbZT6G7vpsDtwbGXPudfrcoN9inySHWLwSyAFGl19SuAq5wwvOFd7vm1uzwwZsf6QmQTYagiNUB7Ko2LPWDwBtqt8X/hU/nvQ+myBexoyeXHLQ3QhEMPTpESLLk916MkddBbClBmMGRvtORGB4H4PgUOV48Iq/+eg74Sfxz1hG8obl6f9a+pPoayguqcQGVQgkLRvBGgmH4Yq+uqmQDdLnxNDfg7q5GazjutbFxEoB6RNBkANjJvoVRh8ZRJiGhpki65hEUHmfIPXx+BbaMwKNohA33p2l+WSabK4J/Iv3b7i5xI3HPpsJ+uhoIW/3vhEzg3fSCRYwxIHSE7cWh9+CRL5yXNoh7K4YBRLNvLWkc4zReUS2hosrxSFVY0eN1oS7rWbiWGaTfCmFKIgYfCbfjq1+c4lMcHRz48lSTkA22Sjc0wkf1r2k8ZWh0wZQQW/H6X/TKDRlnrXwFNz0uFQOrMifp/ogGXAPPuDBcwwREZTCT1wsSXtZhz8JC1U2UupItYeolCCiK1F030mwAiOXwREvmwd/QxUq22CpZlSsFtGi65BEOI6/a8MUKMY59gkX9NRT4pgndnyho2Ty1Ql4km49ftuPDM3XmPIibApodZNAszHkICFwcskOYpZXypdzj874Et1GsaUDko8OE2AlHpvfRtTAYHSyooFyDmMM1z9ATmw8jqPZ3enlmbc1WOGLmF3msIpiqne+/GqbQfbqWzK4j725axQqQFpvqCJO1VowqLWjExDKUfa16dCuarpwec0iysAida/uMkGaY4B6ZRhAPCiHb0UezGc+s9YWUmjKgJoEGXR/M3Mv1pTNtVOhKx+T8aNZ0C7lBxlyEew1FsHGQ4NaMcym1TnMnC1CZ8+bcpbcuwiF7pBQ9tKgRotllpnDUNIqeZW2o3J9cYNEmqz2hTl5hbPKpiywlA0QCB/Nl86eavoBoLu+Euvtzmujfku9PABEdihnJKJ+k4IkljYkZPn93VVavJaizSmm5I//dnNqEDbIWipjhMeZqoNPy6gh/Edv5ckKgKLMgzttlhk/jKULAYRdJIkgdO5psSA2ebcWmjTGhxbg0qPf/gWv7IV7Tnzxo9z9RAvfVzBnDiaFXxzOy+jPZsU+8WN5PgOeyJI/c+v6BXdojOQQ/Qw2AVSWdwGXwm9Cd9NWN/GNKp0XmiyC1eY2cexmj7+J8GRlOYlLNa8hS1pJbHApa3zlurfch6BpC9UbkgwhTkpSKjzTbcXfD37IyU3UPF6S58GR8rjIvJJiyWvDvFYdp/Lf2atab/9CgEJca0lILJxsrPqWyfyA6l7Om3l6VoVMNxU17OIZwTuDvVtnCCumgJkQ2BXQiIjwx8ENqtkrbhKYbtEM+nPLrTfNM4d9Tf4evkEzcMDxvZRy8MipgdWacq9/sRnYJOkJ6FIuprBb6Oeknv0lyf3fOvWQpgDeqyCRCa7DfhwvW8apkEALyvv+oows6mrSp7eGMr3MGQPcvS9UaCogdnkOf3qnF77xH9Z4y7CspMVj5zCnV666/Tt1vK0jGp1njZqZFbLf+yV9tI7GuBXyE2s83O9MIQInKBkMhOlQNCNtKJ7isi7ITX5Hh6OkdK5dYS1kKiN7aALTcGMvnZ6JPeCPXxsZTpoqbGss9+8YKdcf0tLfjdQtLsIYwH1NCX3y2tM2N0qobwBhERrPHp0kDR5J93P2keughquB7jbP+zC/bv0CIs/bR9mA2d0MpPPd67kn1Diy1jj0TXY/vBu+3xgfAb6U8ESXpQ6GA1utJN2hmZotyOeLJC5u++bvUyPyA9NBIZDqqouJGbIFT5kdoxeK32bVcPIYTO6Cvm5HZo5lKajjlPluP7SUSXAb2bPeQ0BUDDDeDGJiylcUNlQ1lsFIet39/M3HSoxWz0y1p7R4cPx9/1x/1ISlG7ab1JUEyHPCrfXUjHinsKrDXNmLDi4RaOHRXQvWpKYxW3DxzT2qTRo2J1+zm8eSDgU5F4Sa0WXSJvmIeHRyfhJ+btXXmMxNdg3Xc/iVWRMlu+E3KQ8vySJqh1WxVkIyVb44yVXmlKlbxVeZHZPImKPWteIAvXauOR7LtH0QGid4RVdyxorT6+U1PBw2j0255eDzoegbKbY8j9sWcnWn5Kbk+US9Wn0stGAB6EKrVMimPEPnuLX5XLDMqpTalD1Tgn7uFc7TlbnYvhwywq/XjFxN731g50xCMEkt6C4XXdm2FR80VF9jQ9FiJXsKGun6k8craV+4jrf7a09UZkp7xNyJpgWHDWgH1YvdC8msqQRL/lnSXcrGJkFtthZmAZORud9wfHY93S4sGiTBffyFogPvBd5BCXWUmGH7K9ruAMh7MC0+SgWBnHHUpH07F8yIkBugsxbfMClcGAC98cB1N6EH1p1uQosli9IjoqA1ed0/DD2o2qoklrN3fPwX14iFFrr677Z3uJoHbzdyNz60N8d5j1J0kuFvkd1K5yTg0kLcppfzoYLP+hv7M02KeNXjaUEuucpro8yachYcyMTZJXNUHBQDFMpar877M52MaA7tvFjIXljhuhdNYq5cier7T4AguMNneGpTxS4F/ZuomlTcw/EAtLisxd0/mjqgVH8Ks1GxyMbz5owXadFgzNOPjqxuDYbtPjuun7q9AleEeRb68yHkVDEk/kdqyDU9WpKi3B3/WTJeW4KGof69nJZGFJAmQv+6Z9V7e7BglUyMVlSoQm+HtJ9Q85eLM750o9oqsic2TL8D8VhExyKoOt13dNNB940krSrCrkNifcGKGB3BM+vddHDprY8neCq3Mn1zj4ohe6xOlS7LwvtrXAwim1xrqKt1zKo373jU+80xBfOeIO9LbUGUwiz3YUtzv27sFr8e5ZT1ZcEGae7uuTI0c9fnEgy9ZNjcQGdOuz8zWcZAwqCSCJ3SQSras0DEVWYbkdBchunV4DZcook4nknIYmJX7KEl0uJmS5Db0Q7RZ/yYcADfvXKs6SUzLpweqTzj8HEu8VasVj/tQg3FtYf2dSzXswb9gLvs/jA5f7p9Xn6HRT8Kvrmc2S1i6n4+AH9fjSI4Y5Ly4mYyzrMAkh/2c8wGHdge3DL7lFuemp08oTVa7Bec6ry+mQEmfqmShYYRWiSvLGJKLc6Kd4qZ7B/Ruu46ueDUpWS9P/NUP69iXsyi6ZwuVhW8rihlpEvwzLlHE2MvflSwjZbNF/ko56QaO4HadElfVepzjo3vS2dBN9mM0n6fPQLsx+GOaz2/eut7oH4nd3Fj2e2TQVHdiFuxE+kw5cfXwmNBzQPVNSssYHO/qfxweNr3kWYaEwLhu2uBTrfkDYY5y0mkZrulcc1G6cvyYMXtqIhs9PmtCjtZ71OR2VRoZ0Oq6zcsD+2OVe5VWefadE5I/Ih/6hEH17SqLbW1DZAk1z3yy04jS9ryXQqU0a1c4UJpwgtKi7I5tj28KsQSx2xaMtdAv9owwiO1jpjL0V9PQ0JiVN6vhsJ5JDy8xy9Wg3ImgIfTHJXQQ5PtCQ2nDu++QrhVJF/m7QUT45h3N/iKGace8vpEGtyKAt/8qDVxEn6ytMCTwEmjdzQeCBY9WXK/Yx7Y7URrbNuFd1dkuHd01d2Y3ywpOYP2vuO8oCqH3ICrhcztDFOu41dsWQjLcS0fWds8OVURARA08lXfHsjI9uwcy0MNewWsfjURk70HHchdKEf/NHY7HQMN24mDFYbBSyJTYqNzZRLEfhBsLjRJJyhlP/GmhBhGa6YD/eh7cCd5+liZOTHXmSomDKRntdH5UQlrki2d6eDMmbVPLdW44n/UT/DGOQ2gR3vaNsgW8BnJ/IRHfcCMhetbAnsYKqskpdxyCmgMhNMabPK987qalWir+BO4fvYALDnrPrAHLKtIgTy9ZQ7cEG7csSe9BcpJHR3DScMuiKqvgY99DfY2VdPrRdJKKF1laB9R3mIzAKxsc8JVqo94DE+dPJ/GSW7tfPWDMDzO97qzqniy4AOrT+AffnOZO+glqlIgL9tl3y/vnzGpGu2Qe7fpN9/+Xa1ID0xzpGRf0K9a0ksVyt9bqUY4AceVii9k+FJenZOysGYlLW1M3XXMvkTkbOxENXhFk7Bj2nTnLksLNAl//49ZB5DsXf0qQV0+OGjpN6Fv+4OX/5/jMNI2BLih8BipXiVMBmZ97eD6wuyat0BMTUqIvR6THqrJnPJl4962PLw2n1sWUakw2ffKKtARFWnyFd+R32qEdH0EHqVODBKbzhDW0VdFuhk9o2pV+mzdzyNsb760x02m7FnY3Nxbi2PUSHFaiySEnquuZjlplJ4e7cQhrsGe7aVFqrVCkrkjbTZUG1GgPLqRXcFjhMlWB5SNksj94KwidmJJI43BLNcIK7fsd86DG/j9iIBM2ITl7AxvI4fThuxns11zveISV+37VwrRygXIg6ANycrQjZ/RhUUo98J9Nt1U0XYv+81E6s2XfUZtACE5uOdAF+NkB3f2YtqxMfvxb9WbNtA78D4VHhmYE9EVdeThS05EyRsoKmYr7/TbvMkTA1eUy30wxzGxNyr8kmEdEYonk8xXgqVv2fZ3h3DtIYoBfii9SabZi4z4raCgGmjib0xvoaOR20vMJMNQ8VGEPHoKUQZZb222MNc9UVwE/CZMYz/JzmKg4VokZry7HJOHKbneWqHS/KT3QZm4jDmie+D58iL+yTrxA7FpZO+IPCD7pisTn9TQdmMCP/C1QVju9mkV/MbcID+RImlvWJG8XKJMps5JP4tgbAROGGYecoogKLZYWn+j0hLQjmlHZfCOyHdN4kQpIEqFYuIgwI/84PYr3YIpfJizMcbU949Ih/99K3+519L3j5fRPvcHZm16a9w/jHUvSx3ZdlCd9P7WOvDGLGapPVICCIErFTP9uCf8GEZciUjUWtFGI+DuOEXNN4ubsxQAIkcI8Dvma6lsEpPMK7jFF6hI3PUiuMbjrdGh5g+veXozOEFVRSaNGgS/5y6W0Yljk+G29fellVhZtVKEd3s23Tm2fQq+tpjTwFO8BzC2XLm0CDbEmlMNN1GYXn+pW++6LKm/G+9GP1wr8aA2rPyVeXQBZJTiZHtWRNbs1SisUMyMQe/ADEYYj21KECm3i4SG12er+qd7CldEqfuBj/hJF154WVcxrnGixdK6/rtnTgox13CJBdDa6T39HYf6rTnsaQHEbXLQ+gx6D8e8AfMepibgvxAUzIhrLwaJcSbSmHvp8rbXxm4iSF10Tyl1+N0joYXUR+PrWVeMNuUUjReLPVGZWYXzDmjO653TXD3Ef8Jd+GOgHBLXCx6RvNd/7qvsNmSED6RnYFPbtm2t1CvWGEiB0yacr1F/7/XyL1lkqQZf8x90ep6usvA292lMCMmtL9yqXOgQDtkudkqiBW1NANihSqAPAGN3lZrbmwSIfMMZWBEeTeDjWIdvtikKTme/nhN/J8kWkILVnayqAfr+40KFbAjxku8wAVV+UU61fz5X+Bhvc3vnR1hCYugfxB0hhTKf045T+S8uZ8iL72Y1c4SecYr0P0j/R1AcV152rm2EtYQZhFjA7gN+s5vND7fEwoowZdVoN6TUUpBmCyTY/42ZAPgYa0fbu0f43ceeQxPDVmQbCaU8wXMV3LSxYh0kbIND97Efcfjc6xFfiV13tqTlo2sxtTrz2gm1xSLllNBGDkf7UQzR1ZCuULylUtJCaDmkLvoD/ZtLjf2Cq+Q+wDV+/iOQo7BbhunIWe85WcILk6xWGARXOYDa0Vrrj/u+w0kkDQAdIdOeyz27lTA15ZXOtIs1xKL/UN18ntb6QI5xS6pBdVSEsV6QmAe0bSWRiC6GsjSFZd8dj3c02VIXepAXIJEPE6ivY+EWFleS8xY7qFKfzDngW68tX688ikbfE2kDFwcTUizh5jmYs2/aJXEnl0sqo6ovBFL6RrItDRNqPF7nk7E4kxbPDPuQIPfu9hximFJipbYTD1qAxWWVVxqADxFs9da69EmcZJLSpiEyrSZqMXBudUZWhlYm0gAjBi8CUU61E9ZUtsv2Y8Agq74bYlQ0O6J2XRswrq4PxxElc3ZEhNzMq/MJHax/87zqAIZYsmo+5cgQ0tI081vcdhtJ56CQToqrhYLMeF/al8/o4mBQVnrAqB5ehW6mL89Wkx/cgbfviBXaCH3et3k7gR7DmQdmKvL8k10A/dU8BnqcszQdEn9JYEbM94V/DkoYZSbbUZeXJIF8yYneaHLPdFuFpA05gEpvqNTCCKQ+ZezZqYbkBOUJEdPTHO+3gcLHU7oq2jfq0dFlcVbPn/SXTMuRoVXbmmCS0ft2ncouVMErJXH0x45ukvegnTtBel0FdwXccHIyetKK3xAjSrARkMtGJB6K+HdFtU+KmV2cTI4BwbDUYhc5HPr5gmZtFgcDtnuzgSi6cK8GudS5jR+mOCrD8+mtMycp93DdjyK2E2iDzOh4I31keJXNZuV1paZZo6d5m0RXIz9cmoMFq75B3uUoG0Jh6C1ZFcWKHb0pR7IB79XmusNPwDRgJoJlS1ETvlsxTAYwFi2FppNYv9tTbT45MxU0DMzF3k+YiliGL+l8aDqSmbKKJtzaJycsNQIqfGlFI+hcu5dsDhAijUOod38o37bnHS0TX+ch37tS0ySmcJcDJIPsqcFrTP/I3C0y46MB3jPtollyX0l9wjQZAvG4b89Cqf2wAJx2A+R62kFUtT6qUYE8N4jHpErfFKiqm5v+uuoTqunDqKyXgraxVY2WWe0lmO3U/jk1bfyBhFpRfCrbGPAdixUU05PxWvzGY3/Liz8WoTLoC92ubCUlBy1EUx4ZVnOCk2A7tkVZlzHCMcGJuXxwHIEpjcSazNRXauEEPejOmT2qrL7s94oNI8C40Z3U3aRDnjRLhHfmPVSIh8xX8DdUelRQm5dPs8woGuODmu7I8I9uE+G2caJNVtCZF5dar1ALOejohhlVmhykiipYKGCAbPOjUEAFJj4JuF3iDoCOGfSCOlhGBdlTTw27qToZ0eQpQxuE9Ptdm+q6pNBm6tmdmCRVY9UkOSkDH8cnJlQHv2YzBmV821mjCQrnB7t4Yq1MqFrS3Tjw4jCuemohkheDbZZ2eEJjCh0MqqpiX42ft0zo6Msv2q6vqzQydxFhvbryAuKV0dDne25zyie+T5LFPXNOkOd9EAWxVpYy9QDv5JoU5K14XXqQCB59VkmmVCfky9EQqIgv2vIIEHk27YyVIKjX9u+ZdwMfKW+UICV035pZ+5ZtDFWRD8nVENHFqCbGwk3ibP7VlHNImbgFOmZ9x5YJwUb1PLsPL4M2sphxvn0/q18+a37dcVZGWSIZAzF2hRMTVXFWVLIfPqF4JluqHlfUFG/cl2qLQwFvGQeJ8yGdE+ltQb24ex6hCR+dIMaPs8GLBXfVtwDZPrxiyPSmuahLCnqNPjjv+S/FJLra2pxTjd2QtL17R9zMLtSrxlmJoq3/owKkVX2iQMNXfODsIsqylGINBczIE1reCKRLhW7qq8GG0wP+qzTmWF8AxLnYO6IP1EU9vW6ApJVw6BARZkhmiw8TqlZWGuE5ldH8IxURYPQVta811dwTSx9Yr2DaQaewFntKIonRtuMnjc/jc8zpW/BwgRjacUZybuS30KdhpqcKculg9LwCrQvd0p6vZrsHgyfwy9+vGLlUAQ3fGEmtVEQsPWcxrSdlMm92yDVHEN2UOZQ9yhjkW826/GR+MTzBTtdzW1wEHznVBe2d47vZcWmXbGKSnR34cbdqBm+rJdzFK+xX7GAGF5TWv9sFKt5/8etu9/4+xGd1rj833RP7J7nOxzmuvTLCXOMbVfG+hKqQOEEAPGgqzBSp0pS7HraGttLnr+wy3/NoVHtwCLnKMn3l8ac8PK/LnueIQihhGNJd0AoLjF3wmTBlZehgqLeYCL1WBjAtO3vGNHe2QOkz0wQxoSZw84undELKunGkZGAc7nptfuJyGYMBZHEsEdMOnLr6KimcirFW1yr1B6B4L9exCn6Qc5Yp8pAxpa30VL3zBAqH1vT7ngmVvE9Y4axDBsUxR1v5yXsvfrxIQ0zoFQtH2Gz/Mqae2Vw39i8bMKEWDR5zMZc/dT/JoHIfh0ViKfKV6C+UoyObWsnr6o/UTM2bqqigxNTuaqMyTOSyklG1jsDsMTkMAUcVi58JEtN0fa+rTRCzuxV2qNzxOddC308Geop0x+v+E52d/0jY0z/y3X6drHauDhDHiLVORqN6EbxReBiy18j3Hpqn+J1BKUjS13SoL0Wvbz5QF8EGfJRESqqCEPTXJnFUzXP3TgdJgLjRH47rxNxphBB54mYZt3g6h59TsNxWXGhsc0U+gmd4VbBRLgSL7JvPm1CoJ/L9lD1rUR1j1RN82DObwWQcPSSAVNRrgk+Aarq+bJlTBUJvkCGBEoxnbQyI+aeWN+bYc+MK/6j28P8Z1sxFRdzqC3yhKAvbXrNhW8RM3rjCznSWt8i/1yOSpL2YalUX4c0i30mRIDPyqWxxdWStU1eoIccl+jZfdMqZvWfjNKCpS2j2nwhOG76WgvICUejUCnhJuI/asUjv56H/8Cz6xSYvEUUK8EJZofOdnvDUpAtFVxFaXQjML8VP8EQj/LmmhixeLKZLph0idstba4y1zCVvDxfciBrVdAP+e5ZcRe1JrPzykcgBamRW22qL9K1825c1h9IOl8Ay68KHdX+NNRozaN9NJCJdbc/LEwKWcP7NekwpnL+CYGhDc57yQCV+R2A2u0BatIvHjLmes4pZvHrDeD2CZqbjMtaYQHAtKhI8RjEEWx2raNBMCxfn5IT/4JIO0XSo1S3nn2Z1UglG4pNBKIG1vfpbeaK0t6OReN5UZLRz4uYYyUjO6b4TO+TozQTFCs88IQHHIjnPndTyFdaICNwq6zYJ5ayzgF0MzcyqfC/4q7vxRu3CTWiX+4p7/rc9Zcvd9y4c06fvcEnbSYiFgQBxZgxd1z1fq54TdY8TLivcGWMYMnER1JWWNMuOH2WF9DJy9BDzeGbxeO2WITSgQ3AgOZIGJzdvZ/d4gAXu2HtWOXNvMhbVy5UiLhZyNNqj0MrZNasHkr4+t/asHqYMNPl26imXtH2mHCKGMGuhpzm/6LTMzW5joWFe3kKzVu4zWB1HmQV8rv9H1eUZGqXOzipvKwrIHwqJfd84dq0iCPocOCyY6rc5k6f5Sdruv9+SiaYqXrGLmPQRYPA5yjHJf7hjteqVXQ9P8S2BbwtjI6PHqGE5M7i3Gof7hFlRZwJcP66kbtqyEebFOCkLsPNElfQufivZoiyAI+unNlwAI2Nm0DbOM5gIuRr9fQ7ef7rZXpu8vAaGnpMoXPwEqLtGjccxf/56fjHCtN/kTQF0+BP+g1rvc5S9yWgb60/zHYVYTvWLpWuH1Mst9LgSfLxk00q2k3a9kkykFUN1ocSMBcWGffvRUUaXSdcZkp8/K6UzlJyv3Dwq2fJoudo25WY6KEe+s16RE/v/+hzZT2Wivy5TND3CP8cBXh4V53HBh9ql9DBm5ZJ+L+DYEnBfcKVLFfuNMm7ZZD9dCkiSzA9/QM7Bhb3vxZD+QYr0tstBkvK6PD9DwZsC4iDVawkhqOabMfs5ACMbekGzTDHuC0HK+catNUcdk+C9R0iOVDUAsz5mgU3kfTCFpW/xnWrchv0U4nVICBGfmzIIMmYO0MMSuYSXTYrmd9osdeqhzx6Bh3KCoAmDY0Mp4t6oinXXxQOZ6C3sNCbVPXlsmxn3cJviBI/is5n6m2Vk6XMYwWY24jFMuJ0u0yUmIBN7Hx/6sNyjutnPDZpByKBy3ejXFzG+L1NwjfgnVh7qrsBSsPYArhnZzebHL5+SI9fL6ziHyt8XcUbTwXy22ydPbA90GS39ANRGPF+yOpIcEL0zgjwowc334mk8Xn0HEtJ0Zhkg0d3na2dkU6e82UJWV0zQDgkZUmRUuXQOGEVrs90WtEk+Bq6BkJ3sg172EkXR6tQwI//AW7dHuDm/pIcakJm1i9BIlg2WPw2gwf++2M2AOztdS+VsjuUXuQm/ucq1VLRQYP49Fq4UVpkahS2GjmNF00nY4KGG3fhbBAVzmDAtIxTOB/SejPhM6tVQFWHErF+40Ux6rmpsb7GX1sAAmy29UZ4W2W1TcNLZR6G3QrlCzW4SMFaKIyZJyX6q9FTHjrxRoGKu8oQpv+TvdseSlLAc1Xxwb3P/gECII4DRRIAw5aFTM2vTnTzpeSkU1Rtqj+Gm0D4ocZhNGn+55oNKsp7OQCfoWUigCSPAjypaNIW7rbyoizKvuf1IzEveXDA9RBhLqh0VwWJzIJ0OXxi2tQ4oWuu8JXPRYQHgDrJbUzUlm38fMS2siyC+q1joOPapsD/NHmjguMCMliMtI509Z7DCSuU4ZSGHZsSv/o173IWgDX+M0ADEdXQK4Vrwi1tJ2NQ/NSVmNyRwfxdmGJkFNS+HMp2ALhfMVDBF54cVprDO+XTEkDS+EbmGrZB/f0XA9c5Hd/zZao+9ZDI2Wj848xrIEcOSlUuCcrnm0D382bWLEpbYpeG8pmSjZG6nQEF5I9WP5O0dwQLL+GOkgBCpB405fRvLAaNEfo/4LJdWxe/opwUOSvvvdSWPdH/VeyxNH1kYu5k/ECb+fVxVPTke9XlVDGUltqxjLeBEhgggrs/0IUts3guahHahKWs6TELkSbFsjt60BgBCYKnV7Wv+HvS/2h2/h0PlVYj7ht0lA2u3p0GFGqfATzwHN+a1dU98UIil746CO0gJ3ClsT28/RoGU1tHMW9DQBAKJoHJrt4RwDE7E1M0pGTz/j3oAsG1RB8CdzcgNl96cFI7KRZfdEs53+d7FXoF2nlsdu7OZDnIaOjnbB2NL1Xp0+X4aVjA60qHtiQSdaRScKBA584HlZqxlAtsiTj1s+5a32NxFDjGvQCey2w8KdV86VQYOEiJIbgiQhMMM3H3nWX6J5tpqaTs2GChYYZ8VhKP6z4WYUO+Lkm8n/8Rtoz3vGtJPkfTLYpnEvF5WxrB3oXWRVbuxPNznqb6hhFtsrKROVs50RJW6hOYhDrgcnrynD67vDeG4c4AJCwNqomLYyxc11dHGiJ1rRhk1z8ejzoYXN4VgcpTRPl1o45foWgZS6o9PsZA4r8/fT1591vzYPgBSUUZleoHoZtExGPFhLWYAL/hvh3Kcvtqzbr4+iR0OMPojWyWEw1Y+DKUBJ8kCAHvc3T2xknKHwPMWhxRRBf+04/rhKPyjKuTyp4zyfVFo+g/HhZtDCzL8lkydliaYT2WsB/ZP1RLGlcX61uYxKqFE2v6St/t3MsZWgDWQnGldaxGhrtKWxqtymZO/kqMx7sUZiHKBq8nIi6SWIFUUy+Xp/FdAnRcbiIfvDJE1icCh3eB5Ci1qwyl3OHIxwIiGXDXqhfcUkkMwIuCINF6xZN4l6zMI13b5SNJkZdkDS6HGpRuxKGLgu/LBKezT2uDeACDsXANlvBmbgquALdB1jmg61RGns2VnjYhy51KOtJH0JLlK47FLgdXSHUxwX5NQQfKGpnP8yeDPSm1Znx/sNLrA4x8gIb7tvF1OL5HQF1GdwxySSTuhilsUj+Nh1YisSD9jaahP5UIileOgozA177pEHEBzfyZ/jAkeOJvRjMyBlQM3aq4Vpm5FTe0m9SaFURBPXrLM0IKE83tW9E+BHImjAtxSHQrZdr38LLIqrlQj+seEKyOxtTB70fiEyIj+/4FqjOgBFyp2SdIdCpbORnFDqA+OsMqmXsVPEHmIOFKtyKNpqKZnqSGc8ps4GfyMEEDPD0GumCdkoqE/OgSlE5gjHpIc4dj/joBNEu2bOAyVAvRyOli/qU1waWxIuTQWidNx7hLkTImyJ9/F3natpuHeT5GgTvtSbabmmjWGwSReRSLRKPOT7OhNHUpAFnQRxWd8lujkkI50FnXko1tUbFRXECt1/XLyLXwpbMpw8H3youLC83XAeEtz8MXH/zZLOEygzIyXRmlMqsJCSydMIVQB89T5xpfF9tH/AnEDnrpYpc3OyLoCqtAnUIOH30/Z/eNkt6xReEknq8uFfJJauUZJDh1dIPqDMyT/myMz1ttFzcjQRz9fIgeyfVGOa1P9DAnJ0p6l1qys3c15xlfF+YZYt5Fo06d8JJv4roXPl0Xbku4xTOcFXGFrnV9dS7u8NGP4waZV7WbtFKgSuAwxW8GY4XA+OmTcunKyuJWhNzIDUvdQSgRardgzsTk6Z7w20bLdfzz9FQhidm+9wDPIOJ3aIOwpM88mhLja5WE8Z18aME1ZXKOBaH677pIH7vGYvxnNNfCsNmISBfn3O9/bc9SRE9SKmFcNn/PB4L7g2GI2BKWGHZ5rb/t0FGjt/HcA0J5tCsVg3vdOS4jiEcDKplMaltjbHH4QZNNUI0wngXCwob3PLwg0VPvPXUcf1MAwbDOLvjhi9opC0Wlg+DsHpKH6BzyJT5llu7xOb7GOYDelclkQM5yOc5n3B9CHqWrQsqOTIfIGrqWr7lEn2Kx6ke4RruVO/rzdCsEEWc1uaI4TPPOI3Y/m5Q836j2H0/P7cdPYQGCSCRAQMNIQCRmlj/Z+SZjZKJOq+fXziD5Tgl85PLs/+c1HARZlS4Z5JYjcttNiaHYfg6J1wUcAVYDbrv9XQH03Czvw+7jT4JMfUOuWIjLp3m50uEX1Fq+aFIialrDwe3zGbhjtnZG2/sVUhPHRGBNpv0/2F6i+BFXZoDlPtAJm0trWtC/cqfFDVwKrcA39EU6ysZ/rXUOxSdHU2TgaaaGkhfNlAgYHEmOqUFAYq0bKjABJpt3qlkXO5MGJkqleh3Dlz4qIiJurmhA+klvOPP+Fueo/qQ79wU7/NtteZxiBYUkANzlBizDQ11Zwiw/PMxvCFeSOjNM8UIr7UDr/nUtNSau/e/KwkPftt7TzPG5JsIIZB3lKWbVPZWmHYPlvjd5GDKQwkhJ+MTx4rVvTUcD8w3+z7AAq8Ox/lWekfCeV7NmZYaAN77Ldx6Y3Nhm0Jl5NPdpU7O+FA/EeVNSMcin3Lzi7UKDbdyagUcJzL004cWboVLC812/2gD39TdsBpsHpow2rMoxElrpIe2Vm7Ixp6HazQ0syZ86L7bHQGz58jRZJBLkQo5XVcnEGuvgrCc4og09qjH9LSTnY61Em9ZnkNBIwFVQWNPnLKBH0RSmWGj4Z3VuznBcjO+xTXjYsEzLyvbX3K7JbMTLfPkN1f3fU8cCXW2JcXwEOoosgHtcDmVojDHKRhUxbuDmc5QPJ1TuIJL9A9HfvPB23lTGOppP29fKBvnu6yAvrHZ8nkIzgGA5uUak1vcqnwhsJLsZAo56On6AIphRIB9h/whJXlU21ShOuMBiqB/p2DdJmlP2OoFYU7gk0OM4VUxZZMTvqYlVIxj5Fiu1faxYHGpELQ6mzeXnylmg9zVCOFVgQYa0JJv0rjxiSIMvSZVZdcxbeDwoMaldx3FzfxmzQvH9485IOnOoV6zS8rVqLjQ9HaY6mL33OkBGQAcWDQpXj16PiamjGsqZH729rSCg3J1XnAgL9EuiFGPavOJGE6KvnGM5pedSLxO2azzkSae0zXfNmZgdIZbDoIeDjkSmGYWLgYMdGQdbcCDyRWhHFLk/eT6TW1FZ2oi2iiNK8fNUkEbhh/utc9CR/VlUHwTCswl0EqVF2/5q3WsoxAcfKU+rByeTpzcK783dQvDru7lQ+1IlbYZ4897fy6lKPzucO3++HkFNAFkYhBxDUgR4kQyj9CY7BL2c40gLPPJupkJLXAyG7yEZAFYGoIUHHpwiJKcW62h/7xUHUt+zAGSnsu+Jpgob0vBDyuOB2n5zJoivtBPWe7yRwxXnynpSf3Sh/V12Gtupv/CKO0MmCXA9GOXRDFU6zujVTj3Ae5+T1zYZrvQjs8hjloyJKVmHPkDQ/e/S3qtuMqUW8wirxhOg4gCNZFQuf27QVmFtS7gV0ZOXndDjp2+w89lq5iLaMlvzziI1NwXXBVbDRazkvxZ/7HJ91npMNjGrsZSvk/hHCheYJuJ2Qve0RnskhmBBSpP/WkO6BEWKwgKT1TqGu9DEDB9UwccwQ1/7ZJbHGqxc7zqJy0NV2SbVk7IyH7V/pqMX9+PImMO+7AjbhRtipZZDoEgTDOD6LQ+eIm6OR2f5oo/GooTkI+0E0R0Q1uK6T3ilBKrlOAz4K7yHV47QAKkB2+wJFxGvcWftDqKGMjE+aD4lKGaLNg2AsZdkb5H07P4CjFFGiCCZPlxAFMVMv/Gyoby+v0B2s/lVsDTOYeR6jOv5xq7vTyxYDz5vJFMNqVSwDloczeioJRFdKbE3mO/CTgtt8O+pRDBGOnsgFhfybe7neCdkf8aHGqIh9oRAKF35IqpGmpboURGxdK7Wi7icbVXoRi5ELMWlrdU8Dqfm2m9683Y8gYf5u78Nj/Gy+RCCTZHXNVBJe4xzyEzRoioic0x0ACVXx+TvkC0OvJLsICOuUl4j+udgDBcy2Hdz/LKwsW+BwHiQL0LYIOvy6G8vnthayxlP7TZfOKW0/ZNO6z9AQGPjNJkWJstqakzZSNVvofNVgL/04u38z8Em2MGkHfFR8CX7WZJ+TdG3hXggJcWBTlSe4Wy+ZvOeZL8gdnqHjxIb1I9OGilyo2IyX+B1F/+T3iR3SFuBh6f9HHxlAeN0DCTyR0+5u53p9WZ/K7PQtZkg16hWtfo1uK97vl58QcWTANEojiJyLoMAB7faTgppX2QJm2cPegLKVEv5s8wsD53CW2vUBAPTu7TJ5ETdQxJ+4LmVHH3WyR284XFg/Yps/urqgLZFBzlC6Gpbyowk7FsKwaGs7/oYDxGGf/WVbzi5x12tvLzs2ddJZUtB96AwkIuiI1m+rlY2q8z0IQ4ak+eYPsOIF56ewDMKxjYNn+6zsCexyvoaCZjguIwe+Vg4sT8Ln2VudeXSBX+4GedJWvxwM59swpDRZC1Ut6o/BWi3iZ7lXT2Zz6ZcXVzrbmbedBTqllV5wRi3ch8+sCbdxbUx6eCURL0xZPaPKrwzrxj9mD2+lCLa6bkgXAfzAifQHCglpURUhLP9JirpXa/pFd9QJ8Gj5BwtLQAMCtmYSLy40xsFBIElSyn/NbFOL2VtZhnleL1bax2fZQHudCzigyPtZ9GD1rmt4I+4xfpEWNE9RNiU4H3gXQHaj7fEViPAqrsMUOyiJPiPxxTM34JhGFfMWonP4mC+1LNAdSqFUJDvZHHsD7cBgvLh4Fzke3WlpyKhKO7qX7F0aRcaNguuFTz4z11vWpYhfKwu/2VmxYsIqk7uW8gAPSuYA2evdth5vl2owwrK5SkOvmHicjlsKN0rjI0bFMJs31oD23KVtXjOa03wcw3YrR6jmbLfHIJF9msk+EF3502FEsOU42Uw7SGWiRlrQanbMXmpo5HoZ3aqEjpYxwJOm/+bSBRSZiZInIhJgfg0lAlubidqPmkDMmtopAM05/4MILXJYodYf2JddATkV86/JhgNz3BwW+EQaccBX5jRfPnAWnrbAztLO1rJYL8+vuD6gddNjSvGqDt7bKR47v+4ham2H8eO/ArIMyz4tA+oeEJ40DQOt6QsJMZG9pKrjHcFlxwG3xaHjljrEaTBDyGSW9K9cCrWhY4qm9e9SOOJaBNQ/kaDsxhPfUvxNH5FWXVdSqt5yq+c5FW8gJG4mBLTRi3FMBsZK9q0nnWAsrslD1KuG/g3eOeMx+KXdAFHBL7zEOEERu3LQ9FD4ZUJ6Otwh1yCZ1KOR4/iG6OQp5ibUkaSX8k+AdlKiJzuHZbeMVm9hWRg3tUYJOgfzPB8fwhacgb1gbRrHSjnAHBUhQozqkunOW8yWtfcKI/QpOQ4Z8gOz/KiNf1MJfiqt8wDEG38WvAMEHEf3pMeZmq/kGI0LPxV/UMVyAYRy9bNfGkLoc3q5engu2R5jYpOHyf3Y2a3lO8JOTJJSTCYX2UZQvKuB/BvNbjEKqc4BH0UOAoDSE7dy+iNqyFynKm5xhou6Y505SbpHlJa6ztGxIA6P06h0JnxvhRbHo6FCjnmOqsKoMmrHRMw6rml64mp1MDozLe5gbOIkMYzu/Kk0ZooLaDSUfiohwJbBZyNgEglhfMzLSiQ5MzBYpvyp/ld5iBhOXKTv+Eyy1m8QvLn3ZGdwtHGXLdfLi8evfP2f2EXIeNLbbLFz5/sCoWfzNgR3B08sr4LAT3SxuLZIWAAQ0tqiiWci1tdJAauaWJLBGQxZczdUA5KRqe2dnLNBmG84pjRBW7lZ08yZCSmWJAHqGnvYxfTWqJoPSI/ALeX4SawV9rqASd4noas3rn7shxndjX6X0uQTM8CcAM0K7fbIgFev5LTIGkm+7+joAU4RBZi4Nll7wclUfc5AaTTIj2Hn9K8hwRxyY9OvTRltfPEC4nKMn8EF7Xz9lLLhANyhjCYIWGThImCFtUeZ20nK3EdwFhqQFyKGXo6CUFGGW5qrLBamHTShhTwMK+kC3YQkUJDI+E47pejnPt0Z5rIKyT96r+D3XK/L4/nYqQ0HYbNuiJtbdxFSIzRIi8GouBvvsgpdpwbQvK1alFqLhML+8kEvkVsf3RI9l94V2GTsxxtA9Fl8YitZNTTgFK6+Mda2LJ7zgxlfUyLX8DtU7eKjMq/wXzjKdkA5cmw3ncjR2bG0YkurW9+yejQ0Qnj9B0a+nVGi41Cy7sgcdSH5VQp4bymmPDC29WeiHvkD1cULGX8bRI5txAigTcYLXLeSm8Dn+oXJasiTY6Ll5CkR0kJfckcBasGR5jPF60qv0QKP94Ls1LIzhcUlHLRNa67nUN0rRD9BHtQDtJ/AQJG5CESjtCP7E8JLHrKzCe5KrS5ElQEIuPtQETVlinWlpRTmIwv3Ryvxpg5Ma/OVGvLQOLxMb7piCKNFKEdf3/466mpxoQH/tvHpeJKtKmWEV7qYxCcgoN3SbjtS1BzGHB8D3uE3+0M/7+GdMB+sewMOG8uMnKdeCbOISoHPU5H9MizwyHBnCLM36h0dJc+OIU8pY08/sjm1+CNO0JNyWqcEtiODxM9r3xUaOPWbnvIX5BXUxy6eJaBzrCobJjgozFmzRxWmKjYqTN5MEcVTX9eisFg841gXtnZk6IHSg9/MZno954Kxd+ASzUr/OBm4X8uPdjK2cx7vHm8JCBNglu3Sx8MhnfuJxA4U1q1Rq9nSvnj3lweRk3HBfD+8hchfZEcemy6GWTcse/a8aKfQLbU+1Gcx5L9ltZGhVnrrUhwPaGH5AEblZJb4XO9heseL2a9fvJem1p0LPksG5kAZpIZuBsV+nnPYC5OUw7Yg6Fmk/PcXqPBtueIsVVFmFsd36AwFHKFvoRjb0k32CeejMk69EmmvhAJLRBFfEHGIYUq11cPY7m9PVQSDC65D50I7SfIOOlkX4uSParXJY6rmfv6pVOSRltxAu0EZBcbNaHr0u8hfcZy2dePPKT6zQkg3emwCQYW8hS92xlzrgUaFUyQRQbkFjCabcj5MSXuNQgIo9L+oBLmsGpHhy4xoqsJYXK0WD/XuVLe0oDEiArUBJw23I8QFiMtN3fWNpf/L2L2UouWVncowpQR8qvPDJ1OZJ0xqiU50ZlnYPELyHD74I9FVezyNO+lcueAGUXnVqFOXno+bflnFWFr49fhGZU2mmR2XMwaQURYA385JoOp0fQpttMkWrGwy67e2O3cwLXxumi3FJ/IJ2TJIZjjcZ+D6H8rZimN+U0MtLkGGL0v+S8V48JteKBm7qopjEaB+00CC4dz6GRwzAIS1ioi//hEjklkLe9vbDY3AbfK1csQQ/6oNbG5i8HNvk+RRd94Fk0WKR5qjrz8kkWWb+JQMqMDU1gHy985TFKDAJZivbm1emNzdHzWn9ZUFSYiXTHfMjQQaPU0nxWtK1elMC8G2RhYiXs0Xc36vkyWDiLq4tE8mWst2U4dzy7O8sDeA+JC2StPs8VUUVNaaMDkIpkusymtBm6NiX822334RbJ2W4jXI/TzwG9HvxvL5b8hXb3C1f30PbjhUTV31772fMcdV5l4KJ3Fu7Y2Wy3sU2fbg+BQneeZ+dhs8UYggru+FYIvugeHnMiSq4vHvT4rs1oeXX5tky4OSkHWGJeiO9qTPPpxSWT0cTwos08JxbHps0I/QqnUgT5Q5mTFBgOTbglOJA1jLbF8vFj2rjfmm+uF/aWzlEeENBD7g8UqwcV/xtgyUK1/iND2e2d6dbiNbSmuoIeeepdQDgCOJAyxXD+Mf3FsIoi5xeMzI3BOpivhrhCxVD9ZX7R5REwWlDWw2s+TnGWiJhmfwqfb4H3DSjyDeyf9J0TzWrK3XiA5EW4k/AS6maS85u6iXcLOwz0i0CwqTp9pOrwHQuqmQd3M7lU0hqxFnteOVo/Fv088B0uJHIPnqNZ8gndiZCwSNiR/5EscDshu9tjcsGWuZvhMaYQnTOQsdml9J42jleXCsJrrVsDRW9nNggYI48cZTY8+JrGcbxkVsXRPhuxm4IHGIByQzDx+kgV5lZ6RnI1lHhIDH8bDtfsAPOPxpoQMSMQFhAow1rExLougAHoWMuHZZsgNwq7fet0Go1pC/sDhikSHz+b5ORxJMflbdyGcumz5xNqiDr3cjs8hEn8M1FDgK7HK1e/KClytSR5+oC4Icnfyu45puSyrcq2SIQuvHxz4cu+lanxbXsdEPhx9WtsYOoMHZvnhS7hz9BqUjoK4SFEGsvdudATBfBiX7YkGl7uhGo4yTnq1QNrEkEeGLNbDxhdKuaTXC63NU9IjNjkcGUtRGA6PxL3tu9FNrM/xJnh+lOw7lOK4PpiOcyw0s3owsRdhEOgvaOg5BPgY7efNyf4DF5iWR8KHGpf1BUMf9oXAvkcyg/lTcBxTiwF9bHYd6804w7MU6tMBjAGtofbtTUkr/cDxo0tVaRHkSbirYnEFFJU/AVvj/8qPZk2vgLD0PkTkjwZF/PLK57PUNMcsvUaJQCzUnl3PhpkUBAPxcbtvH1BxP4/r4RejQ9BtMeHD6oBw0P32idoaXC6IT9AEW5L4nWyVWZFS/dlkSI6G7BmE0Xp3aIuMh40JGlwr+ewE409csRi6sRYI/s7AomTMBu6E9mcLNif45lhIHmelXtqi/s0o6Q4NutBtIzFqvFB8ZjGIur1roTclabvWQdcVramKLWgeaL/e1/R12JrDWkJLTZzrt5ToFsP29cbUPA8dj8H2WTN6gz3nA2U48E7T/KVLWM8Fdzq7rFJ8CCBqgEADAjBSy5GLTJakcFVAku2zO0r5fu4gxcTC4Suny02OOgxzjULYZyNS2X2QijDF1m/jzMd/SsiItYXh67Au0cuUu0Ffa9vFvs3dflSLBXZOq+4Sl+0IDHCbzjyxFpQKGjjrN8o26ReGgs9MpsaGgMj9Tl3L5RwroBAzgQCAcXuv6m0mFvUCrPKMk/Wb9gOGo69sSwrGoiSP9GsfpfjdiTEgeXUcCUQfasrLlHTQ0vSc8+iYj6TZ5ygiNNlHiMP2xj4nbKv3zqKzAfvVgG2kHONMu9waPZbck0+/wFqi9coTgyIFs7xeJNdUzDj4wBbsvVJmk6imT6zGBdgZhKmneLMlp+c0hwIgOd+JIJBc6OClmCXl4utafu+cLiAX4PSvco/Atuway92QvrK/Hldld6uIPTaXA0AX5Ko3HicQWvIp9/aKxh5SRSN8IC8/kykafna2wnl1nzjE5yv+y25rlukHAOgKBsiEN6TeXO55CuCGEJSlqCriKh9KQmpvNlOF+MSUn+07sZBWS1LBpquE74yKermG5wAp3695Ex0TWtPr5YprHrHwQ28GwsW69GIm33b6q50eqcCSb9JDZRsnGke4NwWnItGPX/OqLD73FJlZO1RXbGau3LGCW56e7bQUTxLzX5sGTFzAhqxedHy7yfLXJtsclcjwn7ubIJ6BbNyqQZN/VmIBu31GHWyr8OidMjyEiBBDaxbp1huMDg62T3MiJTWPbKD5/R7TIGU27/WUeTfVYTfZg+dHfwWz3PbErWCzmEdtDiDgg+mSaBuY/ILFWHZIo3cGIIDLRtYq5tLfJAFW49WWa+AAC98VVwbbxUkIfrJDfJoXJhcDGn9qzg67BBlFV7jzJ5V/FNeWSk4uvXqB6Q0AENhFZNgOyDtEfe8TJXaxfOxGqGY+472rol+BxY9wdC9O4+scER2DLGCStfE2n1drFZLD3ueGoyOYg9m6oCvg4jW7dmdHHpPHwG+eJgllU0aKyeNHloDfKaEXEQY9HRWJ0dl5v+HWudD1ZOr2Z3XwWY5fgsLDR9gbtI4cUAc1Q76+ZSPnXue1cKDDZAaOXn2nurvp2952mJRV/QrQJkr0AtuP9C28jsoeE5Z0IK5fPWKyGkgaliviGDrbpbbDzHmSkOffQYraMOQRP0Px65h0LlnMFXydGkeCZI/Kai4WOpPsMwPHgc0yhtWfheDYYZVwCN+qA05cOth69Xuhrd/2JQ1Qa/fcKH9D+MycoP8SmfV2AMApxloEm+Ba6jOsATcxUyVRdRo2YzlU4hdaiX8ZKXWaTG0q4mza/qlpPqEqa3gdfU13/9X9Ncp5pbFAGgh2iEMv3uQPE1Xch6N+sqmd8n3wThGfzVEVh312UD/quNwoNy4AmcCRvlqArcvgsJPZn5xLFG2H9PuZKpzzzMzzwXjWdZU38eAwyehLl6QUyTk2VT84Gpm8Ub+NmR74NPEawzR1XBrSwkHozLLYH72Fg7swk8cXj2lwDnYqxjOQWF0Or1FprpQJ7pPIJ0d2GUzmg45e/gtMLuhCliRJ5sNMP8AjU3CjcVsBApUqZK813U2a6+Dsr3V3pcW8ey4XPg9epZgTrlYGpPACtkBDG4KjfvlHAifJWVrIK0B32E+bYEyTrk+ougipyc7LLG9M2EPD1D7wNOKd69jYM2sD88T6h3ppGE9SpYOGpBqyXyYgVenEUI84/rUHcmT1J+ibbs+h05eOoche+48ExvFKUPJUdAVq/Mkh7IdlVig7hFwSmJS6486pbG08D+x9ylmOHdj4sB9qwYqmSdKtO296Do/VNeRWrj3sxnEPpQo/gfdoOViSInKgIXU4yRRPzJr04HomGynw5ZsUlgYO4FleaycbQm42h7rULs8iyRQIrvMDS9S/kSZLgfM/c83VrgSzU9pxWsI9jeDXKV73cIwcKMGH0cenq3RmocAvDfflAm/rILRC8A2LfWKBqxD6YcCe4s33EfRxIo6qnxme8nBC5efGjzshKHM2hC1HQMpa8QFFnVY7ROCoLbN4ePCDlFBqiX64vNZ9rQNN92oUXLZ887rVkbNq4iQCXlrDIbM7gpRIZsFqfWoqATNdxdF4W0l/+woBoEb0B2Mk0D+u+ZEH0+gc5+Ab0lSHF0tQLMEe3YFa7gnCgDRg6a+C5VI1xxAG0qLcubwSdXQbDdxIHs0jd6CiBoAJA5+4+F6LbVym5NcPoFiXdzRyH9mni3c4NlQ4q30g7GsMNyMaii1Qb+UXSYeYBvGPBbpfXich/w/P6bydGJRtuAA2gx8UQujAACSZ9A5WjZlBPX3gIJ0x3dUt/vC/gwCfcU6lHTCMB7VX6UVpjh+co7vkPtuy2vZ7FZOOlCQVGtyaLO6nqpRcI63PAI0RvjjLjaFjW1MvUOj445fZmg7EwFvnMj0+UrMhQVEzCNyo3vFQyEEN9E9WUu8QCfVw31IWuwmw8SGp1i+W6F/n6xqCMiw2VpriEo7fUOYWXMeOnpDL58CE7rLttBSke0rI7AAqUviNKetPCnBWvncGksQM7QemscTXYzEMYcW/oFNXNbl8AX6ulAUeXn7xMEsY0A1lHH/1RAyc+MCGv37qvc5VfSB7gXe6U+95xiwoifmg4wtoUDR9U1MHCnOlCd2VP82oKowrBqt6OofW3rX/75M7pxMsQWVh/JIOecZFEY6emnnXwVOBIf7dQ25KKu1hsdnaGu1CSseYEG+W+7kM37gr6pzWpbt2tUQi6G3D+P5FSjry8tL5gIMv3+v6+bOHpwVGB1jKj6A2Y8GNE/63gDfV4REjG3SLrFKLzfDN2T50rF+vyB8r/l5QFUrWMzg52Yvfbm5owh1puRA69L27etCJQatnz158IrG9AMKjDtKOFsih2HzfeoRGetUXMzLkVFomtOevcBzQ+Wo6Gbj4V1Ovr8gRUujG+2PjApoghSZLG2hnzBf4vtl5vtprlPJWARwufgRVk1ZEAjZreifU/YshWG+SF0958wm3tV4E2G1JzkgYHKvj1+jObJk+2vPcejKes0EX1xoLId1UnNSJOl03ikAv4Jr/w2R2huWrUoh6XfeJLlovZN2ybWIFm86SK5VaObHjuy7Xr8cyv8mOy80NcS1aA3mMOP2zV5yh32qBHMnFXmjrjYB42UsR6vlGGSM1S5swHOiQwX9TtXN6qGh+KgenwU4Yl7iHY7NMXhOt15o1pSl6rqbGP2dCUdfAdIe1W3xA7TfPSUGiZrRQKqxFsVIaiuul9effN6ts5XV6GYorBj7T2lx5fZHP/odHo38o0erInNAf6F/74roQ/U9XE1OhHhErkNb9dqxoT8f99jrPixr5cvPTp5kzEJF4OXiXGl1sdRFqpk2xNvz68fUQVkTs1+7I4IwqgKnODkn4wDhkEM0gFYTFUTSKDMcRMq2gGFP8n9/e/scAV1nWMyxw7dsii0Ru0BPXu9yYn9uhLIilmsulz6FV82OTM6E6rZxFdw8lahsmj0f53Sgut67pTDZV0k6ApgjdY4kqYw9F4aXzGHVyn4+KWOaVBhR61dgAQqqRFpjCoKSnm0TF2u1DxHSYJ83KSHITUDGxPcF9RBroVRLKxDYn/OwbzhI0NgdsUytV71pM2nn1BAB8E8gyCw7PES6NK9zOH3dbXARB3LX+ZhsYWZ0Qjfp5Gey2IkzBQyBKwiE2skkvs+HCb4elTxQlCgtF0E5AUZdJ0Yom4eA2L0imMIWJFq9OHmwqBf3UYk5VcP/Du55Ph72+/UcE1S2OMyxWXEi2T9B+cfBHjgZYhTlwdLX3TzBuvAzqOTNXvZhtd/yq5v8nTgWuGgkkrOcpme9TX0vldZWIBWRtLoPqyRvDmK/1CO17hXs/ZO114Vktc8SCHbLn/RQMeMDMNCfY2+aCgZf+I5XLp3xMsk8YphToIHeo2uVqmUK2tEFUbIMbahZqSjajERBi6yu9ufpZ2sVDYCCt6+ooMpYamDfibh5tY5qgMWLHJ6eLTCYIfLtfsByNok4/AKs30T6fZ47YGWqalaHCEB7FKTPS4HCQc8l7B6WsYucNyEoeGC5Kf8pRvaCzGBJlZCw1zAQISxPIlmudjZ71+cBI16vkOJrYhy8pFlbrii+gOefSxC4RGZADagIiwLps45Or6rCt2nuL2ZYBHUXf1v38uIhA1bN02BOjvzCLqIsvbtk3NiwEfWlCbQ5wv4vzpzZWpbb27cvx1aEGXgsDI1gSv8f7ZF0Qjq+t33RqCL8kUvXle/C6tLqFiVI1F3+HyvY2n7G/Jfs7ETOyH/vW4F6wnvZraiwF2bZaffC+EHSXOKOydQN/8I+BX7OKlA9FE+EFsS0+lBMwv5IY39IFJRBPgiZedbJv89T6Mgg9TZLIkg8qrWikaKqqv1dRPsxyg0IeOxT2YlvzonBl/I5g+pAkNdGHknE8gdgyTy/sldtESg2hYV30HNUxMSD8kScVjMDBOJnNIV5OlhJzk8sdCj75HcxfXGPVPzL4ZZFN3vsiGQN8Yq/eaWf3ercYfaMRnh+xVJRKTsTTGRs5mAMLqWL8bOUzgCupCRbcjfQEuH8rSEZ8Gol2hspFeXGLd5xuEJMbq3C9UYzc5t3hvi+FBIrasbv7cb2ClJzQU4mKM1E+zf0gv9BbfkGrF/VNXDcJ4QagIuatcB1gQ8Oaf8a6vzUaJ5CPMnCsIO0n6CKASpp1cBmhz3JyHLzKnDWXCXjmsN4W6Pg+jZjot/Ly9VIfrFHQJoZYxKeidnp6YRGz5EdybvjswY+gaqG5B8cAAxMVXRRuQQNgRC89MSlmKoNs8P2zHqX/+2O06qlFXG3Q334XV1zfvle8RqovT+0WtiueHsMyBGfxjCKFxp4tDnnkUwXAS7JyD8RJQrcXWoheNQCT0inBswmWPvaI46bKHc3yfwEMqDNJF93vyIJV5trm95WHLHGB/6wv4U/EJSY2cuSL2sckzPw1zmZR66Nr7hH5KybjQ4pdzif+970srXftnyx4y3qi02Pfeq4kuosJMRZQCTKvMcEue9FluV7moBrgsqXAYB+2xvUh1W9pZWwgB0qs0n8DGl2RpLH+dZSJnk2V77/GS9G3dws2zye4HyzdmNBNNHh7K00COyyN/zcyBw3Ux0HC200VRz4+BH+QDGoslgMjLVn62XkU+ECJDdRyv0a5dqbZqH+aVaJFFxgnzozkFjNIjYs14lcmPF0TVB9qWhIo7zV/jQZYHCGTlyfgy4HuxGrUmrelJvy+WFK/EzsiEoBjI2yyFO96wXUd7FBrrHnEToRTLTbsnFs71fQ8wgCMDCeaMKf4whuaSBdEqnU1Y+t2kH3XfhB0syBsQtAjXNBb8kfdWt803KiqcfRCM9n6dN327MJpERwMbyhdPUKs+Hqd0CVavjcy6tXOX9tXE7MHPLBp/Rzto9UvLyTKU+B7y97FhnISaxcY94ETHW683Kgs77tg8kRhbo2Q/JPyHGMrmQia0g7FVsgodKeHTg+XzuT67SWNh54rMAKQA2XNu3bFIpue0y9JCDUy0u9n8B8ymWxpbfGb10GhF0cT3LWsjOakxQykEWo1JquTTzNCZCH4fSqXYNB3lWoaaRnq/bD3ZFkpM8jaA3KCgledwgkF9G32yBbXgZyrSPmHkKJTRhJHUBx6tklDnv8KL2CmJw6BnN6NrGfN/2MyX/cxSzXFumW2RibXWSTDoMKly1L6bhxBg16b7ttT2aAIFt+S/gg2bpQg7ACaK18EhZt9LYWPnyPR/hRt9AB93lKo+lmXgDcrYANyaZZSo/YGTynJjNV8zpf6zihZUUfQaXZL5l//hrwuI95x5i1IwiJ5a3+Yc4pAREQ5zLDKXwOVPEDceTt7OxVMC+yB9N4D2W5m44fdaiWwZRHbpmrK5Ux3kBHn5SOeZvhG+sQk7dy030IFO2bif5IgFjlVGevqCWDyVCJzh0n9gUMUkJkPHO6v8+kdx2vx1GR7HWAa8GvGJOb4Q1SsK0e3wixA4QwjzQsZ1CWus3EB+yEEE4KC8d1P0CSxLHmkGCl9egiXbxObbSHYdNfT8OlXqNJW3XBZBrWcZegLP/u+9/glU1S/Ak6x0LXy4xfjD+ofs9I8waizWfyurOpHHPnGee+TBiDBVDmMGp8KUOtzBGH8igM6v9c7xZ0buR5DzE08dFnDQ1FdQxNG+A52eEfubVx3lEZLks6wv3nkaO6TbEnSQGCZtKyOHEzdHkTBvIYW8wQUy95+/3wMxkWr0Ub2MJzGPoBo7Q2wFHnLXpQcilaeB0/ZFXlfT5+hnrn3BL4e2wQxpW1g9CmYClhTcbGP77m6rb1gnkHOb6PsR666Iw6r8ONgk+0qhbo7PszAtcrWoQDu5+QsOnaapVh9kgfRSPaVXjfkJuGQTKPPqnTTre5nyJqSdltzcmC6s8JNsFdk4vUvzuwkpzyu7ajIxx3TsviocAF6w8G0m/rj/ZzVMt0nMCGJPekB8Ks+g7/AK95jL0gyFIYL6xfjvACWsidQF+59ihxkJEzEG5u0U7bMCn9mOQLmP45h6OyB7mE/AZo0tUMD7bQBZzykYsNXUJe0lVGZ2bHKPY5bO2bQ8CVN3TKAyohVK17SXF9KxpYTO9HyccICoe9LgVoMLcCabxvmscO5U6sNfiGucgoM+QiGU6c2+Nz9kgVye1yqBEWfeCKAaG+VbbRWJNsKTCc/qtm28+iFxHAhImgVZhYggXNcbkYueWp9VRBJDqatiVZ3OOy8X0QeupjttfUb/RxO24IrNnRacCQmu8RYLWAyjCL1xA9AoEVM6atONRDMkREh/KmA8BuaUSE4EI0FQBNTGB7tMaQ6XwAx+OjYyVrF88u+jvfc3bzVJmHJrszuS9ITOQFjCqVYLYg00HxFuxYxaCXTN8NceKYLkHrArM6Vsm0hc1P5zr4TC7d9JCX743t6yMJcOmMvOmPxj2IMBMQ9wFUBENA350WFuJlL9z3KCnuve8+ZHeZzrtCGLYAXkQIWEailvv7aI0vaJ70Rwf+XtZvo1POTmG8eALFbGoKyozqBsexIFXW9DdcuqKztSaNTTUTQ80slNdK4QAz/rZ7N5RNbKnRf1Q8nTdWae2dDPsR57IMm8eSp7MCpZiMyNI7qGcqXiUQ27mciXAtEkfZ986rMhLSgTupEx8rk8eRS9VMFga8A2e1pUEdTdztqXx4YdmDHNBaLm0wxDybGiLen44LXTpZnFXvNdXxYiJSxt6w6xgvDcbdnwMR4DhMBWXiYJIl3ctYuj1q8R6A035RRaUPWRr4I/dRKU2kF0mMx/FD5TCWJwJwF2u8CTKjtlmYXpOGJyMs3djmXqhTUExi/Dc82oJPhmsafDVA21V4B+/mIyVHdMCwCM/2jmBmBYKEvysnLvuJG3hdwRLY6T3+oU0MZWDfTGP5jl/eASjyWopCDqTqcYW9CnQBmjIeOsUqeY41hOumCIizEc1GCztt2yjwYdAph7CKPAGYK6dUBRye85lPFYlMpfQpuC9NUSF3fYS0po13uVACdewqMZhfQmoHZ4QAmNR5aonH8hpMqol6dTEPcs3Pev2Azun6DFjdFX4TUlSPeY1p1Q6ano8JqYD3hpvx/RArRW5qjfFkScVI8J4a/qAfceV7fnH0Q1XdaM47BAnmaXE1iRuX1a2zrzfUDXkYxvGPeFmLIdfqpwbMkCHW5Oi/cl35j8ZMJ5efcmIgb4bG9xmQ8VIB24Wf+gYw4wsWeFmVJJKtb0fWGRf9eFcnAUz1fuW+CvPgTnTgCl1dSGx+g+CUlIsV5IEcG6CfVm6U6wNkC/6w4cVIlj0MtvFzcSewyxKeFvkW8qLApbeWJHbiICED5tSzFAyCZzF1Z8mN7iGEFCEZZpGBszlbEEWxrgY8CXm6hutOxrldZ135DqO2F325liTV6yCAwREM4kKOtg286aKVYWecdYcDQQehsrDy790b+hoAVTDOAtEdIR1PTP6pkskpyWh84KenKU9gkr2TbS2fQFBGfKxnIoalKV+oKlB92H2YDclY0tTgNcofbVprONFzWGq++oET0zC1swQcv3VO4ZbjZvJWzhOlkXuJ8tbGuCeK4EtiJWBrj/IfeH9pMM6s8Xe/mNSPR1YFNhLB+3rzugNkk4sKLahM7MhGv4jM/LEdmK7X5SKmoexEWWb9mC95nUJTDXjWL+p16OFvOSFqKbVwhrZGeMFdsypsMxENuape8sb5y/ZsQfe/EimsHOUQq42iUkWj0O7frgpRpkwP4jKtUS55QXPNGw07Mmi7YhxG36kmVdCrl1dEt7VUjUCD51tMQbEx9mfYWhelElEocYmAoFI+O8Lqhf6N4Ls2j3s4C8dUesWsDxnhLouIlP7YHsHUjDQSYH4/LrYfJjrwcBSQdvYPGMgh90jjhAaLKGXvpw+4NIpXdoCnddvVQsl5l4nuNJMLt8znWcukK1kXskHXiUXUr7iu1sJTSGUqzNR5JD3x14uQV6r6ZK0FNR7IscnHrqT66rYuEg08cSg26l8chrkDnJ1O6F09ME6zlT+9L8Mm+j/QuNY6IfVYEZv8H7LfozB1ZhByJrXEOorRBpNRh8QkBTmcIzERbj1xC3aHk6H18w/DKBH8MW3MRMILmgTdKAZEy6GcmGO5tMBz8KKec2vQ76ww38hMgHjA69SCy04cq/vUUPqgzyGOuZmxS7jEeAsvFmgJmhyTRuVVVgzyXpYBccjMqPwowgF+RnU5grII4Nm1BfiWXuFtUThpkN0LTEjEUrh6vtIFQhQRw3CSicBcC/WjRd5s16dVrYae6qc5mbx5qjRLhrN9FEsHOK98L6zf/iPjB6v4hVctmKvldLbbuL+9dErHpdEgCGFmBim6YsJkSNsDBn/l+Osd9wf3xWfNhrtX12VMSJJviL2pbT4c17GT/vj0NJ9WlMB4Bkbe8yHbwCKzFI7/MZWrRnBBTiD24hyyYEN7Qrab6rgNaZXXRYvzQcjFLC/92qmFsv68SacMVmYuapNFt+TtKZHdSNJJSJ0m5eWO/D2oSAaig2CNnApmdM+06ecRt3FgLUdDYCbCntAQ2LSrpVKFWO7DCyLaK09ZO5Riz4vk2rNzR45Oqzh6yQZqtPTEIABiUN/NNMUsx7Kg9M+sgEfvdJtLZOPEGlf1E5R93kmHLN1JhS1eb2scwlW4sBM6fnZ2jZLY0Sa4PDY8yXSlVKJTzkrkgvnOVPy4Z6m8dv4wJfFKij6rK6gkQEX2ebhUwgeOrIcnUBh7YgEMwk31fMC/t+/sXvs6MX4ARgHIBG0ZQwZTkyHC4QLmJW6+F8srZEwf4qypmu8C4R9Wq9m/pEaI85231FW34ePz4ocpYV/6+ZgADlRd4X0Kksh6GqFQzB/A6DsT8F1vxZWFCj/upWuH8V0QsltSuYvMGLUSXF4RmAkqYt0Jp4NT/Q9Vz+Y7I5XBEdN/S4rgevT8NyOZ+yHQm/FxNvQ8AomwFiScc4qHabgwhBUEIFYLmPfqz6OyXEXZztoTme0ty4RMFMV2ZxlJimgp02FUfPhkv6se/FTRS0eAYYzNRlcsN/AtoI0FlR0NEUCg0zick7MXqZ7WQiSxQPS154qGMU0XLDKHVl+2kmUZlaNlyne9NImfztQO5V2hPQA5sye1EoMK6lOmwXvmpx7H1SRoytsAz8j49IYYe4Fm0meRn4VQ5AJ3s3rywhxbC9TaHPvjam2ViCDQsd4fxVecwaKnfUg2+ct25kXVWHb891jOJ/NUweKqjSgyJRv72lYt2hxtn+iU06StwwC24j26HsG/7yE+0THCCcgUwHMPOUSn4eeH9ZmuublOlB2zVVTsEhYoLklWQ8bg3j/gy2Q0McaKWm0s80lNO3Ejgb8Md6q8V4Aqj8g8ANnuN0yaqSlrnCAH96Hgqd6Mj+gqG2IryXmw2hpOAEkcRe3ftcAi7fyZuJwHgjlcqWwo4VIjaf5ZybmfSQClLujB+me5wuTCLcShEE/fXl98cs2nfLGWSyRiaI8P9mznIe5pJFWtf+XyKLzQ5B9kB8FfwxPs7Ju5xEvT1iP8oSxMLS298K2u47iV4y1OvdOcycpHanCqeW2iP61mTY5PygqMlzy1VCB0siL2Ag4wwS7Lb5ZnnKcytZLX3yEz/TcY9lfzLOvc4pfO8ePI/UZOIf5sH9V1hbStyXEZXemwCvilxJC5MzZ9aJVd/UJZZs4/35PqOgvMbfyWElNxSl2smUAXuFjqrGAvIeIi7+DTa2aNxVcN71cfZHnpN6FHw/W8rxg+TWKF7BENn1x2DTypAwBshXQlRJP4bjATfd2AMpwdTUVofiptJjVWFAHaPvXPLqFVgZebUmaJaEqJjc3gcjYGhdiZ8uCXSdBl7a5quMP21rVnt4iNGi37LGPtXVBhaH2Y0pwNWLhaUyPRPBl/7Ei43JSdY5nl+V66mrPbBfOt31AyoTyQzDHQFLqN9qOSY+fcFJaaPCyigk3a6RMhZ6LU/D0V50+rhBlr+Ygn8Nmx4Vrq0e4Ml1/SAwsrsrfWXoTSDUOi3kHV7q98KfPaIDcGyDqbnukltVckc9/wQtFIKeveDH3ThWPguz4PhA2Q+FujlyJ2nGLplScUdMBsSftEQo3rIbDzpPMmle4e49YOLRh1Wv1Y7uFPXubYR7Cm2G6Sp2zpsSOuJrHQ28xzOZQYdZ7aoPqxP1edNdtYOO70bM7VL/etDpb11L/5PYneWPm9LUn3t13kVG2u7fmXSPpXw+0cikN56XlO4fhZqvzITiy6+RtOnsd/IA7yGuto36CiNcsPE60Ebkfhm83RauX5e2RNkEzCjbqKkPzyhIvR9v6OSxD3iO/fgmFx49MvlfULbXSec1sQcztSK6skvXIwlCCQz/EHRK7AViseE0bYXh5XT93b95QZ2aEpP4keI/xh4ijvZ6cN86Ya05b+rqTVQ5jGlmd6xf9cfCw64dudMc7Fa+Dd8PlbAlLgw13IKyueitqaEIG/hT3wpnjqu+6YY/iqau1aDHY0yAXxZyJYqWsCiMlYYGG+zzIbYRPpfaNZVGc3wTj1gH3IXTs4Uu/tnnQjexvwAzVfLkIlQtAISvpxOnr9iqZ0SENOy+YoyOV246OZDkcBp6z3FqD88J0bwlPmHjF55l86qfXRg1l+OUpfnqFeLjy9qiyL5fPdFa2qM8oQhsAb2GoqEEQxZ1ZgwlNutohxJa/fjZhh6t8xRe32TguNPQu/YAU13XdAZxAhvFF9S5S/He4pThWp2jh9FdEOfFsd7R5TC0IMDoTrJcogZFq0mjcBdV+dySLgBwS6fnaCKDXIoDNTyefdvtDcIO4x3dUO3bdqe8QNaSrwjjdx+r6wScwD2RdkSMqqLxgv1I6qaIQUme7tdcbgJ1w8bOE8q3LHdoe6YNYMXLs3I2MMcP6lfgifpNMViRV3CeQhJEWbt+38BSSI4doGYc5wcs8vx7ncv5IaF6BPsQ4I/zwT69aniR4j3AsRH47ZgST3a82m1qjAZvPg5IuKwspuT2g/2ghKUNEAIV79/bEl+StosmINTHQMOxlpXIsyBiXdrvU3v14uqDACDSLCLCLtXCxJtVU1gCOMZpywepkneOb3rObjcD6crxHctbwmGfgTLwL6sxTuvLe7epsG9btLzP6nnR4JQeQXMV6HCLdpCH0FXwoOW13ptq6VrjY0dWbnmVz9N3GGIY5EL+FSPNU8N9tgFdzp3P68SlJ2xrwqOgjrlLk/RE4MHh6n2pecgdyiWxLWh/2oljbuzNAx/QCJc+xtrl8e/INMNgeR+45vaTUfnMWapbPDZMfqkzkqtFPl7PRQGbN3UiaqbpmXnAXhsRu+CCnZqeuorkKcafTsaySH6tONFMweQfUaMt+acpIpy1fRgZqLgeIV/tbU7uw1Z6D7QQZKEVXKgGlohANYwezzY27qrvsYO3u1i3Rc1pm3QNfKWWpgqoNqW9npgR1YWs47JzyLSfHkT1yGKS90Yhx8NITqwKaXV4orJfrq2CPgstcPZ7nFv66EbFJe9h7+GN9AMwNO0Fm3wt7JfvscQkIN9hJ8zUZuBwnVaGkde7seea39a/j+WHKIhGdLl1QPJV6KXKvpuzcR70mG6il8UAKNFi7y+pe0bdwn7DqDSNIep6v3dccndf6ShRbEXMJ2ThLTQw9ZsQH5YK9l2Sj+p6O5AJD8vPjgkupO4phj4Gncq0xiBYc/1QMj4R0t7pMTu6NyfU8XP2qFEsnd975mlAC+4euvqacO4hzACxCTshQJHth98PptNnKrwNpyQQ5WDVOZ+eu1sZ4EkDGwoNilOOI4odi5LPfJoLGP0KlaDCC/FATeFplYjlYoSFB9YEx0Ygmg363laqsVnf18gtmBa96N+wnYNW5Icj8pfuKPR+DLC/lQMvzY8K06tdzF6B+/2zLABREayDMel+Ch8cRyzgxFKxmwX7eFhxzu3SWBH9BlnRfmp3L/pgCL8XwBCnST94Gm0ZMnapOxJ8ZAH+vVpKPRCiSYVtQT1lV7PRZxkBWcHhWJr+cILvnbcb60WsH27b9wUuQB3YzlnVDbnm2LCKumEKNh6zouDsFGrWw1JV1XDxjhqYNWqpSCpCcITKpunbJQAs+kHXB6wet3+T2CRIn82UiuaYVh7TB1VPaxZ3j6kPh5rDlkH6XgmEUfFiDgBipgk5lEIoLumDV32N6U4EUf7BowLYfGBrxidwcTnPS4arPBCWvimEPXSxevJccNLjkRHKDP9x2tx0kgbLKlIAI9ua4No5Upmq/CsHR+BwiCKK9MvEznsd416Fj8d0GwUMXPPjb7aVp+1wpmYtvR/bhiFOV6MaKY73qlCShU9lhIOHUw52Mg3SNcLqZFQ9EjU4Y+r5ARFNn5B/Vpyui3f9vLVypz0L8+4VFsrm7Va1l/tle5vFRbgNVJ/CX33u0yeGkL1rLGCrvVcsMRBKMuP8kUMqWiraMtzwDe2dEz0O4DDPPL9Pzd9NsOdSzd3lttQspw9pS149A6FS92J2Uy7A8GElb3nPXI6+yAu9ecV0dQV/rLaBjsLmllCTb9hyVeE8bx973sc4mBt7hkL3Oe3ABh5RN6CY3v6AVPMVOEFFhu0pR8dIMLhWA8J2S9C4zrND/8or0HEeCRBxocpsbr64ynP9zzvVIRoOfhiZ7n07WVCMXHn/g21SmSpP/1C6Ly8sIiesgGfB6YfOFiqB4QrYGBIZncktLLac3t9xty2tmrHknpxGI673svb2PtlAcahou/3JH4W/NOo9TIkKpfWpQc0qFaIHyWHek6pLvQzRVeg0CL/Nc1TlQHTvEgmQ+kuURENUKMFd1yZdS7eKWloQS4FPbKhS4Wr2a8XmmsT/EUVB3qrLHXtRj3ehuFqrwNJNmeKUboCxfcu2AXwOXYdU0tC0BiUnYMTz2CG4lfv5SDIW4KASUXm+3y2CmQcCyaxPgN+8jRypGd7Se5qfRagv30btUAyWRj64VJ1IREe7/iqcXe36sW309DMX2BlZL46VvjUB7t5x6S+GhKvLhNNVMTCiUtusV5oEzgE2GrwI4RVsRCKf7m9ID1Ais+4BvoYBP0IKXkdMLjBRqukjiDnHNJbV3+o0usJP2cWwHjVq9E2cSOM7VW4QAf3vLuwM1NAiac1ND+bIWkLfgsQiQJtXt9xu4LRsRKLnMoe9oxpNsxJt+onGQgjHvomt3JnpGodqwrEFTGTafP8kpXs6aWWxrzwUPcfwossETC2xXYkEdu5jTf0AGDPV7lx/0LmXR0brTokclBQq/+xMjf01Rj6DhtIUhVgHupIL3dLPMdAgXk3pgNNohTU+l9VGnJXE5sYLJmM299RlMxwl4/CVQ7gl7d2n0O6drHL4S8qDlYO8hihkI9YhABeFDiyVcn03V0wEHBLtO7UOu40Sut6n2K2ji1i9GLChS7fhmN7VMsi+kZNiDORNS44Mue1LkMofziMm3Itn7jXSqf827J95F7LLyVESEAiQ2lLuXdb+h5NYN1mdKUjyBzX8s0VHvxyOqwYFxJoXN3OWC7E11vTyCMe2RtU4xqbb6dS055vHCQ2bux4k1uoyP3SnsGJE30cN+1MrjDrClBsdECfFEvcbnjJDcjdLX0EIxq63j65/BhONe/EwFPdWWXKliArM0tpiNgWxVv/s90+ETPnJukHVJII1uzH0xjCdQzkM+LYnIJtck2C6kl35uSkx0PvB4VBfekKDjUiQmTVhuDftnsQNqrAE4OBAQeb5n8BmDRugH6m4AfMvk8zcpQACZd+OtPFzTnFqewLv2K2if5YtMX/oSRo0nudc6tMCNel+VZeykyoP1nuhxS/ujMWgag2Wge21e4Rr/8d54wNtPfH35te30c5DWp3/dUwMotO12ydEXx1eHXvRZnjlesvPPHxa5kFBvBDEZfWEWRot7so8Jgqqe8flAzh/IHKepVAwLWwcnKihSfS3i/ipffrgLiOvuSyP2igOQ8xQD0h3bjHo5FA4F2pFWfgNzZdtOlsdPIBlRvQacrALayHtBEnZkPhrMIi3C0Pwy1uiewQav5lBRVGiIaCRZrpiRGHDjjaSbZSVIDThwNPrGMughhAAy5DB+Q8vJ967g4zgJ3JlQd/kTBkJebNS+YyigbMhLNkH8sqQz1JmpFGW9DHaR2I8yqMD9yAg6qTJ7p1Lcd5evhHo2ZgyvpZ5NoLEYesKsrYtKmIwNr93YxEXnQvArrS+8TITaEODyO+RpstTpi5BFsb9mNDgcuWm9FsLcbiSA3uzNkQjG25GkrcHTsGNaGNtgv4Z7H3C2nm4NxUYduMxpEmGT82HdGFSUUHCVClDaSE18mbNiz2zsnKeRl8ScWzyiF9n+NIpeAR9hyDrrs6NJgnoLohuhsbfqolecvxoGlrBDFJmZeavpyaTmsRC5D080EU1RED5HPwkrUnUik52C+fgN2INlAONOjwBl6hQrN8vzdLzxV0EhdkHY/XRw6mCkzJgT5bTVKEkTeT5aO9V7m0nM8/pc2xw/VxWL1W1lk8efqkIT3EhuGrq1EJtxzSpkAlxj8cnkRViJ+x37Z4oTFVi/u3LVpsIIu5MqV2v7DmS7OaLn5Tzk9AqHVOaQ/QccwxVDDaDua3j74ekyE/NWaWw+ofJfTVzjT3CzyJpKT5+bJHyPFTf/Q5I0YcobaWWl09RWSqKrRJLVl+dCGVld8ym6k+XUXZiDiOOz4wrAIhdMRlF1ktFdkHyWStt6Dtnfm+vjzY+4LqVZgzGIpvKr7LXT19cPEaYrjku9Qt+ihZbfd33Cr7ym8Ef0SM9dTKkB6BncFk6Y6RjgjHoJbjLhgTp1Nz4df9JP5TLgs3yA7YFHGtQRXUBrxXJFY6z53zJJKNWnOkGsr2z6tZtdJXqPIyYEjdFXHqXTE9utGZbORm0F1dYgrscKxrpDcJ/Wxe2Y9JfXzenLO6SyHrQHJKeNZ1u4sqQseKA6s2N4tySV9uvW2+BrrziAueqn/bEKfFV+UgmoCyt5la96YeJnLo0JtKLSiMmC4J464sVJ8RJ0+c2Pb0Xq3vjjqLpf41JGlxSNOpL452mBybC3FUQCfud1ZRgGuzPfauKwK7a6WFGv/R9Kwao0qKe0eP6qXgvWRRArlZ72ZVZe5Y+nPCSNgQlA3RIdNv4jUVmBEIS3GIQo4EmPBxuuqvydMHJaYEmVvURceo/X73xDTRUMNExZpYE2Dlk3WUVPTHY/jvsznQxQg995GzKEaSUKrKPGpZHJlYQjuYXy25x0RwL2glSZZEAo2sxumD1lvP13kRP3L/xY4jLusfegfLewNjLETUz7GGaMSKqhL88a8BO/NB1nzrYCf9AXhKYuCZRg0yh4CubcJQN4SpW+GcqiY4f6gNxIL13S6MPxkAU+N7MSuq04eyKvxIE7ftwAUCz11x71Rz0puP1X7NjcYwu0+wpLgG6W22fZXaXTbpUzbWL6X6s5I8wBb3obL7bRexbXGTMhkwDqtMR5IDDCi4hbuJT5iOd3NJ/W5evSqm8Jwr4UcPpNGGq8+RI2x4TVozFlAd2NwUG8mebZ31an9c51b7e582rWRahjcL8x1xQtLtYjH5OLCmDp12fIHd2tgZ3WUrFDjDa+tgmF4upvXgKkXYVskIoWzHwiIIr/nVzZ/isb/VPKdVbFmbPTUpapArD5CXGmjn/uwzGCLh2IVl4YTI6xBcwuyPYEmMFJpBsm3HYTLswR+im2jCdMVZeQwcoQw7e0SzPZ6WIqMB1IZLaKBR3Kx7dsterxMf9GTIGqXoPK2P4XGb5vZ/SQR5kDzGUKvzG+Sno3E93rMFUJIX6GxE6NnJHvfo3msgJEE6jBDh3b4WaPQ1jnqC7VDbQltF/HteSuldDFJJNt4x44tJDoQ/KPZH7b/bhTyIPJNPREmoNZzS29wvyTh/f84O+0pYez1GgViastH12f+N/Y4a/uIDWd1T5qBM2KkrjOFO2o5gLo+A2T2s4UOTgMF3ub6IZvyCU39lvvQVNe4BCEuDpzrCRYT8PDHV3wlOulrkTpm/p1z2L1INIGxurzoeNwv/UtM/O3e/wVvhvcTnI+FFSVBalSg46U5NBec2afYuOdi/VbAz+cjQBGxsjCWyUxI3zyp+JgYcz6HXR79T5OjL4DFpN+7ClvP1Hnv6w1Fmnu4tHZVxM3GpvvkQLIYF8PgKuavYmNKtfh43VYX42a3Ft0HPbf7qWLxT0E8d6TE46MTNuR9dVNL1aie3+FqR+wRuQZECyjg+a7X1aXp4mHYgl9nE/nDDXbYUWrDTKLaLT8N4RN6dIvzSXh1fGlKKkLHE1+PMZtDTvCaP5wcMctNYDm6nm/bzFiSBvkFeP1+goh0GuzO/t45tgqROD2UUI7dwXW0JjReo8EeHG18Ior3YYz+qPbWiuBOpHwvkkNCLt+pfuJ57e76sU+m+InogBAY0oyc5lXWaafDMofWcPCBEBB6+u94XTFWmDZNViSNjLQBr1WoJBlQNVatdbbki0KnaQbS3Pr9uFzoHz6UepMyQlojWuJSlR69RD5UQQfbvIT6UHsKw9DYoqZeW1zcYVosQ6O7+WTfUBJR2j/xEv3Di1CKlgtWRBZvAu6x6Q2Lpup9UgjNPFSPW+NoikW+5X6MSbq9zYfx3KwyFQ/UVCjP75nEo8hpsSnp1VvJFm20YlR47VhKgF9VGdoUe4ldV1CXq1QnVQUdRdxkAEFvq5W03da0XYcDEb9TyIgeryH222bwG3m9J6FLUNq5DBqBHoOKRuSD8DHywMSat2bgxgeO6fxmIByjof5qecPOOjI20c8sIFi7DKw2U3r3XJvFPBVeXErnFDrIfI96KykwLFkY3Ifl9T2YIEjTLVN5pFKQMMvaHXLmVRTeaUJwd1LBwGOUb122KQy4bpQcHWj6G7JjboGmb/95FgGciUzAxSOSs+rYsipWnUJcH9gAmMu2xIsJFA4Y/1MwKYIfcANTSFnQuvqFJmS08xIErUsw1I4k3z9aziE5qiJs8rHxRvtcQ7yWPXdHC9qacAW5ayxspP34qw+bOqgTES8+1D1xDs0XLtCc/8PHcegmJSL/CIkMmEHOwPEnWXi2x3HG+AQmdDoDxVQdYGyDwCV+DSXjsLiUfWOLHgooUf1TMKuZaPNiBisyo6zMhp1DEdiRwsunma5bic5Me4yCawGNiWcH7eC6GMyEjOb/cMupGI2oLe0f8qaV9H+uhuXOblRDC318ekOnNMAE2rnCXMCKwqcCeOSMC0J6vpCK6U29Jabvh1o9iJD8bJa0U89gqdngJ/35+fWQ9SKIB6ky5GxtkT59ZZ0nmkLFoS+E0YPc56zQTogQg1aR+yoft66a1KFmfsuPj+LLgWW1EY+fP4rtvCDw9bs3jUdHu9238lGvoeydgmg6ZeFpJLeogMdTpOdek9ev+8QkXrtknzsNvvuYMMz9ZMwqCJATgFgKnqwzOJJAJDmANhOSPm39AAu+DorQUTMO/XAOGZn4xLgcG5bNoIE4kxEEhJpYsHlDH/pjvL2CVHwVHC4WRQkD5c+GvyS+wVLqPUJh9s06OevX40QAL9qTWCifcBR9BYmz3qlN1eHEKdwx+FI2DRAgpQfV2jqOlsSv+CGNTCHPhxDeyfBdHHtXXdGMQsnDJ/INvxgI87PBE+vHieAt7WMTLq6viqx6SDPjGYEy+6uzyO6/PJ3bahYhbPGdU0rIovu380mxQFMQI+zY2Nxp5uhfKW/fWGt/kuGeWicaqAwNkp196GMz//1I1GoxJ+wxCgVoDBjCYx2q2zrXGvRbpxUd8cH7sFnxyS4NhcTZb0Bl3HrRKuRjEPWRDvnFSOnwH0aJCndYDITlYs4PHRrA6CzqHpgGmJzi+AFhsXkLYq6MqM2Wrm/ykH5oujjDkOUGj2E3GjqXCqak0kuD/tAOnNHW1HOif8R17Eo4UCNKNRhQDU3fQIjiHWCKrS5k6zJxpnkvoSSSVDwLRMiD/bXaDiZvepCg06Wc63BTHcCKtsvgdRcfEIZRql1U5mKVwskFawuPk4uFmrdCGpXwlcHOHTebcJYefXGyQamYH4sw13plbpvxfdyA9zhVgDjBtYcyn/twdScavJ3udmMuHAvWMpkQ760KKyzi+cjLWZUtIzb3NyxtnwOJWds2CpSyNXLyOJgvPhA3W0WlHdavl36y3Hq9z81pWDcKqhBQr6XWNGwkwrphMQ/Qe/gufpeaiHDlbHmH+7VpwhBncFawQJrow6kbHe9/n2M86vGD84uR5Zh3YuGH7fiQ7RH+Zd5rOZPBJAOSiRpXqzYJPgbRZ1B9Ue2zl/Qaioee5pOhYU3c5BxomMKGcv0zUvg2mqlwD4czZ0HKE5fNprjbHSHcr4lDK8mv6k/eTa3cKbv/30rYrp9Zc0nCMKckKJIFXHS30/g/MgjeAFq3CZzzZl5+sKLUGZdGiq/ArdSA3jHVaeIUhUXHOEJ34T4E8S3eWEakDiZJHnVg8klVG5fRF5Ap1+MTqjD6e9T8qDDs1kj+ghfffzz3UwIvNR3id4fZRfRV8ppAy1O9PK8JbJtClGI+l3XM7ZIGuq2dmZg81604JLTQTTxMhO8qHwUOM4N2lgti0UCINCYa3g/osvSUpntnK1STkKpw5p1trNtwPt6XnwzsbTiBh99k7idj3iT0rUnUf8oqdE5Z3a84AyLr5lT0//HT0BDeOx/meDrCrZy3/6g7a58aR9aKZHqP2KznEEM3wuuyKU4/eevNVFmAGnhQ1joDv/7Re0/Y7/4IOF2ElZJZKTmK1p5ZQWe0/wtceCFSukF+mZr7hUCfj+WwbRwJyDImOAoW4KalTEtFBoLkebhK/dpo/fZHhPyoiCMmoXUQ0taehtldXHqV3Ov36N3tfxNgML16VsaFJK8LEqaGwgNujyBfCF8T4kdenMcHZCh5ts0CIAgDS64leHDC5IMEuweJQ6u0r+qbsszP7iajDSaQL+DWZk5ji3ZdLuO24mBg4wKKpBr8oc/L3UAL3jOcWf+HCuKZWLMf+f2DJBHdfsiAnZTuroIiksZ40Hao+cyY0Q8u7OEJpfH3umwKAgDtWcA/KAXSWoagVRik/Vp0m5sgDAfOKkcDoqsQWHuhOSaa1TyfRnNQ8fghKBS6iu4iJVYbhvLny8nxYaRXx+9RSjydbenT1QSx8aLoordmLReMmg9dJXSPdsS4jNfX3qRFhmRJKWlelZ5gDBZn1rbOYBDWWUXPHro8V7dPVmVQZPMiS5wMKuucF/HyiHFXRb2aZPYO1/Qiow7fvGCg5T/HV2gfFFlovvPeQQzbWEpV+K0p3ZrnPcgXvQXPii3XK3jzDwVVhtpTBepEySUzliiZjvActdNFEmM+GdcBT0a0NUXMg/+z+OX5VppSEK72oBCb3mQ4cFJJXecRzImsyn47k9I9U2HTexgYdVhXIm2gZZmGiwJ+z0slgUMzB2SHVRXTiPlYDTdglNWHrEA6o/CLkB34r4zU2lebzIftRla8HZz+1bhrsIDbPASuwL2NjnlAJquMGV4JMaC0OdFXZ/n1Ki6nzUdVq77XsIGp+9Kd0OnV2LTraUe7MHdPdD74OgpJGEpghLFpPrBhvarLlXnlkephMoO0+Yt8N77DJOWFdlwezjA/ZEF7lDgBpGPQJoYoY8yc5GiXGAgJs1ctyQEwkcSlbAzC/KFH/rT7TB+lR8ZLSNVO5v9NI7y0n5ga+lEvI3iUdJwnGWVD30/yE81X98Sdbdc5iST0Xhyu2IgxgpG5nQa/9IWQ7r2IkABA6R4m0tZlExqSZKyjE0ztQSlt+4aUKNGNG7bQs46CbZnJMW3io/E2Xd4/sLn4CxCoDLUy5xbDjzqfHzvfFbjzVLF1bzokAmMzGh22+YiXIKoOXgPgpAP4EZpOE4+Zeq1FD67kJdOSKxLcozH/5HjY2/70ZXDkOdd1V4QQo64AwKXLenmeNn2rTAvnjFgF8kdBSoI3Lo9W3mXs3mfNugc04l0RQK81YhinSvTHQj9VIb4bgbs9j+gaeilcntpWuNtbNSB9hLIivrUTzVgBoxeKfbhquZ4nZidtiOdYjidXoaUu3ZMrwqC1OnglOaNeOuCv47Fki9K5umXrbLP7Dq2ZQbEt+KSn2UgEgbN9nfA5VOc8CRsSJy0LtsNS3Nbm5HAp7RdUbcoKg+/TtsM7GivJpkuNqKlSeYgPGc0/Kqzsr2oEKldK22hsd4Sf0Ud5XsD7Xm5lwlIij2WSggGI3Zr6Yktxp8b4pG5Gw0y/aepdJ6RWRofVgVA8Qp7r1O+Pe/0WWYH6zmeLvsGvOaC6o2hjlxILwGqQlI/6TYaVoJD01544ZfraIeTMf3+k9KEhM0BshG451hWQJ8c7M/TMnha3EPVXsB/uCQFAiUv8gUpwS0stW3vdqrIf42b6bMmMcP6ONXygAL63J4blxTBS/BcOApE6OeVDCQY8QKN6PdtDyEwOOmhlgxiwH2VatYyW8NHwiddJPrklA/EgahdjHUrzECGHDYfiEEPdS64FMqmSHnFKdFBuzomUixvVtAgiGuZdNiGkaUtxBl19fewbesuWlfjZemVzdtKThn3g10Za2tAD0nED2kJOwJAi/pTqSIJOKlJMp7SwR4h3qyglHpbrHBzxSL+Mj5EbZT3DQthfZPZ3qtl8z7KFJj/2nnC+n9SRoOfavSOEZN/39jyPdLxbBclMuny3OPk63XbLGAXgS0BtkP5eNOuBZMJKbCxP+Gw8L8DZakqXOuDzOsGGKK9KX6s34ynN6WzT6FvVnSJz3vR2VQv2cFd1EUVoXdZmoTyf/DWsoRMwvfsKzaq2qy+IUD42pjk5DGSNkcLcPKCMsuLTFBGHfMbsoB7zgEPK057qnBE67LD8inY4A0oAinvGcVtVGzC7XacbQPqrEMCKhGjPD1tvsozlPManmIRFZKzsKi5VSSPBCdS9FjxfphJmoKYZ1P2oxzht5QXUx2kOgFzquEHNVrUsxj2YrDsv9vnGBgatvC7Y0YwSMPH08cJt/LkQeDLBSmAh4r0ZDuuwdx5E+ZytaRG5cfOeIDuR4kCRBpn2RjaXT+3xQqwhOCWIXDnuWmW+8qah4KO4zMLO9q4EB76027n1IIINpv8hJPxs1bna/EbDSPu2p9KSnioNsj14ddgeFXKWjQlIgrJ9FcdpmwQCnmoG3GXlpY10pvCzSb/QHEI0c4Ei+k+OHiloKsyGmjCSRIKau8eE7z4TGPHGp7ei21rbGpu1438gsOD8/4O+6PSbuOMVJOLDVZ+EMUQ6iFEN7hEY35DggHHEArJF3xOwR0/hqom3R7dBLK8IkRznxjQalxibbo3s424jEN5FQ5Oucl9BGoCbU0853VlGw5kPFeCkGc0h7W2m7KRHYyANhAaGerPPbs7g7eyv7QGeLniGUIZESgmby9Y+EM01+82x1wkE8M7GDk6wyIcwrqz5AdQyM7uvfutySeIWnJyz6v4ZLp2tFUkoowE7GG/crNEcvXS5Jo4opLvnUPtWjE4Qt5vlSVbr5F6V7NaIokQh3tU02wCxok6dBjxz/j+fKqJXa2JVUe8DBYX0FA1W1fo83k4oP625yoWf7F5X/6eOYjqAR3bMvqcD3AD/foKuZqtO2AD4unywa5sOJpgOYgdungPSyNZwfMWh7vZC6/FwnpeHgDOrassexIGebY8bcnV+WE0B2Hkq5DKTWZe/mHO3VQOPKVnkqYRr8DM8FMbFHSEIbT6J7aFieQjSZiYhrlqriup2C8jmnFN6mtSzpujsmcjnj+Oepq1qFdeFWN17SsrtsE8m7kRqfsXaST2zoUx21Ic1D2L4LHa5zPSpF2KbKwcl2CSy2szcmDZc8zMIeE3wZ3eKmdUNR45SjbcG3gLbuacFSmHp3DVCEK94oe/FhDH1XEZAcN+O/ofqehV8oJOhzliO0ZY9S4/MWiknVoNLabrOsnt8nZrC8DbIWfOCegyWENChRJ3uYx2simfDkuKboNlJKtq6tWJUFc9favvv/W6H+1vbfgkCstWSC75rS9x86Ltlac5FMb1YsuIxhzSSAY3hTMMya5NWppShl+blBqRao/rRfokvly+Vy/1Ol1jFD+pkuDSo4RXfYFurXoGlE1DT0hWx0yp1xcrs4grbyNQjaoawqrZTonS/CMC6uM+vhM15i8X0SGz5PypQVuLVMW1I6KliEYEndR4IyHIA26bNvTLbZTVioHzRPYG0c7DJRs8Dxd+ure0Ds1saKGMZmHCjEoYN94Aq5MsWJg9KJf23B0lMGCptilwsEaZw3odZlsoTw7026XL7URAU85P7WsraLjryBnaFLXfDPwQL63W5aMVHsiLd6PqKHKveyWJAwFEOha0Msjy/2Hwb6Cwd8mCPgZeWW4wJIoRCfKc9Z99A9eyTp57tOMGNH0hFFQj0jWl01B05mnhIZeINfkEU7GegoWVxxJeoBE+EnPQ1cwJQDBn5F1Bx47Mr8gaaY6JGg81f0gAFCVHONvY53QTyyglShF3edrZrOkTupYaLm/rlcc1rw/l/Mque6u+ioQM38qOrBpdehFDSun2tXv3sx+c1jr06T7psrAJe3qUaCAYfQYqIqFkOLgpLrycel2hHuxnDbAM2hW6C8oxQJb0UvjHy/HANHzfm5H3UB3vCwtIEniQueQia2DMqsFk+cgliHJ6JIevLAs/8/co1/h5HpMnQJkhJ2e1e2ep3hk83uDpSuDWiNZL8kskW7chMktkoAR/23XoQOXzKoVr4UkgNWyaaggkR7HOQGLzQUf77z+2SMtrVW09DThbb8bbIvKtZHgc/Z2WwL52JiFHp1omjZoPD/SJ28EKe40I9+52JtkJZlar9LpNhFwmbDcXbtqRq9/0h6zsMLaVB0mM6KlUScqB3s5RJaa65a1ZLl3yrwekuofiq9s0ftPDROfi0WKxxO+pDkaZCyHbPRi8FR1L+Aa29hogzo2c3pDlUKY7wclfV+MOfbpxWH/r2An1GtUrawiTQUGZJTrEqC3FT+RIAD2nRts6+aUxyrI0jopQt0nabVvwyiTZM4vlgKBcPjn0M9qfRq+udQg9vyrhgND+q26fYkGRod7fI5D+704gWAEmNBtons2gp7TF5IMMsvriowmIyR88Y3UyuZ0BQnhoSkshDR9gOnovnY5MTtS8/O7uNOk9ZA+NoAjUDxkBe5fbO2bFrv25MlvrS03J6wi/QKZf9jCrG9dsZVs4bWRQ3aGz3FRaLrTbaPdZpdvwQs5gjevqLCCqhMRQ/LreYeeHvTFXtrHJZwH/kkIpeXTq1WpEGcCPJaYhT2VmkgizQfXaMm9I5bfHUgcIKY0AhLNpxyIBu9NM5sfMApdJEe2w6Owg6XkrOZP89P/Q/jM7OzkXk0SZqhAYYfBTN2Rum1WeOpXqXotvCCIoqEPC6mzN5Jm5Jx1p/6r+tf/OqgR9pUYuHNeIxei8w2sux2W659qAIDV7nDhpXf9BenQRx2NiYEXMlYZ8ho/jwWZFzA8ZjrVgaELxJorSrJ0n2dHXPboZu4LOPAyVdfq2w6JGvDanElz87B7pPOJAEoNqe9OMddHCdJ1HcVDMz76wG4EfJjRBK9OvO/WM4c8pxcbl7NHT+RgeTXRgISkoTjYYMxjUfnJPWIkgp3CHYzWVqWoPbGLjVV5SxutGLdiF0fq2rGbHRMnqRJNIX5jtE3uuM/aatqF/HQH0Pfc/HPqxPeQJ4nP3dCR/z1ANwnRoqlyoCF68BK1lsrzbAnp4GZuh4edU4RPVHDT6u9HF93bv9kA3vD9mr486sOTiYmMe4HUdCvnfesXKchpiKL+j8RFZWDS+jGU8bkX6js0IxT8aMrF8pfKXWNDTjBj/a1ubWrzYwIgGt8Q7QIM1NFCc3aW3QF/Jzf0yuLFXHoanRheG/TPwsOIkuEjnWmyLjdSX8Ueesps9dPe2STjri2uoPafXGWNiR27RWDkDQ1E7Mqs3Oe8zJ8shOmbw2X1kYYOjffhO6Ct319vSKxAa2+Js9KGkb9Y8xJm9wsz+RpxL/TgSq/wqjioe4Rkb+4KUcSd61MX9HcJVUV8LQoahqnavUzS2+Qv0WLnp9RO0UCssFFduAV/h9Y9dUXufQbnHLUx8AGc9uj/7ZEi0fvPZbzX1OIPTX2Us+dqKOtAWpO7hB4d9Az/5Cu2SCA+FYVQ6Wej960SbnrAm73iXwjeOUq3kIiOHoRtObhRKMbuTRh7CX9RdaCZq9SXjcdgOUvzmMldZuwoYWE3GFOjW7UGwFr0m5LsBtXs6qqxJPyCXkecoQY5iXaubvueR8Fqg7BiddxeBZjxX0WHBEwCTGp1vkUgjvvDivVPf7/IVf2942jrKSzF+DTdNHUrUMjR0PA7KLoSBHvke7ZOYjrAZv1LlIrEwDqnJhEgrDfITc6IobALKfUCNmfK9hBZAyLEnXjYv1de9Rnuc7jc0AYGZtB81S6BIeZZWVwfErSn3cVo3WYzmAKWKyOCvQJDA9q4kTRiTVe3IM/1wqn/UGwWRluosx65O1Q7MW48ciz43KUUObauChid+RqWOLgXXzHXM1y54m3HB+tl3SW4+mPytOKV2eDgkOeeAk0eCUh/99ABvYDiBx78KG1inKP2bpVNmKZ9fTWfNrSoQHkN5kPCLwUzBQyg0o5KLP1Nns8iaG2Cze/k26anKuCwkxtTfIkoFhx81bsKoyTl+GAi5QddgJzC1ObvPdAE6w01gmerrDDubZpV0W8zbrgHfrIWjkotz8KTVp+Ttr37Re4pZ+11NoPurHJ/KN8w2DjPqu0/7cD3Eepf4U5XqQIrwQhM9IfzoqlCWjPIkyEm0QzJ0TvzkqCSLidHT5aZRdXNC/H5z3oarIzzXweBC91KrKn/nxThNUSykC490OZKVq5PS6vLVXm3wfWLrlOId8NIWHiZSJ7+cEwHBwomZPuVrs6JmA2Nvdz3f2xTVUxOPcAOkESi9hQYJcTqyys5gK0SanRfbLIabNH9k4Q0tXndD8R2LDXdPbgpf5gxITkjcGObIqK3nqKWVo6vvf9Jti+W6S10eAna8EPhgyz5wMmGS0zeFwBTNgWEM0kk7nIUpIb0xO7/36C5rz43+5H6SGSj+W9XlWROw+yOE+WrkjAyAhFuU7Yvyouv5Csw5rdcRwkhH9K3DRPzltTBY+F/CTy9Hioxq3bRAUtqyIAW+wsjZxYA+LLXE1w2AuwBgtXxt8OwaPSxz0ZHmmTRSbTvINVBcYWMbK0Gfn2Xa3BTKKt3eWrQ0kovOfcMm9xcqzpTB6jEko+FKf1iq7sYS6ZrO9DJ+VRJljucraOoVafw20b38Au0+ScfMyDF10khqy2lExGUQQoTFfOzfS1W4ZC0B/KnUpIqeJ9EJPLnAk/sgnsJorD7AsVm/3UWVdzgcfHdSPIgMKLaQPcgKqPik50UmH6Erg86mg7+fZZPVONFNx376tUGXe0r3Bh53Ns5uK2rCEsBfbTUQwxCHqxykOk3dMcXKQWzQ2fPeaskOB0gzat7CE0ew47I8nWGWixsP3gHvxj64aBVi3Xzi21EKQYmL5Pkfr8Ab+k4sgi5Vs409DEFDGBHgx1hAjpTD9jjw9qJrRLerrHLa5kM8qJoAcp+XtlD2//OacZYfKnJoD8rCxLczAr9BA6XKu+6Qo6ZKb7L+sNnGDbgmmtYOOnzSlT5KdUrDM039GhgsyXCIYf/eavYXTaYqe6Zgqk1r/HJSt1KADex11e+shUnHzkP8cz8H+ClD4WEAKkmm9dTQwgfPZdc+T5iFIMtJFm5jpYVYAgCHTFsYwibXAuuGK3GdN4QbxnUdan/klrJKrrrWywI0lo60dgEJj5LlBkJ8cJrFbinISdP1WrmI7F76tcz0aBB6vE=" title="Mekko Graphics Chart">
            <a:extLst>
              <a:ext uri="{FF2B5EF4-FFF2-40B4-BE49-F238E27FC236}">
                <a16:creationId xmlns:a16="http://schemas.microsoft.com/office/drawing/2014/main" id="{C9710A41-F891-4DB8-9E90-2D95BFE396FF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0199" y="1807401"/>
            <a:ext cx="11517312" cy="431195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06DD16-D685-42B6-B219-2E283AB5B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Customer Advocacy:</a:t>
            </a:r>
            <a:r>
              <a:rPr lang="en-GB"/>
              <a:t> </a:t>
            </a:r>
            <a:r>
              <a:rPr lang="en-AU"/>
              <a:t>X middle of the pack on customer advocacy with ~X% NPS</a:t>
            </a:r>
          </a:p>
        </p:txBody>
      </p:sp>
      <p:sp>
        <p:nvSpPr>
          <p:cNvPr id="29" name="btfpNotesBox350040">
            <a:extLst>
              <a:ext uri="{FF2B5EF4-FFF2-40B4-BE49-F238E27FC236}">
                <a16:creationId xmlns:a16="http://schemas.microsoft.com/office/drawing/2014/main" id="{9A437081-7020-4C29-B035-0A33B142C67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Others and brands with N&lt;X are hidde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87AA2E2-CD29-44A8-8C01-8C3DEE9B1081}"/>
              </a:ext>
            </a:extLst>
          </p:cNvPr>
          <p:cNvSpPr/>
          <p:nvPr/>
        </p:nvSpPr>
        <p:spPr bwMode="gray">
          <a:xfrm>
            <a:off x="339726" y="1333050"/>
            <a:ext cx="11512548" cy="48697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y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you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recommend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provider&gt; to a colleague?</a:t>
            </a:r>
            <a:endParaRPr kumimoji="0" lang="en-AU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C6FA77-8924-4333-AB81-39E49BB88054}"/>
              </a:ext>
            </a:extLst>
          </p:cNvPr>
          <p:cNvSpPr/>
          <p:nvPr/>
        </p:nvSpPr>
        <p:spPr bwMode="gray">
          <a:xfrm>
            <a:off x="828977" y="2239257"/>
            <a:ext cx="1146128" cy="389016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btfpStatusSticker269916">
            <a:extLst>
              <a:ext uri="{FF2B5EF4-FFF2-40B4-BE49-F238E27FC236}">
                <a16:creationId xmlns:a16="http://schemas.microsoft.com/office/drawing/2014/main" id="{04264FF5-E651-48AE-8456-2F56F160D1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3" name="btfpStatusStickerText269916">
              <a:extLst>
                <a:ext uri="{FF2B5EF4-FFF2-40B4-BE49-F238E27FC236}">
                  <a16:creationId xmlns:a16="http://schemas.microsoft.com/office/drawing/2014/main" id="{37B9440E-D152-43E5-9A60-186AC7532575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4" name="btfpStatusStickerLine269916">
              <a:extLst>
                <a:ext uri="{FF2B5EF4-FFF2-40B4-BE49-F238E27FC236}">
                  <a16:creationId xmlns:a16="http://schemas.microsoft.com/office/drawing/2014/main" id="{4A7DECC4-E532-4F12-B039-017B99066E5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RunningAgenda2Level403778">
            <a:extLst>
              <a:ext uri="{FF2B5EF4-FFF2-40B4-BE49-F238E27FC236}">
                <a16:creationId xmlns:a16="http://schemas.microsoft.com/office/drawing/2014/main" id="{F782DEAD-3D63-4631-B37D-C5CE8B1614E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3259157" cy="257442"/>
            <a:chOff x="-1" y="876300"/>
            <a:chExt cx="3259157" cy="257442"/>
          </a:xfrm>
        </p:grpSpPr>
        <p:sp>
          <p:nvSpPr>
            <p:cNvPr id="38" name="btfpRunningAgenda2LevelBarLeft403778">
              <a:extLst>
                <a:ext uri="{FF2B5EF4-FFF2-40B4-BE49-F238E27FC236}">
                  <a16:creationId xmlns:a16="http://schemas.microsoft.com/office/drawing/2014/main" id="{2BAB5784-566B-4C17-AC55-0B3CDD2BB9CA}"/>
                </a:ext>
              </a:extLst>
            </p:cNvPr>
            <p:cNvSpPr/>
            <p:nvPr/>
          </p:nvSpPr>
          <p:spPr bwMode="gray">
            <a:xfrm>
              <a:off x="-1" y="876300"/>
              <a:ext cx="2122597" cy="257442"/>
            </a:xfrm>
            <a:custGeom>
              <a:avLst/>
              <a:gdLst>
                <a:gd name="connsiteX0" fmla="*/ 950801 w 2462432"/>
                <a:gd name="connsiteY0" fmla="*/ 0 h 257442"/>
                <a:gd name="connsiteX1" fmla="*/ 2462432 w 2462432"/>
                <a:gd name="connsiteY1" fmla="*/ 0 h 257442"/>
                <a:gd name="connsiteX2" fmla="*/ 2407711 w 2462432"/>
                <a:gd name="connsiteY2" fmla="*/ 257442 h 257442"/>
                <a:gd name="connsiteX3" fmla="*/ 0 w 2462432"/>
                <a:gd name="connsiteY3" fmla="*/ 257442 h 257442"/>
                <a:gd name="connsiteX0" fmla="*/ 950801 w 2407711"/>
                <a:gd name="connsiteY0" fmla="*/ 0 h 257442"/>
                <a:gd name="connsiteX1" fmla="*/ 896080 w 2407711"/>
                <a:gd name="connsiteY1" fmla="*/ 257442 h 257442"/>
                <a:gd name="connsiteX2" fmla="*/ 2407711 w 2407711"/>
                <a:gd name="connsiteY2" fmla="*/ 257442 h 257442"/>
                <a:gd name="connsiteX3" fmla="*/ 0 w 2407711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950802 w 1216682"/>
                <a:gd name="connsiteY0" fmla="*/ 0 h 257442"/>
                <a:gd name="connsiteX1" fmla="*/ 1216682 w 1216682"/>
                <a:gd name="connsiteY1" fmla="*/ 257442 h 257442"/>
                <a:gd name="connsiteX2" fmla="*/ 1 w 1216682"/>
                <a:gd name="connsiteY2" fmla="*/ 257442 h 257442"/>
                <a:gd name="connsiteX3" fmla="*/ 0 w 121668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423688 w 1423688"/>
                <a:gd name="connsiteY0" fmla="*/ 0 h 257442"/>
                <a:gd name="connsiteX1" fmla="*/ 1216681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0 w 1752303"/>
                <a:gd name="connsiteY3" fmla="*/ 0 h 257442"/>
                <a:gd name="connsiteX0" fmla="*/ 1904587 w 1904587"/>
                <a:gd name="connsiteY0" fmla="*/ 0 h 257442"/>
                <a:gd name="connsiteX1" fmla="*/ 169758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05577 w 2005577"/>
                <a:gd name="connsiteY0" fmla="*/ 0 h 257442"/>
                <a:gd name="connsiteX1" fmla="*/ 184986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274883 w 2274883"/>
                <a:gd name="connsiteY0" fmla="*/ 0 h 257442"/>
                <a:gd name="connsiteX1" fmla="*/ 2119171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0 w 2274883"/>
                <a:gd name="connsiteY2" fmla="*/ 257442 h 257442"/>
                <a:gd name="connsiteX3" fmla="*/ 1 w 2274883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0 w 2274882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1 w 2274883"/>
                <a:gd name="connsiteY2" fmla="*/ 257442 h 257442"/>
                <a:gd name="connsiteX3" fmla="*/ 0 w 2274883"/>
                <a:gd name="connsiteY3" fmla="*/ 0 h 257442"/>
                <a:gd name="connsiteX0" fmla="*/ 2435183 w 2435183"/>
                <a:gd name="connsiteY0" fmla="*/ 0 h 257442"/>
                <a:gd name="connsiteX1" fmla="*/ 22201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1 w 2435183"/>
                <a:gd name="connsiteY2" fmla="*/ 257442 h 257442"/>
                <a:gd name="connsiteX3" fmla="*/ 0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1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1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0 w 2771812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1 w 2771813"/>
                <a:gd name="connsiteY2" fmla="*/ 257442 h 257442"/>
                <a:gd name="connsiteX3" fmla="*/ 0 w 2771813"/>
                <a:gd name="connsiteY3" fmla="*/ 0 h 257442"/>
                <a:gd name="connsiteX0" fmla="*/ 2949746 w 2949746"/>
                <a:gd name="connsiteY0" fmla="*/ 0 h 257442"/>
                <a:gd name="connsiteX1" fmla="*/ 2717092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1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0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0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0 w 3278361"/>
                <a:gd name="connsiteY3" fmla="*/ 0 h 257442"/>
                <a:gd name="connsiteX0" fmla="*/ 3432955 w 3432955"/>
                <a:gd name="connsiteY0" fmla="*/ 0 h 257442"/>
                <a:gd name="connsiteX1" fmla="*/ 3223640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3432955 w 3432955"/>
                <a:gd name="connsiteY0" fmla="*/ 0 h 257442"/>
                <a:gd name="connsiteX1" fmla="*/ 3378234 w 3432955"/>
                <a:gd name="connsiteY1" fmla="*/ 257442 h 257442"/>
                <a:gd name="connsiteX2" fmla="*/ 0 w 3432955"/>
                <a:gd name="connsiteY2" fmla="*/ 257442 h 257442"/>
                <a:gd name="connsiteX3" fmla="*/ 0 w 3432955"/>
                <a:gd name="connsiteY3" fmla="*/ 0 h 257442"/>
                <a:gd name="connsiteX0" fmla="*/ 968434 w 3378234"/>
                <a:gd name="connsiteY0" fmla="*/ 0 h 257442"/>
                <a:gd name="connsiteX1" fmla="*/ 3378234 w 3378234"/>
                <a:gd name="connsiteY1" fmla="*/ 257442 h 257442"/>
                <a:gd name="connsiteX2" fmla="*/ 0 w 3378234"/>
                <a:gd name="connsiteY2" fmla="*/ 257442 h 257442"/>
                <a:gd name="connsiteX3" fmla="*/ 0 w 33782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398038 w 1398038"/>
                <a:gd name="connsiteY0" fmla="*/ 0 h 257442"/>
                <a:gd name="connsiteX1" fmla="*/ 1242329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0 w 1398038"/>
                <a:gd name="connsiteY3" fmla="*/ 0 h 257442"/>
                <a:gd name="connsiteX0" fmla="*/ 1566354 w 1566354"/>
                <a:gd name="connsiteY0" fmla="*/ 0 h 257442"/>
                <a:gd name="connsiteX1" fmla="*/ 1343317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734669 w 1734669"/>
                <a:gd name="connsiteY0" fmla="*/ 0 h 257442"/>
                <a:gd name="connsiteX1" fmla="*/ 1511633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0 w 1734669"/>
                <a:gd name="connsiteY3" fmla="*/ 0 h 257442"/>
                <a:gd name="connsiteX0" fmla="*/ 1886955 w 1886955"/>
                <a:gd name="connsiteY0" fmla="*/ 0 h 257442"/>
                <a:gd name="connsiteX1" fmla="*/ 1679948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3488354 w 3488354"/>
                <a:gd name="connsiteY0" fmla="*/ 0 h 257442"/>
                <a:gd name="connsiteX1" fmla="*/ 1832234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4 w 3488354"/>
                <a:gd name="connsiteY0" fmla="*/ 0 h 257442"/>
                <a:gd name="connsiteX1" fmla="*/ 3433632 w 3488354"/>
                <a:gd name="connsiteY1" fmla="*/ 257442 h 257442"/>
                <a:gd name="connsiteX2" fmla="*/ 0 w 3488354"/>
                <a:gd name="connsiteY2" fmla="*/ 257442 h 257442"/>
                <a:gd name="connsiteX3" fmla="*/ 0 w 3488354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3488355 w 3488355"/>
                <a:gd name="connsiteY0" fmla="*/ 0 h 257442"/>
                <a:gd name="connsiteX1" fmla="*/ 3433633 w 3488355"/>
                <a:gd name="connsiteY1" fmla="*/ 257442 h 257442"/>
                <a:gd name="connsiteX2" fmla="*/ 0 w 3488355"/>
                <a:gd name="connsiteY2" fmla="*/ 257442 h 257442"/>
                <a:gd name="connsiteX3" fmla="*/ 1 w 3488355"/>
                <a:gd name="connsiteY3" fmla="*/ 0 h 257442"/>
                <a:gd name="connsiteX0" fmla="*/ 782551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1 w 3433633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883476 w 883476"/>
                <a:gd name="connsiteY0" fmla="*/ 0 h 257442"/>
                <a:gd name="connsiteX1" fmla="*/ 727830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1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883476 w 883476"/>
                <a:gd name="connsiteY0" fmla="*/ 0 h 257442"/>
                <a:gd name="connsiteX1" fmla="*/ 828754 w 883476"/>
                <a:gd name="connsiteY1" fmla="*/ 257442 h 257442"/>
                <a:gd name="connsiteX2" fmla="*/ 0 w 883476"/>
                <a:gd name="connsiteY2" fmla="*/ 257442 h 257442"/>
                <a:gd name="connsiteX3" fmla="*/ 0 w 883476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0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883475 w 883475"/>
                <a:gd name="connsiteY0" fmla="*/ 0 h 257442"/>
                <a:gd name="connsiteX1" fmla="*/ 727829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984464 w 984464"/>
                <a:gd name="connsiteY0" fmla="*/ 0 h 257442"/>
                <a:gd name="connsiteX1" fmla="*/ 828754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4 w 984464"/>
                <a:gd name="connsiteY0" fmla="*/ 0 h 257442"/>
                <a:gd name="connsiteX1" fmla="*/ 929742 w 984464"/>
                <a:gd name="connsiteY1" fmla="*/ 257442 h 257442"/>
                <a:gd name="connsiteX2" fmla="*/ 0 w 984464"/>
                <a:gd name="connsiteY2" fmla="*/ 257442 h 257442"/>
                <a:gd name="connsiteX3" fmla="*/ 0 w 984464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984465 w 984465"/>
                <a:gd name="connsiteY0" fmla="*/ 0 h 257442"/>
                <a:gd name="connsiteX1" fmla="*/ 929743 w 984465"/>
                <a:gd name="connsiteY1" fmla="*/ 257442 h 257442"/>
                <a:gd name="connsiteX2" fmla="*/ 0 w 984465"/>
                <a:gd name="connsiteY2" fmla="*/ 257442 h 257442"/>
                <a:gd name="connsiteX3" fmla="*/ 1 w 984465"/>
                <a:gd name="connsiteY3" fmla="*/ 0 h 257442"/>
                <a:gd name="connsiteX0" fmla="*/ 1085454 w 1085454"/>
                <a:gd name="connsiteY0" fmla="*/ 0 h 257442"/>
                <a:gd name="connsiteX1" fmla="*/ 929743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1 w 1085454"/>
                <a:gd name="connsiteY3" fmla="*/ 0 h 257442"/>
                <a:gd name="connsiteX0" fmla="*/ 1085454 w 1085454"/>
                <a:gd name="connsiteY0" fmla="*/ 0 h 257442"/>
                <a:gd name="connsiteX1" fmla="*/ 1030732 w 1085454"/>
                <a:gd name="connsiteY1" fmla="*/ 257442 h 257442"/>
                <a:gd name="connsiteX2" fmla="*/ 0 w 1085454"/>
                <a:gd name="connsiteY2" fmla="*/ 257442 h 257442"/>
                <a:gd name="connsiteX3" fmla="*/ 0 w 1085454"/>
                <a:gd name="connsiteY3" fmla="*/ 0 h 257442"/>
                <a:gd name="connsiteX0" fmla="*/ 1186442 w 1186442"/>
                <a:gd name="connsiteY0" fmla="*/ 0 h 257442"/>
                <a:gd name="connsiteX1" fmla="*/ 1030732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287432 w 1287432"/>
                <a:gd name="connsiteY0" fmla="*/ 0 h 257442"/>
                <a:gd name="connsiteX1" fmla="*/ 113172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489410 w 1489410"/>
                <a:gd name="connsiteY0" fmla="*/ 0 h 257442"/>
                <a:gd name="connsiteX1" fmla="*/ 133369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489410 w 1489410"/>
                <a:gd name="connsiteY0" fmla="*/ 0 h 257442"/>
                <a:gd name="connsiteX1" fmla="*/ 1434689 w 1489410"/>
                <a:gd name="connsiteY1" fmla="*/ 257442 h 257442"/>
                <a:gd name="connsiteX2" fmla="*/ 0 w 1489410"/>
                <a:gd name="connsiteY2" fmla="*/ 257442 h 257442"/>
                <a:gd name="connsiteX3" fmla="*/ 0 w 1489410"/>
                <a:gd name="connsiteY3" fmla="*/ 0 h 257442"/>
                <a:gd name="connsiteX0" fmla="*/ 1691389 w 1691389"/>
                <a:gd name="connsiteY0" fmla="*/ 0 h 257442"/>
                <a:gd name="connsiteX1" fmla="*/ 1434689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691389 w 1691389"/>
                <a:gd name="connsiteY0" fmla="*/ 0 h 257442"/>
                <a:gd name="connsiteX1" fmla="*/ 1636668 w 1691389"/>
                <a:gd name="connsiteY1" fmla="*/ 257442 h 257442"/>
                <a:gd name="connsiteX2" fmla="*/ 0 w 1691389"/>
                <a:gd name="connsiteY2" fmla="*/ 257442 h 257442"/>
                <a:gd name="connsiteX3" fmla="*/ 0 w 1691389"/>
                <a:gd name="connsiteY3" fmla="*/ 0 h 257442"/>
                <a:gd name="connsiteX0" fmla="*/ 1792377 w 1792377"/>
                <a:gd name="connsiteY0" fmla="*/ 0 h 257442"/>
                <a:gd name="connsiteX1" fmla="*/ 1636668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893367 w 1893367"/>
                <a:gd name="connsiteY0" fmla="*/ 0 h 257442"/>
                <a:gd name="connsiteX1" fmla="*/ 173765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994356 w 1994356"/>
                <a:gd name="connsiteY0" fmla="*/ 0 h 257442"/>
                <a:gd name="connsiteX1" fmla="*/ 1838646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6 w 1994356"/>
                <a:gd name="connsiteY0" fmla="*/ 0 h 257442"/>
                <a:gd name="connsiteX1" fmla="*/ 1939634 w 1994356"/>
                <a:gd name="connsiteY1" fmla="*/ 257442 h 257442"/>
                <a:gd name="connsiteX2" fmla="*/ 0 w 1994356"/>
                <a:gd name="connsiteY2" fmla="*/ 257442 h 257442"/>
                <a:gd name="connsiteX3" fmla="*/ 0 w 1994356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994357 w 1994357"/>
                <a:gd name="connsiteY0" fmla="*/ 0 h 257442"/>
                <a:gd name="connsiteX1" fmla="*/ 1939635 w 1994357"/>
                <a:gd name="connsiteY1" fmla="*/ 257442 h 257442"/>
                <a:gd name="connsiteX2" fmla="*/ 0 w 1994357"/>
                <a:gd name="connsiteY2" fmla="*/ 257442 h 257442"/>
                <a:gd name="connsiteX3" fmla="*/ 1 w 1994357"/>
                <a:gd name="connsiteY3" fmla="*/ 0 h 257442"/>
                <a:gd name="connsiteX0" fmla="*/ 1893368 w 1939635"/>
                <a:gd name="connsiteY0" fmla="*/ 0 h 257442"/>
                <a:gd name="connsiteX1" fmla="*/ 1939635 w 1939635"/>
                <a:gd name="connsiteY1" fmla="*/ 257442 h 257442"/>
                <a:gd name="connsiteX2" fmla="*/ 0 w 1939635"/>
                <a:gd name="connsiteY2" fmla="*/ 257442 h 257442"/>
                <a:gd name="connsiteX3" fmla="*/ 1 w 1939635"/>
                <a:gd name="connsiteY3" fmla="*/ 0 h 257442"/>
                <a:gd name="connsiteX0" fmla="*/ 1893368 w 1893368"/>
                <a:gd name="connsiteY0" fmla="*/ 0 h 257442"/>
                <a:gd name="connsiteX1" fmla="*/ 1838647 w 1893368"/>
                <a:gd name="connsiteY1" fmla="*/ 257442 h 257442"/>
                <a:gd name="connsiteX2" fmla="*/ 0 w 1893368"/>
                <a:gd name="connsiteY2" fmla="*/ 257442 h 257442"/>
                <a:gd name="connsiteX3" fmla="*/ 1 w 1893368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893367 w 1893367"/>
                <a:gd name="connsiteY0" fmla="*/ 0 h 257442"/>
                <a:gd name="connsiteX1" fmla="*/ 1838646 w 1893367"/>
                <a:gd name="connsiteY1" fmla="*/ 257442 h 257442"/>
                <a:gd name="connsiteX2" fmla="*/ 0 w 1893367"/>
                <a:gd name="connsiteY2" fmla="*/ 257442 h 257442"/>
                <a:gd name="connsiteX3" fmla="*/ 0 w 1893367"/>
                <a:gd name="connsiteY3" fmla="*/ 0 h 257442"/>
                <a:gd name="connsiteX0" fmla="*/ 1792377 w 1838646"/>
                <a:gd name="connsiteY0" fmla="*/ 0 h 257442"/>
                <a:gd name="connsiteX1" fmla="*/ 1838646 w 1838646"/>
                <a:gd name="connsiteY1" fmla="*/ 257442 h 257442"/>
                <a:gd name="connsiteX2" fmla="*/ 0 w 1838646"/>
                <a:gd name="connsiteY2" fmla="*/ 257442 h 257442"/>
                <a:gd name="connsiteX3" fmla="*/ 0 w 1838646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0 w 1792377"/>
                <a:gd name="connsiteY2" fmla="*/ 257442 h 257442"/>
                <a:gd name="connsiteX3" fmla="*/ 0 w 1792377"/>
                <a:gd name="connsiteY3" fmla="*/ 0 h 257442"/>
                <a:gd name="connsiteX0" fmla="*/ 1792377 w 1792377"/>
                <a:gd name="connsiteY0" fmla="*/ 0 h 257442"/>
                <a:gd name="connsiteX1" fmla="*/ 1737656 w 1792377"/>
                <a:gd name="connsiteY1" fmla="*/ 257442 h 257442"/>
                <a:gd name="connsiteX2" fmla="*/ 1 w 1792377"/>
                <a:gd name="connsiteY2" fmla="*/ 257442 h 257442"/>
                <a:gd name="connsiteX3" fmla="*/ 0 w 1792377"/>
                <a:gd name="connsiteY3" fmla="*/ 0 h 257442"/>
                <a:gd name="connsiteX0" fmla="*/ 1792376 w 1792376"/>
                <a:gd name="connsiteY0" fmla="*/ 0 h 257442"/>
                <a:gd name="connsiteX1" fmla="*/ 1737655 w 1792376"/>
                <a:gd name="connsiteY1" fmla="*/ 257442 h 257442"/>
                <a:gd name="connsiteX2" fmla="*/ 0 w 1792376"/>
                <a:gd name="connsiteY2" fmla="*/ 257442 h 257442"/>
                <a:gd name="connsiteX3" fmla="*/ 0 w 1792376"/>
                <a:gd name="connsiteY3" fmla="*/ 0 h 257442"/>
                <a:gd name="connsiteX0" fmla="*/ 1691388 w 1737655"/>
                <a:gd name="connsiteY0" fmla="*/ 0 h 257442"/>
                <a:gd name="connsiteX1" fmla="*/ 1737655 w 1737655"/>
                <a:gd name="connsiteY1" fmla="*/ 257442 h 257442"/>
                <a:gd name="connsiteX2" fmla="*/ 0 w 1737655"/>
                <a:gd name="connsiteY2" fmla="*/ 257442 h 257442"/>
                <a:gd name="connsiteX3" fmla="*/ 0 w 1737655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691388 w 1691388"/>
                <a:gd name="connsiteY0" fmla="*/ 0 h 257442"/>
                <a:gd name="connsiteX1" fmla="*/ 1636668 w 1691388"/>
                <a:gd name="connsiteY1" fmla="*/ 257442 h 257442"/>
                <a:gd name="connsiteX2" fmla="*/ 0 w 1691388"/>
                <a:gd name="connsiteY2" fmla="*/ 257442 h 257442"/>
                <a:gd name="connsiteX3" fmla="*/ 0 w 1691388"/>
                <a:gd name="connsiteY3" fmla="*/ 0 h 257442"/>
                <a:gd name="connsiteX0" fmla="*/ 1590399 w 1636668"/>
                <a:gd name="connsiteY0" fmla="*/ 0 h 257442"/>
                <a:gd name="connsiteX1" fmla="*/ 1636668 w 1636668"/>
                <a:gd name="connsiteY1" fmla="*/ 257442 h 257442"/>
                <a:gd name="connsiteX2" fmla="*/ 0 w 1636668"/>
                <a:gd name="connsiteY2" fmla="*/ 257442 h 257442"/>
                <a:gd name="connsiteX3" fmla="*/ 0 w 1636668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0 w 1590399"/>
                <a:gd name="connsiteY2" fmla="*/ 257442 h 257442"/>
                <a:gd name="connsiteX3" fmla="*/ 0 w 1590399"/>
                <a:gd name="connsiteY3" fmla="*/ 0 h 257442"/>
                <a:gd name="connsiteX0" fmla="*/ 1590399 w 1590399"/>
                <a:gd name="connsiteY0" fmla="*/ 0 h 257442"/>
                <a:gd name="connsiteX1" fmla="*/ 1535678 w 1590399"/>
                <a:gd name="connsiteY1" fmla="*/ 257442 h 257442"/>
                <a:gd name="connsiteX2" fmla="*/ 1 w 1590399"/>
                <a:gd name="connsiteY2" fmla="*/ 257442 h 257442"/>
                <a:gd name="connsiteX3" fmla="*/ 0 w 1590399"/>
                <a:gd name="connsiteY3" fmla="*/ 0 h 257442"/>
                <a:gd name="connsiteX0" fmla="*/ 1590398 w 1590398"/>
                <a:gd name="connsiteY0" fmla="*/ 0 h 257442"/>
                <a:gd name="connsiteX1" fmla="*/ 1535677 w 1590398"/>
                <a:gd name="connsiteY1" fmla="*/ 257442 h 257442"/>
                <a:gd name="connsiteX2" fmla="*/ 0 w 1590398"/>
                <a:gd name="connsiteY2" fmla="*/ 257442 h 257442"/>
                <a:gd name="connsiteX3" fmla="*/ 0 w 1590398"/>
                <a:gd name="connsiteY3" fmla="*/ 0 h 257442"/>
                <a:gd name="connsiteX0" fmla="*/ 1489409 w 1535677"/>
                <a:gd name="connsiteY0" fmla="*/ 0 h 257442"/>
                <a:gd name="connsiteX1" fmla="*/ 1535677 w 1535677"/>
                <a:gd name="connsiteY1" fmla="*/ 257442 h 257442"/>
                <a:gd name="connsiteX2" fmla="*/ 0 w 1535677"/>
                <a:gd name="connsiteY2" fmla="*/ 257442 h 257442"/>
                <a:gd name="connsiteX3" fmla="*/ 0 w 1535677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489409 w 1489409"/>
                <a:gd name="connsiteY0" fmla="*/ 0 h 257442"/>
                <a:gd name="connsiteX1" fmla="*/ 1434689 w 1489409"/>
                <a:gd name="connsiteY1" fmla="*/ 257442 h 257442"/>
                <a:gd name="connsiteX2" fmla="*/ 0 w 1489409"/>
                <a:gd name="connsiteY2" fmla="*/ 257442 h 257442"/>
                <a:gd name="connsiteX3" fmla="*/ 0 w 1489409"/>
                <a:gd name="connsiteY3" fmla="*/ 0 h 257442"/>
                <a:gd name="connsiteX0" fmla="*/ 1388420 w 1434689"/>
                <a:gd name="connsiteY0" fmla="*/ 0 h 257442"/>
                <a:gd name="connsiteX1" fmla="*/ 1434689 w 1434689"/>
                <a:gd name="connsiteY1" fmla="*/ 257442 h 257442"/>
                <a:gd name="connsiteX2" fmla="*/ 0 w 1434689"/>
                <a:gd name="connsiteY2" fmla="*/ 257442 h 257442"/>
                <a:gd name="connsiteX3" fmla="*/ 0 w 1434689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287432 w 1333699"/>
                <a:gd name="connsiteY0" fmla="*/ 0 h 257442"/>
                <a:gd name="connsiteX1" fmla="*/ 1333699 w 1333699"/>
                <a:gd name="connsiteY1" fmla="*/ 257442 h 257442"/>
                <a:gd name="connsiteX2" fmla="*/ 0 w 1333699"/>
                <a:gd name="connsiteY2" fmla="*/ 257442 h 257442"/>
                <a:gd name="connsiteX3" fmla="*/ 0 w 1333699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2 w 1287432"/>
                <a:gd name="connsiteY1" fmla="*/ 257442 h 257442"/>
                <a:gd name="connsiteX2" fmla="*/ 1 w 1287432"/>
                <a:gd name="connsiteY2" fmla="*/ 257442 h 257442"/>
                <a:gd name="connsiteX3" fmla="*/ 0 w 1287432"/>
                <a:gd name="connsiteY3" fmla="*/ 0 h 257442"/>
                <a:gd name="connsiteX0" fmla="*/ 1287431 w 1287431"/>
                <a:gd name="connsiteY0" fmla="*/ 0 h 257442"/>
                <a:gd name="connsiteX1" fmla="*/ 1232711 w 1287431"/>
                <a:gd name="connsiteY1" fmla="*/ 257442 h 257442"/>
                <a:gd name="connsiteX2" fmla="*/ 0 w 1287431"/>
                <a:gd name="connsiteY2" fmla="*/ 257442 h 257442"/>
                <a:gd name="connsiteX3" fmla="*/ 0 w 1287431"/>
                <a:gd name="connsiteY3" fmla="*/ 0 h 257442"/>
                <a:gd name="connsiteX0" fmla="*/ 1186442 w 1232711"/>
                <a:gd name="connsiteY0" fmla="*/ 0 h 257442"/>
                <a:gd name="connsiteX1" fmla="*/ 1232711 w 1232711"/>
                <a:gd name="connsiteY1" fmla="*/ 257442 h 257442"/>
                <a:gd name="connsiteX2" fmla="*/ 0 w 1232711"/>
                <a:gd name="connsiteY2" fmla="*/ 257442 h 257442"/>
                <a:gd name="connsiteX3" fmla="*/ 0 w 1232711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186442 w 1186442"/>
                <a:gd name="connsiteY0" fmla="*/ 0 h 257442"/>
                <a:gd name="connsiteX1" fmla="*/ 1131721 w 1186442"/>
                <a:gd name="connsiteY1" fmla="*/ 257442 h 257442"/>
                <a:gd name="connsiteX2" fmla="*/ 0 w 1186442"/>
                <a:gd name="connsiteY2" fmla="*/ 257442 h 257442"/>
                <a:gd name="connsiteX3" fmla="*/ 0 w 1186442"/>
                <a:gd name="connsiteY3" fmla="*/ 0 h 257442"/>
                <a:gd name="connsiteX0" fmla="*/ 1085453 w 1131721"/>
                <a:gd name="connsiteY0" fmla="*/ 0 h 257442"/>
                <a:gd name="connsiteX1" fmla="*/ 1131721 w 1131721"/>
                <a:gd name="connsiteY1" fmla="*/ 257442 h 257442"/>
                <a:gd name="connsiteX2" fmla="*/ 0 w 1131721"/>
                <a:gd name="connsiteY2" fmla="*/ 257442 h 257442"/>
                <a:gd name="connsiteX3" fmla="*/ 0 w 1131721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0 w 1085453"/>
                <a:gd name="connsiteY2" fmla="*/ 257442 h 257442"/>
                <a:gd name="connsiteX3" fmla="*/ 0 w 1085453"/>
                <a:gd name="connsiteY3" fmla="*/ 0 h 257442"/>
                <a:gd name="connsiteX0" fmla="*/ 1085453 w 1085453"/>
                <a:gd name="connsiteY0" fmla="*/ 0 h 257442"/>
                <a:gd name="connsiteX1" fmla="*/ 1030733 w 1085453"/>
                <a:gd name="connsiteY1" fmla="*/ 257442 h 257442"/>
                <a:gd name="connsiteX2" fmla="*/ 1 w 1085453"/>
                <a:gd name="connsiteY2" fmla="*/ 257442 h 257442"/>
                <a:gd name="connsiteX3" fmla="*/ 0 w 1085453"/>
                <a:gd name="connsiteY3" fmla="*/ 0 h 257442"/>
                <a:gd name="connsiteX0" fmla="*/ 1085452 w 1085452"/>
                <a:gd name="connsiteY0" fmla="*/ 0 h 257442"/>
                <a:gd name="connsiteX1" fmla="*/ 1030732 w 1085452"/>
                <a:gd name="connsiteY1" fmla="*/ 257442 h 257442"/>
                <a:gd name="connsiteX2" fmla="*/ 0 w 1085452"/>
                <a:gd name="connsiteY2" fmla="*/ 257442 h 257442"/>
                <a:gd name="connsiteX3" fmla="*/ 0 w 1085452"/>
                <a:gd name="connsiteY3" fmla="*/ 0 h 257442"/>
                <a:gd name="connsiteX0" fmla="*/ 984463 w 1030732"/>
                <a:gd name="connsiteY0" fmla="*/ 0 h 257442"/>
                <a:gd name="connsiteX1" fmla="*/ 1030732 w 1030732"/>
                <a:gd name="connsiteY1" fmla="*/ 257442 h 257442"/>
                <a:gd name="connsiteX2" fmla="*/ 0 w 1030732"/>
                <a:gd name="connsiteY2" fmla="*/ 257442 h 257442"/>
                <a:gd name="connsiteX3" fmla="*/ 0 w 1030732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984463 w 984463"/>
                <a:gd name="connsiteY0" fmla="*/ 0 h 257442"/>
                <a:gd name="connsiteX1" fmla="*/ 929742 w 984463"/>
                <a:gd name="connsiteY1" fmla="*/ 257442 h 257442"/>
                <a:gd name="connsiteX2" fmla="*/ 0 w 984463"/>
                <a:gd name="connsiteY2" fmla="*/ 257442 h 257442"/>
                <a:gd name="connsiteX3" fmla="*/ 0 w 984463"/>
                <a:gd name="connsiteY3" fmla="*/ 0 h 257442"/>
                <a:gd name="connsiteX0" fmla="*/ 883475 w 929742"/>
                <a:gd name="connsiteY0" fmla="*/ 0 h 257442"/>
                <a:gd name="connsiteX1" fmla="*/ 929742 w 929742"/>
                <a:gd name="connsiteY1" fmla="*/ 257442 h 257442"/>
                <a:gd name="connsiteX2" fmla="*/ 0 w 929742"/>
                <a:gd name="connsiteY2" fmla="*/ 257442 h 257442"/>
                <a:gd name="connsiteX3" fmla="*/ 0 w 929742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0 h 257442"/>
                <a:gd name="connsiteX0" fmla="*/ 883474 w 883474"/>
                <a:gd name="connsiteY0" fmla="*/ 0 h 257442"/>
                <a:gd name="connsiteX1" fmla="*/ 828753 w 883474"/>
                <a:gd name="connsiteY1" fmla="*/ 257442 h 257442"/>
                <a:gd name="connsiteX2" fmla="*/ 0 w 883474"/>
                <a:gd name="connsiteY2" fmla="*/ 257442 h 257442"/>
                <a:gd name="connsiteX3" fmla="*/ 0 w 883474"/>
                <a:gd name="connsiteY3" fmla="*/ 0 h 257442"/>
                <a:gd name="connsiteX0" fmla="*/ 1043774 w 1043774"/>
                <a:gd name="connsiteY0" fmla="*/ 0 h 257442"/>
                <a:gd name="connsiteX1" fmla="*/ 8287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4 w 1043774"/>
                <a:gd name="connsiteY0" fmla="*/ 0 h 257442"/>
                <a:gd name="connsiteX1" fmla="*/ 989053 w 1043774"/>
                <a:gd name="connsiteY1" fmla="*/ 257442 h 257442"/>
                <a:gd name="connsiteX2" fmla="*/ 0 w 1043774"/>
                <a:gd name="connsiteY2" fmla="*/ 257442 h 257442"/>
                <a:gd name="connsiteX3" fmla="*/ 0 w 1043774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1043775 w 1043775"/>
                <a:gd name="connsiteY0" fmla="*/ 0 h 257442"/>
                <a:gd name="connsiteX1" fmla="*/ 989054 w 1043775"/>
                <a:gd name="connsiteY1" fmla="*/ 257442 h 257442"/>
                <a:gd name="connsiteX2" fmla="*/ 0 w 1043775"/>
                <a:gd name="connsiteY2" fmla="*/ 257442 h 257442"/>
                <a:gd name="connsiteX3" fmla="*/ 1 w 1043775"/>
                <a:gd name="connsiteY3" fmla="*/ 0 h 257442"/>
                <a:gd name="connsiteX0" fmla="*/ 950802 w 989054"/>
                <a:gd name="connsiteY0" fmla="*/ 0 h 257442"/>
                <a:gd name="connsiteX1" fmla="*/ 989054 w 989054"/>
                <a:gd name="connsiteY1" fmla="*/ 257442 h 257442"/>
                <a:gd name="connsiteX2" fmla="*/ 0 w 989054"/>
                <a:gd name="connsiteY2" fmla="*/ 257442 h 257442"/>
                <a:gd name="connsiteX3" fmla="*/ 1 w 98905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79417 w 1279417"/>
                <a:gd name="connsiteY0" fmla="*/ 0 h 257442"/>
                <a:gd name="connsiteX1" fmla="*/ 10643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1 w 1279417"/>
                <a:gd name="connsiteY2" fmla="*/ 257442 h 257442"/>
                <a:gd name="connsiteX3" fmla="*/ 0 w 1279417"/>
                <a:gd name="connsiteY3" fmla="*/ 0 h 257442"/>
                <a:gd name="connsiteX0" fmla="*/ 1457351 w 1457351"/>
                <a:gd name="connsiteY0" fmla="*/ 0 h 257442"/>
                <a:gd name="connsiteX1" fmla="*/ 1224696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1 w 1625665"/>
                <a:gd name="connsiteY3" fmla="*/ 0 h 257442"/>
                <a:gd name="connsiteX0" fmla="*/ 1793982 w 1793982"/>
                <a:gd name="connsiteY0" fmla="*/ 0 h 257442"/>
                <a:gd name="connsiteX1" fmla="*/ 1570944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1 w 1793982"/>
                <a:gd name="connsiteY3" fmla="*/ 0 h 257442"/>
                <a:gd name="connsiteX0" fmla="*/ 1793982 w 1793982"/>
                <a:gd name="connsiteY0" fmla="*/ 0 h 257442"/>
                <a:gd name="connsiteX1" fmla="*/ 1739260 w 1793982"/>
                <a:gd name="connsiteY1" fmla="*/ 257442 h 257442"/>
                <a:gd name="connsiteX2" fmla="*/ 0 w 1793982"/>
                <a:gd name="connsiteY2" fmla="*/ 257442 h 257442"/>
                <a:gd name="connsiteX3" fmla="*/ 0 w 1793982"/>
                <a:gd name="connsiteY3" fmla="*/ 0 h 257442"/>
                <a:gd name="connsiteX0" fmla="*/ 1962295 w 1962295"/>
                <a:gd name="connsiteY0" fmla="*/ 0 h 257442"/>
                <a:gd name="connsiteX1" fmla="*/ 1739260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2597" h="257442">
                  <a:moveTo>
                    <a:pt x="2122597" y="0"/>
                  </a:moveTo>
                  <a:lnTo>
                    <a:pt x="206787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TextLeft403778">
              <a:extLst>
                <a:ext uri="{FF2B5EF4-FFF2-40B4-BE49-F238E27FC236}">
                  <a16:creationId xmlns:a16="http://schemas.microsoft.com/office/drawing/2014/main" id="{6731D8F7-E1E3-44D3-BAD9-34B29E4C60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0678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vocacy</a:t>
              </a:r>
            </a:p>
          </p:txBody>
        </p:sp>
        <p:sp>
          <p:nvSpPr>
            <p:cNvPr id="41" name="btfpRunningAgenda2LevelBarRight403778">
              <a:extLst>
                <a:ext uri="{FF2B5EF4-FFF2-40B4-BE49-F238E27FC236}">
                  <a16:creationId xmlns:a16="http://schemas.microsoft.com/office/drawing/2014/main" id="{4477CE6F-3D04-4420-8EAE-D59299C4A572}"/>
                </a:ext>
              </a:extLst>
            </p:cNvPr>
            <p:cNvSpPr/>
            <p:nvPr/>
          </p:nvSpPr>
          <p:spPr bwMode="gray">
            <a:xfrm>
              <a:off x="1987754" y="876300"/>
              <a:ext cx="1271402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92001 w 1592001"/>
                <a:gd name="connsiteY0" fmla="*/ 0 h 257442"/>
                <a:gd name="connsiteX1" fmla="*/ 1216681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1 w 1592001"/>
                <a:gd name="connsiteY0" fmla="*/ 0 h 257442"/>
                <a:gd name="connsiteX1" fmla="*/ 1537280 w 1592001"/>
                <a:gd name="connsiteY1" fmla="*/ 257442 h 257442"/>
                <a:gd name="connsiteX2" fmla="*/ 0 w 1592001"/>
                <a:gd name="connsiteY2" fmla="*/ 257442 h 257442"/>
                <a:gd name="connsiteX3" fmla="*/ 54720 w 1592001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54721 w 1592002"/>
                <a:gd name="connsiteY3" fmla="*/ 0 h 257442"/>
                <a:gd name="connsiteX0" fmla="*/ 1752303 w 1752303"/>
                <a:gd name="connsiteY0" fmla="*/ 0 h 257442"/>
                <a:gd name="connsiteX1" fmla="*/ 1537281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1752303 w 1752303"/>
                <a:gd name="connsiteY0" fmla="*/ 0 h 257442"/>
                <a:gd name="connsiteX1" fmla="*/ 1697582 w 1752303"/>
                <a:gd name="connsiteY1" fmla="*/ 257442 h 257442"/>
                <a:gd name="connsiteX2" fmla="*/ 0 w 1752303"/>
                <a:gd name="connsiteY2" fmla="*/ 257442 h 257442"/>
                <a:gd name="connsiteX3" fmla="*/ 54721 w 1752303"/>
                <a:gd name="connsiteY3" fmla="*/ 0 h 257442"/>
                <a:gd name="connsiteX0" fmla="*/ 2005577 w 2005577"/>
                <a:gd name="connsiteY0" fmla="*/ 0 h 257442"/>
                <a:gd name="connsiteX1" fmla="*/ 1697582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54721 w 2005577"/>
                <a:gd name="connsiteY3" fmla="*/ 0 h 257442"/>
                <a:gd name="connsiteX0" fmla="*/ 2173892 w 2173892"/>
                <a:gd name="connsiteY0" fmla="*/ 0 h 257442"/>
                <a:gd name="connsiteX1" fmla="*/ 1950856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435183 w 2435183"/>
                <a:gd name="connsiteY0" fmla="*/ 0 h 257442"/>
                <a:gd name="connsiteX1" fmla="*/ 2119171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3 w 2435183"/>
                <a:gd name="connsiteY0" fmla="*/ 0 h 257442"/>
                <a:gd name="connsiteX1" fmla="*/ 2380462 w 2435183"/>
                <a:gd name="connsiteY1" fmla="*/ 257442 h 257442"/>
                <a:gd name="connsiteX2" fmla="*/ 0 w 2435183"/>
                <a:gd name="connsiteY2" fmla="*/ 257442 h 257442"/>
                <a:gd name="connsiteX3" fmla="*/ 54722 w 2435183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0 w 2435182"/>
                <a:gd name="connsiteY3" fmla="*/ 0 h 257442"/>
                <a:gd name="connsiteX0" fmla="*/ 2603496 w 2603496"/>
                <a:gd name="connsiteY0" fmla="*/ 0 h 257442"/>
                <a:gd name="connsiteX1" fmla="*/ 2380461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6 w 2603496"/>
                <a:gd name="connsiteY0" fmla="*/ 0 h 257442"/>
                <a:gd name="connsiteX1" fmla="*/ 2548775 w 2603496"/>
                <a:gd name="connsiteY1" fmla="*/ 257442 h 257442"/>
                <a:gd name="connsiteX2" fmla="*/ 0 w 2603496"/>
                <a:gd name="connsiteY2" fmla="*/ 257442 h 257442"/>
                <a:gd name="connsiteX3" fmla="*/ 54720 w 2603496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2 w 2603497"/>
                <a:gd name="connsiteY3" fmla="*/ 0 h 257442"/>
                <a:gd name="connsiteX0" fmla="*/ 2771813 w 2771813"/>
                <a:gd name="connsiteY0" fmla="*/ 0 h 257442"/>
                <a:gd name="connsiteX1" fmla="*/ 2548776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2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1 w 2771812"/>
                <a:gd name="connsiteY1" fmla="*/ 257442 h 257442"/>
                <a:gd name="connsiteX2" fmla="*/ 0 w 2771812"/>
                <a:gd name="connsiteY2" fmla="*/ 257442 h 257442"/>
                <a:gd name="connsiteX3" fmla="*/ 54720 w 2771812"/>
                <a:gd name="connsiteY3" fmla="*/ 0 h 257442"/>
                <a:gd name="connsiteX0" fmla="*/ 2949744 w 2949744"/>
                <a:gd name="connsiteY0" fmla="*/ 0 h 257442"/>
                <a:gd name="connsiteX1" fmla="*/ 2717091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4 w 2949744"/>
                <a:gd name="connsiteY0" fmla="*/ 0 h 257442"/>
                <a:gd name="connsiteX1" fmla="*/ 2895023 w 2949744"/>
                <a:gd name="connsiteY1" fmla="*/ 257442 h 257442"/>
                <a:gd name="connsiteX2" fmla="*/ 0 w 2949744"/>
                <a:gd name="connsiteY2" fmla="*/ 257442 h 257442"/>
                <a:gd name="connsiteX3" fmla="*/ 54720 w 2949744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1 w 2949745"/>
                <a:gd name="connsiteY3" fmla="*/ 0 h 257442"/>
                <a:gd name="connsiteX0" fmla="*/ 2949745 w 2949745"/>
                <a:gd name="connsiteY0" fmla="*/ 0 h 257442"/>
                <a:gd name="connsiteX1" fmla="*/ 2895024 w 2949745"/>
                <a:gd name="connsiteY1" fmla="*/ 257442 h 257442"/>
                <a:gd name="connsiteX2" fmla="*/ 0 w 2949745"/>
                <a:gd name="connsiteY2" fmla="*/ 257442 h 257442"/>
                <a:gd name="connsiteX3" fmla="*/ 54722 w 2949745"/>
                <a:gd name="connsiteY3" fmla="*/ 0 h 257442"/>
                <a:gd name="connsiteX0" fmla="*/ 3110047 w 3110047"/>
                <a:gd name="connsiteY0" fmla="*/ 0 h 257442"/>
                <a:gd name="connsiteX1" fmla="*/ 2895024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7 w 3110047"/>
                <a:gd name="connsiteY0" fmla="*/ 0 h 257442"/>
                <a:gd name="connsiteX1" fmla="*/ 3055326 w 3110047"/>
                <a:gd name="connsiteY1" fmla="*/ 257442 h 257442"/>
                <a:gd name="connsiteX2" fmla="*/ 0 w 3110047"/>
                <a:gd name="connsiteY2" fmla="*/ 257442 h 257442"/>
                <a:gd name="connsiteX3" fmla="*/ 54722 w 3110047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0 w 3110046"/>
                <a:gd name="connsiteY3" fmla="*/ 0 h 257442"/>
                <a:gd name="connsiteX0" fmla="*/ 3278360 w 3278360"/>
                <a:gd name="connsiteY0" fmla="*/ 0 h 257442"/>
                <a:gd name="connsiteX1" fmla="*/ 3055325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0 w 3278360"/>
                <a:gd name="connsiteY0" fmla="*/ 0 h 257442"/>
                <a:gd name="connsiteX1" fmla="*/ 3223639 w 3278360"/>
                <a:gd name="connsiteY1" fmla="*/ 257442 h 257442"/>
                <a:gd name="connsiteX2" fmla="*/ 0 w 3278360"/>
                <a:gd name="connsiteY2" fmla="*/ 257442 h 257442"/>
                <a:gd name="connsiteX3" fmla="*/ 54720 w 3278360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2 w 3278361"/>
                <a:gd name="connsiteY3" fmla="*/ 0 h 257442"/>
                <a:gd name="connsiteX0" fmla="*/ 246083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2 w 3223640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1 w 2460829"/>
                <a:gd name="connsiteY3" fmla="*/ 0 h 257442"/>
                <a:gd name="connsiteX0" fmla="*/ 2621130 w 2621130"/>
                <a:gd name="connsiteY0" fmla="*/ 0 h 257442"/>
                <a:gd name="connsiteX1" fmla="*/ 24061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0 w 2621130"/>
                <a:gd name="connsiteY0" fmla="*/ 0 h 257442"/>
                <a:gd name="connsiteX1" fmla="*/ 2566408 w 2621130"/>
                <a:gd name="connsiteY1" fmla="*/ 257442 h 257442"/>
                <a:gd name="connsiteX2" fmla="*/ 0 w 2621130"/>
                <a:gd name="connsiteY2" fmla="*/ 257442 h 257442"/>
                <a:gd name="connsiteX3" fmla="*/ 54721 w 2621130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621131 w 2621131"/>
                <a:gd name="connsiteY0" fmla="*/ 0 h 257442"/>
                <a:gd name="connsiteX1" fmla="*/ 2566409 w 2621131"/>
                <a:gd name="connsiteY1" fmla="*/ 257442 h 257442"/>
                <a:gd name="connsiteX2" fmla="*/ 0 w 2621131"/>
                <a:gd name="connsiteY2" fmla="*/ 257442 h 257442"/>
                <a:gd name="connsiteX3" fmla="*/ 54722 w 2621131"/>
                <a:gd name="connsiteY3" fmla="*/ 0 h 257442"/>
                <a:gd name="connsiteX0" fmla="*/ 2789446 w 2789446"/>
                <a:gd name="connsiteY0" fmla="*/ 0 h 257442"/>
                <a:gd name="connsiteX1" fmla="*/ 2566409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2 w 2789446"/>
                <a:gd name="connsiteY3" fmla="*/ 0 h 257442"/>
                <a:gd name="connsiteX0" fmla="*/ 2789446 w 2789446"/>
                <a:gd name="connsiteY0" fmla="*/ 0 h 257442"/>
                <a:gd name="connsiteX1" fmla="*/ 2734724 w 2789446"/>
                <a:gd name="connsiteY1" fmla="*/ 257442 h 257442"/>
                <a:gd name="connsiteX2" fmla="*/ 0 w 2789446"/>
                <a:gd name="connsiteY2" fmla="*/ 257442 h 257442"/>
                <a:gd name="connsiteX3" fmla="*/ 54721 w 2789446"/>
                <a:gd name="connsiteY3" fmla="*/ 0 h 257442"/>
                <a:gd name="connsiteX0" fmla="*/ 3058750 w 3058750"/>
                <a:gd name="connsiteY0" fmla="*/ 0 h 257442"/>
                <a:gd name="connsiteX1" fmla="*/ 2734724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058750 w 3058750"/>
                <a:gd name="connsiteY0" fmla="*/ 0 h 257442"/>
                <a:gd name="connsiteX1" fmla="*/ 3004029 w 3058750"/>
                <a:gd name="connsiteY1" fmla="*/ 257442 h 257442"/>
                <a:gd name="connsiteX2" fmla="*/ 0 w 3058750"/>
                <a:gd name="connsiteY2" fmla="*/ 257442 h 257442"/>
                <a:gd name="connsiteX3" fmla="*/ 54721 w 3058750"/>
                <a:gd name="connsiteY3" fmla="*/ 0 h 257442"/>
                <a:gd name="connsiteX0" fmla="*/ 3328054 w 3328054"/>
                <a:gd name="connsiteY0" fmla="*/ 0 h 257442"/>
                <a:gd name="connsiteX1" fmla="*/ 3004029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2435182 w 3433633"/>
                <a:gd name="connsiteY0" fmla="*/ 0 h 257442"/>
                <a:gd name="connsiteX1" fmla="*/ 3433633 w 3433633"/>
                <a:gd name="connsiteY1" fmla="*/ 257442 h 257442"/>
                <a:gd name="connsiteX2" fmla="*/ 0 w 3433633"/>
                <a:gd name="connsiteY2" fmla="*/ 257442 h 257442"/>
                <a:gd name="connsiteX3" fmla="*/ 54721 w 3433633"/>
                <a:gd name="connsiteY3" fmla="*/ 0 h 257442"/>
                <a:gd name="connsiteX0" fmla="*/ 2435182 w 2435182"/>
                <a:gd name="connsiteY0" fmla="*/ 0 h 257442"/>
                <a:gd name="connsiteX1" fmla="*/ 2380462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1 w 2435181"/>
                <a:gd name="connsiteY1" fmla="*/ 257442 h 257442"/>
                <a:gd name="connsiteX2" fmla="*/ 0 w 2435181"/>
                <a:gd name="connsiteY2" fmla="*/ 257442 h 257442"/>
                <a:gd name="connsiteX3" fmla="*/ 54721 w 2435181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71812 w 2771812"/>
                <a:gd name="connsiteY0" fmla="*/ 0 h 257442"/>
                <a:gd name="connsiteX1" fmla="*/ 2548776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2 w 2771812"/>
                <a:gd name="connsiteY0" fmla="*/ 0 h 257442"/>
                <a:gd name="connsiteX1" fmla="*/ 2717090 w 2771812"/>
                <a:gd name="connsiteY1" fmla="*/ 257442 h 257442"/>
                <a:gd name="connsiteX2" fmla="*/ 0 w 2771812"/>
                <a:gd name="connsiteY2" fmla="*/ 257442 h 257442"/>
                <a:gd name="connsiteX3" fmla="*/ 54721 w 2771812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771813 w 2771813"/>
                <a:gd name="connsiteY0" fmla="*/ 0 h 257442"/>
                <a:gd name="connsiteX1" fmla="*/ 2717091 w 2771813"/>
                <a:gd name="connsiteY1" fmla="*/ 257442 h 257442"/>
                <a:gd name="connsiteX2" fmla="*/ 0 w 2771813"/>
                <a:gd name="connsiteY2" fmla="*/ 257442 h 257442"/>
                <a:gd name="connsiteX3" fmla="*/ 54722 w 2771813"/>
                <a:gd name="connsiteY3" fmla="*/ 0 h 257442"/>
                <a:gd name="connsiteX0" fmla="*/ 2949746 w 2949746"/>
                <a:gd name="connsiteY0" fmla="*/ 0 h 257442"/>
                <a:gd name="connsiteX1" fmla="*/ 2717091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2 w 2949746"/>
                <a:gd name="connsiteY3" fmla="*/ 0 h 257442"/>
                <a:gd name="connsiteX0" fmla="*/ 2949746 w 2949746"/>
                <a:gd name="connsiteY0" fmla="*/ 0 h 257442"/>
                <a:gd name="connsiteX1" fmla="*/ 2895024 w 2949746"/>
                <a:gd name="connsiteY1" fmla="*/ 257442 h 257442"/>
                <a:gd name="connsiteX2" fmla="*/ 0 w 2949746"/>
                <a:gd name="connsiteY2" fmla="*/ 257442 h 257442"/>
                <a:gd name="connsiteX3" fmla="*/ 54721 w 2949746"/>
                <a:gd name="connsiteY3" fmla="*/ 0 h 257442"/>
                <a:gd name="connsiteX0" fmla="*/ 3110046 w 3110046"/>
                <a:gd name="connsiteY0" fmla="*/ 0 h 257442"/>
                <a:gd name="connsiteX1" fmla="*/ 2895024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110046 w 3110046"/>
                <a:gd name="connsiteY0" fmla="*/ 0 h 257442"/>
                <a:gd name="connsiteX1" fmla="*/ 3055325 w 3110046"/>
                <a:gd name="connsiteY1" fmla="*/ 257442 h 257442"/>
                <a:gd name="connsiteX2" fmla="*/ 0 w 3110046"/>
                <a:gd name="connsiteY2" fmla="*/ 257442 h 257442"/>
                <a:gd name="connsiteX3" fmla="*/ 54721 w 3110046"/>
                <a:gd name="connsiteY3" fmla="*/ 0 h 257442"/>
                <a:gd name="connsiteX0" fmla="*/ 3278361 w 3278361"/>
                <a:gd name="connsiteY0" fmla="*/ 0 h 257442"/>
                <a:gd name="connsiteX1" fmla="*/ 3055325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3278361 w 3278361"/>
                <a:gd name="connsiteY0" fmla="*/ 0 h 257442"/>
                <a:gd name="connsiteX1" fmla="*/ 3223640 w 3278361"/>
                <a:gd name="connsiteY1" fmla="*/ 257442 h 257442"/>
                <a:gd name="connsiteX2" fmla="*/ 0 w 3278361"/>
                <a:gd name="connsiteY2" fmla="*/ 257442 h 257442"/>
                <a:gd name="connsiteX3" fmla="*/ 54721 w 3278361"/>
                <a:gd name="connsiteY3" fmla="*/ 0 h 257442"/>
                <a:gd name="connsiteX0" fmla="*/ 950801 w 3223640"/>
                <a:gd name="connsiteY0" fmla="*/ 0 h 257442"/>
                <a:gd name="connsiteX1" fmla="*/ 3223640 w 3223640"/>
                <a:gd name="connsiteY1" fmla="*/ 257442 h 257442"/>
                <a:gd name="connsiteX2" fmla="*/ 0 w 3223640"/>
                <a:gd name="connsiteY2" fmla="*/ 257442 h 257442"/>
                <a:gd name="connsiteX3" fmla="*/ 54721 w 322364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02" h="257442">
                  <a:moveTo>
                    <a:pt x="1271402" y="0"/>
                  </a:moveTo>
                  <a:lnTo>
                    <a:pt x="1216681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RunningAgenda2LevelTextRight403778">
              <a:extLst>
                <a:ext uri="{FF2B5EF4-FFF2-40B4-BE49-F238E27FC236}">
                  <a16:creationId xmlns:a16="http://schemas.microsoft.com/office/drawing/2014/main" id="{78EAA811-5ECD-4881-8EAE-B68CFB33DB59}"/>
                </a:ext>
              </a:extLst>
            </p:cNvPr>
            <p:cNvSpPr txBox="1"/>
            <p:nvPr/>
          </p:nvSpPr>
          <p:spPr bwMode="gray">
            <a:xfrm>
              <a:off x="1987754" y="876300"/>
              <a:ext cx="12166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1191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F26B1829-1AB0-4899-B7B4-A84E4DE6772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384317">
              <a:extLst>
                <a:ext uri="{FF2B5EF4-FFF2-40B4-BE49-F238E27FC236}">
                  <a16:creationId xmlns:a16="http://schemas.microsoft.com/office/drawing/2014/main" id="{370B13D5-D4D0-4012-A79B-85586C322D3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993581">
              <a:extLst>
                <a:ext uri="{FF2B5EF4-FFF2-40B4-BE49-F238E27FC236}">
                  <a16:creationId xmlns:a16="http://schemas.microsoft.com/office/drawing/2014/main" id="{B1A95EC6-97C9-47A7-9C69-D1282449F50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81391">
              <a:extLst>
                <a:ext uri="{FF2B5EF4-FFF2-40B4-BE49-F238E27FC236}">
                  <a16:creationId xmlns:a16="http://schemas.microsoft.com/office/drawing/2014/main" id="{140C9999-1538-45B6-816E-D415ABEB4CB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69631">
              <a:extLst>
                <a:ext uri="{FF2B5EF4-FFF2-40B4-BE49-F238E27FC236}">
                  <a16:creationId xmlns:a16="http://schemas.microsoft.com/office/drawing/2014/main" id="{1162BA67-030E-470B-A3A0-774ABD94CC2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5BDCB0CB-ED46-4C36-8297-8D694EB857A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42024">
              <a:extLst>
                <a:ext uri="{FF2B5EF4-FFF2-40B4-BE49-F238E27FC236}">
                  <a16:creationId xmlns:a16="http://schemas.microsoft.com/office/drawing/2014/main" id="{8A2F7CAF-7528-4CAE-AF76-7A079C4ECED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23589">
              <a:extLst>
                <a:ext uri="{FF2B5EF4-FFF2-40B4-BE49-F238E27FC236}">
                  <a16:creationId xmlns:a16="http://schemas.microsoft.com/office/drawing/2014/main" id="{B50D5D89-D26F-4059-9764-EB4EB6A20E5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22664">
              <a:extLst>
                <a:ext uri="{FF2B5EF4-FFF2-40B4-BE49-F238E27FC236}">
                  <a16:creationId xmlns:a16="http://schemas.microsoft.com/office/drawing/2014/main" id="{C2173119-CEE5-4AD0-A31C-B831940B42A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13473">
              <a:extLst>
                <a:ext uri="{FF2B5EF4-FFF2-40B4-BE49-F238E27FC236}">
                  <a16:creationId xmlns:a16="http://schemas.microsoft.com/office/drawing/2014/main" id="{A51E14CE-69E8-42AA-A469-7BFC54B8F02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7AF0F51-DBF2-4A18-B75A-C9B11AE6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KPC: </a:t>
            </a:r>
            <a:r>
              <a:rPr lang="en-GB"/>
              <a:t>Criteria importance not indexed </a:t>
            </a:r>
            <a:r>
              <a:rPr lang="pl-PL"/>
              <a:t>(% of </a:t>
            </a:r>
            <a:r>
              <a:rPr lang="en-GB"/>
              <a:t>respondents) - Ranked</a:t>
            </a: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xdC6GG76pTdyGYNZXlJYlwWoQ5cVHdRiwUs3b615IsjXcPZVNFHtYnXEbAqxqX8bLCsLBVrYTHBRY2jsegWi/+ydXpp62AgSxUbQlAnnCiDZ7WdndiLmWHDXyy9a+BbjoJomCIR4d+atEnRmIBwgN85A1s/eLNSQC+P7BziSFapTy9CDuJ3NWVwiXz0ANUzeH/VoJqPHZ76vvRmAoHWKSB1m3ZxiGIsPR/JmTtaGenwdyAPAlJUEy6Q0g9h2tY3ggkzDAHWqHty4vIJ8PSHnTxOd3GTCQh8UGCEl1CkqBuJo0pDeKD1yxWecVfug/CqBxyudWLw4Psn7rlmIg6LAdMUVSdmXQU5hEa6OccFhtnUQXjwJdhF9IeKwt82QCacnIRKrLoSkk7iSbGh7GDw/HSpyzwFuPJxpXlZVuLp+hVR8d2+hbpyVJIBEeC85c1LItnplmNeVmLZ0SVkL3+XSsBtWJ4gFKcFnMH1AXevh05ugrGALsxvTjCgasdzpC5rLRcwKNV9Myk9dACdG5OcpnD+Vdpr4bByu+aEEgbdZh+0wDAjeArzwDLCoY6/kz4E3yPaviql7Rt/33nKMWwO9Itdlk4Z2Vrt1Irlw+q74PQC2GafM5Ph0A+UuQdFNIltKXWBZ+hiiB5adynckMNHy8OJcvc6jXatoaM8VffEw7g7MzFp7hf/0Or2ZgvVDWwOsSvdfx4a3EgQuQYmrQtuaZhW+VqTc+yBSYtFTrCH42cZeHNAaKQndA7Hjzkc3F9ml818iU9VgcFwjZG9yPO/A+msX96E0Ia9XTO/Tajye8jGdgn7Q3fKu+4mZf96K6bZ7q0X3Dj5xKP78SfId02W7ujxdhS7beByCSe9UTZzFjm1GGGLaFdOVYfAyERbs0QpCYc0T1F9qXnCW9kMS2uXFnBn6KD5bAXxozvDbKa4lYHCBlYJf0XMISGLwDLjqpyb4AgLw/bqpEHl5og1swyPViJyg4FO+FbqLcB1ekLutTfLL8MJ5kIp8df20XvUOoEFTrl5vZlDIuu5dsRrrBLxuV1E2MF/IdEkJI5hzwQESJocEh2DQnCvOJcKwU8On7DhjIlTRVG4Cg/eG/T7/a5HxBePN/qzSPPXtCUkEoBoA8Jk8ecd3gpYLTEd7nYM5ZPR73aOxDuiVru2IXVvWJ49fEW84qo5i4nbWC3bvSNFdMfmO+u6EYD5OBlxC518+Bzjv/fkY+jv5rd1omcl7Z0vng/7wJEv9y8Vv187hzPtmL8449AtvMIX9aJ2muakgs05/6TcM8grZfKZ/h9yY9ocqZG/fXwFBnDAZhaxIi/HCzCHOeeesC1m4SwJsPnPQyAJ2k+hZpS72aAFeTr/27wMrGuM/1wB4SOP8vfEEEgxs47K3dq3aFPL053PzMUwbMhuf59jxvuh6F4wEGBvY9vxQ3yskDFM7M4a29lXbHgsVuPS7j5brPA/k7dz9JFTwWuDf0W/qC7c6spIhYRbHuQsN3V/baZHbtmEzelZb9+OasffUqPO24vINAUMZPo6NrzC8799d1pkWcCAw5lVVYLKr1ZzaMkf7EZ7n49PeEnoZzSuTDJ5ip78xbnEQPrnYY9rtstBTumoyN1HSwwDAzIRNxKa6zd54wzbjpDIDyGQAVfv0CXPwlT5CrvK5cUHQAbQvVQOQYoBFtozk/a6/Nvyjtz0dAImCe1y2H4cXtwEeN59G4coZ2pFTMOJSwYUWEv+EF34afoFlSoB6OK92jwKacosuo2iW9XBnIznRn4nEiC6bVNdLmj4EaNbV3Bwl6RQugrVCluKcbM9WJKhAEu/XVPpwOAjFYuasZLSJ/RVCQ9PaFRd2dQbCe9nZ1BbfHMvSRFblZZH8Rz0poccdo2b0aG1RQrMz2aq07E5znMmqzQ4m+f7q8hx2BXSdyPqTXhLHVd/8go04O3aSDRUN0SXpH8RGauhb9UfGkKq1UwnEjX97ATZYARf/RYZ7/zVZ2wiNTJrL7vmIzz3uSq8j6NNmMkMDTE784lCg8hHCxOC9q3CVGy6AVLARuciC7jw4jGFacdW/P7xleedZgk7TfDm/Nwm7aGhqDm1VyALjPmbDBPqrDYLuIMHVTyH61/hIwVPm04vWjwt6zdS0bF0ZDIJGAC8lhEyw1/gGMRBC07jX8qytRsd4uOdVJYDMXWAXU5cUR1kqtn5bJel53ILqzTkiC2gk8rToAsSxFRGC3cie8jR3Fo0kxNNKpKU9tIeI6q9RkQloiBbg7jQrVXbHqJcAXBmRUdz6xeTCeTS2t32vqDfijIWH4/0jikI4l44apXTv+woiXtbFB+9qhH3+Q0sfjPBI2FRjulMmov/q8nh2WIx+uvzm5ASqbWFHfvQw/EjI75NCQUHBFFhsEPaXcavBhqoI+ihkkG3k2VaK3WS+Do3o9s4A/haATVRt3vTXyOEYl3NHzECSpnkiCbm790pFN4MWfIxeQZNHYDjYMc69en4y5SXiEysIKIyYtpNh/iq3gyjKywrcZyZIAVbEOMOLa6GM3aTxajz7EKBVb0VbxJ+SN1NtoGT6nsTxooUOKPqqSPn7jcNaYCFqka5KoiHJnrgqyDh2j7ob1FljA10NTnGRY5gF5oh1YzNGcMzZul5IQwru8FXbjy/BcOSp5FQ0q5WbJdoxTedPVcBnpIRhh4650SJMvbP05D5lyww6n1E6zJyF81Agz4s0Or/Dp6NsfSySVJ9TAE1crxQ+NxMz0MLv8V83VzKeQxbyIeo5cPjyDw0WtHmzdVmWoRcmwpu0TDzfv9XSgS4jOzj768QlUtA+f9SB11OR+B0L9qGQhQBPecrwGY7q5FvIm90PRQ1fP/W3uysCu2kylIHuEJRYfmITkpTzXcrHaP6chTYQfUEJQ4gFauyo+01iWtnF+sBnxqZQFTLrZtyV5m9LQX4zUZC/+xo6Sr57BfTpmZGqKQesPg/f6ojDVWIFFQEmrz8TsiTdWLYv6oQb3yIDwYfxcSCdXJ/ehKQkbHlG5nVfn5eoWTGAcf3JrzPAT4Q6VgyjB5pQyIZJmko02/P7X8OLXZBqvp5Adq8KYroJmrs60XcobLZ/X2dlKHYCD9qK/dvlD4MiOp/11oJ0KX64zIeEYXNwcOMOI41NqbXahabhDsUMDryrIsXpBUd/bA3D7Cq97ll1HM8flbL6ARrDOKA1gZ33zDnGPXgpsJOkJHQxxGN16tYGpb5WFt3jKAi3RjFHVTjw7hbdPZLjHYmExfOcOTm3jzoiyLwxJxue2yWv0emDjc56CmhOd7DRpl+AVt9sx4ZT3IpbZONafjHlaRYkAXJakIdTjZDZCQjsns+Ji6SFF0GodSiNYiySl8W4IIk+3AkfXQ5xvXuxOqle/eayW2+W9LioAzo7pZcyUol8zZW1B+gKPOlb0WYBAPH1T7APvvM1TblA6BjwZA2TuaW391P3sg9vrLLOmbf92lPX5a8NYdgpn4GOoqWbbMP4jGlIcaBNiiq4z/wSeDHj/5H4PEburwFcJv2oQx/AV1+hKCMDPx4d3ykfT2aRcYa9Va4Rg+RtYlRAISrIJGFfM9x0APFiPxzFZT0O6ta2J9Z2pX7ZUkfmYhmWmbo4cmtHIC6v2PD9IWlII+DyQj0zU3w8GsSX8b7JvZMDLWQDAU9Qh55qbWLopiQi9TXpK9yW+7kmX9hvYJPexTNZX36e3ocdnggeSu59jv7kmBJGZB7q6PxXN5bbOYLFXb/HfGiy8q0lQkmuN3Gvu0SJMmh00oRox5oBP2NmqtGJZxjmTeNwPVOSDOK74FCy54XSMhnL/3e1/VS2s/Qcm4ZzwP8mRZfZkAXeOz0dXN6cDF5b4bMBoKNns5Wiwp6AKVuAdaJ1WQ/l2S2NtjJslwqRC1zht2xiA6bgD/yAlAL52KaRjI0nQafSkFvUtZD6P8AdGMXCLbQfBxQSs8JqiuosNZc8uiz90AQrXb3oPVOabw5ec34k6xdQ8SfcVANhR0eSl7H277QbbVMhnlgrHdmw0EEJh91sIX81zdPDNOmKeiBJU5wtrUYjL7wRK/vyrvyk0OakpaLoSIP6X+OCMbnHLeA7vt/FKtvajPHnT6VkTb2aW1P/Elmw9OwcbjHXSVLOUOt0jlmTB8fNyeclDkfXPrWn/Ke3+dheVAJOB76BgnGqrdDj3ug/njA0ghpkqLDn3TOvOCd0oRAEiaHUaiBOK3XC8zK9106tSwS+ROKFoe3a/SaZQ1plHNQGB+P9ldOsKz14UVuMOW2OnZvnh/Su0A4zM17EvMRtAqG88BRsCvBnP05Zu/CI168lTgVHRufC2OgHdnjorrxSV9zR+/x0eSJs0lqiamfxUwg5W0EfqUiZu+E9i5YgaEt74+5/8+b5dzcMsEVyKcOh4XBVI6C5urEpjrXKUZ1gfbQqRHiMrPF5dxKS1KNm1XdpfSnG3wlwUQbyYaFtLjFqHWG3AzHacSedJiCITz8gmyo53qBxOMNn4KN9vzBD2quw46ecUtTPa3PtjsJ6xkgEz9JEuI7hQX3UpNlHFowioHKPZPxE2isauxj+jwh3pZZNDUQW185Efwvwi4fLCDKM098HW3QN/XcotOKDBGiaqUZ+hBOnVKyc/sd9YCoRu6W+nxfIz8l7lIbXx3RfmOH9sZSEduCjmEDJaZ4NDSlYNetlSKi2XHdQigFcqOc2vFxIMd4JQLCsgj2ASbZ8HxdBtvfONhBtj8OmPQOEHJ9eKcOsj33bfDf2+8lnyUYtuVox77rAf2eqBh6IVTrFFWZ+11ujxrcMO60NLilgrEpSW/PFznDBaN4t4OJA5HAFtBRI1UhTFR1+tO5p4eLsPuSHD5+m/K7LixCw6LQeaZEFUQv/QxJjAqOFMEdibCTTfFy/uQT1AU7a0jY2FHwJQTGy4++8SpbVUMVjw1vV7rW/5HAHjDHQa7lg0HSp4Xn/EPECuCp31A+Zgk1LJPgZ2sSSwe6kFVdU+v8/JfiC/eDEFS6goAfJSPJuM9IwwhjwTuyXCXFUo3cYlNrP/uf4a6/n2WjYlTR5tZTUp4xjEjNCynZfXqsbKqXMas2sHLROOly9GwpjA3JnzrRbkAcdKdhKJFDIyJGiwJkjfinXRsdnq9aZv2l5lPK6YRDWpph/ZxhwEnt2yjW55elswZmsAtVUx/BxmqOBtei5Hy7oLBFEWIoEziJfRckzDWpK89aqKE09k6DU6n+2lusSoBwzN0S69ZEqaEkTeSyzFvTNQo6JYGLdf7qw0eIcCIDiTa8kPbyKzppb6f+SHFxv2C2/5dsy9ecodprEl7/p+B5/YSAyFWbjM3jejojuVXrCYxiOYNNlKQLHxoPkWCyuSZMpwZLTbdy9hj5vnTWuEkvsNoeEITqRaHxby18qEdZRyjuGG5FTUH3zYso7keRXFWKr9nm7OtgIXwSPlr9yPWenF/hFDcqCsulPzFbbZGZUOEJR/5MXgWF23xThcO3hnaIAnABL64uan+V40R6s43ypYbe0fjAqud1RwgHh0FLncSanRM+xByELOJl1DuqialWJ4Ew/X/9hVrSvh4u3z1SI8dr/CvbGU1ZVrBplmMIwVq2WrkHz2vqx3TJyBYYBF+kbVcRBSuiObjk5IsulyHrk6TzkyY3zkT6dWLPlN+v/YHRFE/3wbFir4R1vTREh5teJuL7gzzGVl3tMRswWt1mww2AMHwI9zR1uR0cRfx8K2xDc0fbnKhQvJnMuyNM+lHDb+JdaQdj/S5OrVF3PkI+lndoIfpETr+HLRu4u4cY7SGX8lvfYxfPNEU3e8gBafhUKdW+bGNouTY4uMKuOb7q0hnjPZXZfhr3IOHUJZcbgKl/s6NOp4FSz8fgdXi+1rs+2UlWf1cXjUPpCRf6ywV85zBCT433fCqh8DB/qboLlB0+L29Z+96CmbrJFqs8tSM7AinxaqSWhf+JlOTjOtxYbC+hm+w2bD3aIl+RodRK5BeAMTlx+2z6SFEPK2zBO7CK/awV/RMPF/KWbsKsBf1/jdGNJ08LfU4hN5e77lOn8CsFOg+45hKyz75tKOyb9VElKGm7J5V2FRY1ymroKf3vgO3bYjliieSk+4zowIn0J0ArMmmuh2VuyDIc4DkFDq/H2FXT8xcVNwHWkV250H5RwwobFOI7BGfctWiN73J1920EZvSGbU97hokVDZD243aoF13DakkQUHBhV6vM2pBYw3rfMu4i+UdGRYTlpe2LDc+4y0JruVi8+Pby46ySI++LUF9VSiPGSgXWEOt08LxD7A3xJSGeL0cpQ95F9efDxSNbC9SuhbFabKw5orboZCZO+iGrUCZopmRQ/z61Y/KHFeMedmC1JUU1ngwL+/EpFL05cDSLhPjNlfeocXq28ntpeF2IpOkBopar+YErnMt9ziRWxhwRHRga/LKkv03yJmkqnjdx8rL/OzrP1yjy3ELIuXGFwAjNTEYCc6r7swbd4jGo6Hwcu6Z71D3xB+V670+gIjhWe9381xMv1N4M44oKUjtZbmJyjO6oJBeRZTWX4lzlmAORBD65Of+x2cZxWCPIyo+xMWUHNG3Tm5XQ1pqjuBT/OUL1USXcpmf0Gw/SmA2wiUA1+LDz1lLj77gfU7P640vs3Rx2a2CMD06MFqmVrcdGDDPkppzHNLlcoCmCIFv5ORmYiClS8l5LmniROffVxTEEgD7ozl154fEN5ROAwuF2N6Wk6E/RDpsT0Mw9Vbzu4rc0YAFzyWinKL2ghFksEuTh1fiw8Z0s0QeXxcWf0pO8/gei75tSsqSb2nFlyYhaB059Z3qmwlhqXDb0zX+MnchTqX13Lxlrw2wcfn0h4szR/XQI8ue7KQix2a4dyGN9asuG3qCdbN6Rbl/op8MFCHlLKD6TeBGd3uxs2z68bPYXeerZaeC8YXfVI8ERkK+Gp4akSHOIGWfdzK6Fo2hd1KG52AYUo2DsrhDFUanBP3nimMgB0qsAYqp6ajoRxK5AQY18C6B2O9QHjmyofnycyGu5EcHo6XbMdUeb1GkMcU69eGKqNyhjiG3emdrT5nKeWaNHxNymg3a8J06Bv5rhNdOlyQerUsOXS1eJK4G7L/JtNIoFAvSt6SaQdNjcLIs/HxsOBj44IRh5ckxMFlZM8ivyE6FyGuMPIDYj5PfLN3qcmhijGnZvOWPUA5UPq+IoJZr/XWjOfUOh6W2hU/YAlW32OBdgJ5nyLjnaHMgahLNp6fc5jh3l90cBfLwbFh4+OoRN0P+4AEBshKWk4Pl9tt6zZmYerui8RIBxQBl+EjKzSfpB7HRBibehmVQ9aY3OTxP6agx3SzE2/aH8UCbBfpY7oXhM8vcHBKhNBFHvoQoeUtwrqPlYXZVdxsv4wzeUPkizlCplVfzajnco8gSuUgur78qwt/4oOKgqFGRsFLvloL5sYt1Xf8rLXizNGSwBPn8UZiSJmphCPFw8pR0vet0rBuqUjFE1txBX3gTT4oZ4xKPW5rMXsU+aSo9E8HceY4t2vswAl8OkXZZ0yG9gzP/BHGPAY9XSmP+lTsXNBbrULDF3O8u2Xoy8PXzpGDawEyrPDmY2BexJXlZvsTToHGr/QVD4xphYWHUsB5CLdooHD7s0av+/j3f0W+a6x5BzvW/WztKKozL/zlxi238DIaUBgnDnLB7KgnIjanLNYn4U7u+vHLcpudDY01gIT+XYjOORwPnWSX9gfZ68/RuGaOraAosGqVIkVaWYY+DqJZmmUjNM7fmQKBvfphFuBUxB7sWvClhHswOE1BhJDK6IB4heCVYaR7HzXHiL78l9vTzAhNhVFXHV5SuwB/4bLbUS5p47+gw+4JWWPcgWMS8RpbuLNle3pQvJefUuWb67abpwv9S5dGHzYaGaUG4kWMtTfDpW5MWm9aexnjymxem8enwV9om2rNr7J9pYYcwcdfL4bQw5TLr6hKbRstDTFX7pGKqNpi17fsgaYq0U0hyC73kOy+yct2v5eUqeXFYStbPA7W//Vms5L7d6c6sRXepXNXZEnNllslHavu1gQh/AsuCGerJ+1zkv/KMzgUuBCtlOTCFsoTQQS08DkHJ/uCtpwQdHNNJS6/MgRl/JjbUYk9hXK9vGERDfuKg1W2Zu2FTwDIyLUjejQBrY99n87IMiPDCj32aCtgTkNO8Yf8jJk4m2QSitq0baNBvjnNiCQgsFt4h5QTjxqA2AjkOBnjsP+carCeql1CBbTccgArcdgPMwg7LvU89mMfadqcn9JUqKQzw/7j0j9zvAgHkE2HxZGZjjs4CaqwH8KXLU8Uln+ffmZNtGFf9SOymNcW7afZ/Hxf1Xyd7Ijr+EC7wa7zzwegWmaz7Nt7HOZ3Pi949jFzrn/ikIKeJK1CeTqN9xnIwLtbGOHfgdbRrY85SMwN7USbcTKjbE+tJU5bI2G0faFtCSzLqkk8Ztp7DqzxfANP27ILLdOaYlKUH7kgX0HHJmTuo2z8Kx1KYpQT55K/BAH0tXv5eygubmdQZEjKEosF+8nHmCZ3g0HCB+Qm6eo8H+9b6oDBg0DarotWDHxWb/qe/8yjWZ4jjTyrkbY7uYFZ8a+5klq2Yi4koOoYDcOTzeNMdIjOdYbfDu5DVQtCqKBK1yhFYkThRteSW0pxdvMgccB5SCUec67wiGc9a4KNyWKioQQzurCG24C7LG5yYdiKGquLJSNCoptetD1GU27ix61v5FQTMafu8VQvHbDl9a9gI5TBH1fOAZ3Vpp+j7UwoPmuwqPl4Mgx4dzKH6JKzbagFcT+vUbarzzpu2poPio4TVxb3z0jXMG2SoaueokTnfpz9vty5YXH997mZhilH3ulOxe/wvZ2LE0CL+jD3p9qW0cTIBc7uyO1OgRyJnH22f9rX7EHCAXKVa8gpWsvu+PX5JUXDCQpK9cPO16L78i+J98iI/nH19cdEU+fZ3dAdDmfD6I6qisBjW+rdNHngeh5sEhSm4yG035uQZTMwl8s45eF5qyfoGuDmiuAwkOh87eLnLn3aS/ONnMmEFyiYREN3EFz5+zfeZKEwj8tjUmXGQvpARiS7SA3c58n8WRMJs9FInKXVsS2mlQXkwBF1aVXslTKkxyRdx9NVjwxqDI9gZS8AVHlg/5r1H/Z1RRUqAlEOYmTaB/ZJqo9popQcEgeaOCOYdjn9V496TzrgenrVuWFeqP2RMWx23HGIwTJFfBjFzO4plSeI7UxNKFjl7Rd9omunruOU/2VvcijPcQ2IMTgNLTAQJ9DIT2NFW83njxMrmfd13IfWEjXbenPr6caHUC5PLVx0ohSkepgQG5V+TlgMCtsdvj0ytYHnNwZRXX0kYUA39hyE5rQH9sgihy9EscLVuaeJ6NPwJyb+lIkNIb2UkOBWhn7EeaBK86S0xBKckU8sTKlFVYjkMveKx0RaG1ihOR5qTnyXzS3froXq1AuLNQ9ybtRWicn4Oi6mnXGKXznFuQyD8jE9I9i1DXrVyuKnEi6IqmjuwaOB+GLrmsa6MzcHbdsr3jSLEOkmR7Gl1iLVZJ57ccMOnIbbXpJYPLP9C4/DLBF2M2qJVcMrrPnma/j+n0QGj5YzHDxWQBgLiITS/qhMvjLPrBMH8Lq6eNfRpij9ULaK+ELBZaiZD8yYGn3qXJDZkZ3YqKL3p72O0PU0G6Cm3wXcai38a+0SadOroUipObv8xhg5q2q1pfMFugnXeBp1O/axLn16qjoB78YaE1pnsDcLywNdb2oIksddH4J2oQPrPXPvvAKI/q6g9lda2kDUtNtwbB2814+gizEL/5fUpOdy02txlmcZddoIzLsNVvtO4loUa83xyQ9lhP6ChTWRFnOUOkRx4ecwYSuDw2fo2v3lt1IcCemejBsGR+WMsGAQOiEdR6NE3/BFVMcVkGfRqvJuoXiXzmomwSj6kB1XkO/6DYISCojKp8eae+DHoPkBIj/4xaql23To3wp0e9H291N/2kXm/+FZCHs1mlrL53fU2AFjqH6nHNniWaGHQba9czebMb13vH6a5wBa5fmDJEhVMcIOJEDv2eZ6XcbWg2Mvx/6cgECnYhFdkPM9xUgOMQNq5aJpm9wZhN/ZG4hWG5Y4FmJiO79pvvpx9p8YJN2YPvHZkvhU5k7abnuoS3wEryTralaK+QfByUFqRb/EGUPSKCQHL4Igc61avQRuRtECYOzJsG+mkg8T03AVnJlHLklV7QRPNSHWZgZ8eJmoCuhLVrE1fJ9950O6YHasdrGs/511TZ0faBe015CO08DeOZz4cblr37HhhaLUz1MHfHzIFwDLdRgBH4JRePUwPhK4WusUqeCjUT2RKtAKlw0vPOURjddLQIbwW7WicuTypVhvcm7WZ5I9K34Qk5NC1F1dK9Yoorvnw+up1Q9ea2lDbalf4WCd9/eaL52mWmHt55D8Ud3E/8X8J1kdqNr+KCRfUVxZQG7vdkKM2V5JxA5VobE5RUoN5tHQvJ04rT7SIzgX0Ujl6+wFFOOkF+HeomrQrYcmrs+k0ttUSgjLp0rbOmBmP4zpHMDo5hUGnSyv9aA/2VsOwHxi0TFm8KxWNLCpgG8fn23/NZP38cCZ17de+aWHAoQdhtwH29LLe9f8ytLp3OMBZJSInZN7i4T4oN0MXme2EYmM8x7UMDBh3ZBrezWe9EMWfNU3NyRrqNuIi2UkREPulLESGgCoXLY4x+0DXP/mnVN0R70AjWoVqKXknUPLzCtGXuRfB31vlXZj8F7YoFZVXqyAQ21sXzmNnFn6qoZrGa8g3qn54OBeUsQRh69qdW4+6XzxTa5KOJcPWIImOqB63FZtjxHYKKqX9JyZanAcdDApNc8m667Ozo2l8DCCc/2vBXTj33aF5fSW34FB9v8pSRi06EVUPY3ppSxsfmn7ei9mpb3/AvCx1QHAU1hNdy7ddM2BmwZx2Re43/u2IEfnmYpyhDt2tci/rmYGtUBoe8cUAVG03ZgDO8JEMwd3Rn0e7Ads30+/71pDEi/19omjBIKvPRstGupqnOdKZd/Y8/ew+DOUvb19OHHCCnU3npfZl5WmjCUGYMjnvf9XdOL5jdLZa04A9B1ourKOPtx7Y7rju5WJPWdvvxEwWpAHj+2jnhvqfCGEyWWX95Fb3l1ZONmSRiKtmK4PRpJpVS8uzka6jvkqwajKUC0zUcEuNjoAEVdHuUH6yuXhzfOaHXdGOCUoGlwp46ikaRBzEGwW2lkgk3I1z+0eip6AgpU4Dp3Kv5cMRcTJ1zw0HEogUNsD/DgVfyM8k3tIqOzA+IEvRkWFcnOOIHDoT4HvSZYrHeO6hty49fu+g+laqI3yD6US5n1o/4WCgpcV4VbHMJJ4InjFN7Q+9VdRpIhrflKlDF/QIbQ8RG53ccucsci9vNmeActGhkICDKrZvmDN/oZWtGaS2T5nJVsiOo4awpmoUP1ZGKg6zAD/Opu7wmww84C310RcUWipZhVjbHv0HLzpxjeWnbGprVOJ1nydPOkkacK1OS3UsMyHRjqr7T1Cv3floY0Os0CJ4y9EIplTA8IhUDLh9AdmWZvPKyzAld1pGqbaAaOON5Pa51DtdQoXPSG1f4ZJ/vUEoFmUGFcGh0p+bS/lWT92/rPbeIe6Na+xKA3k/VTtkkwMYKqUPy7MLxNrgfv+amyp88KtGB2Zws3d/OxWBgpCi8HZ+Db+kcFwp0YThH/+I9ABZzTobhuklvSDe9w7aPLWOCSDWVdrWuzwrhZ5cWNKQ5t9yw0bVCMxEXIzqt+ZWIgImeHG2eknBfc1H8s6LVOagKJaObHrm4h4FE8DENFCuF63LgAwpUkHovAbU+U4XrTtjK6bVVKAkXoB6xwzqmcUdCEGTafEL0yAzWlddFeih7d1pyFeH7V50hIYrFqZn5PE1fCPx7wY/budv90REEDCQ6QPHsMT91TfmhOPeRxY0eCZOd+bHM9RQmDYrHt0MBYH68jNM8UZlOJcljE2K0qJKlrShatcm2y/Zs4LyzWCPuf0d1uFPNFD8p6Q0V9YaGjg3ZiZhTI3ZUZ2YHlWzrLA9WAdTAYV+uWIF/2hJX/qJUC5C5pa3gMsTQo1LM9I4ydWCExnNCoX1VqEII872fRU09JylqGcMpOECBfXImC3mX9EcPrO8Nq2BWXMsy4uVdxHfyegeo2qN26eaUZDzqp6kAnNPgAxA1AB+EbUWb9ed028kvfh1m+f10VBy/q0ExFXY6QB6XBv80CDyMw4540IA8EbuOakk1eApBh+jsD15u/2W5EQiAt87QThjdqmITlgEsTBvVmuijG3ZykHmuV8doEYJHSBt60MELpyNaONY9KQBpuTTiVAJw6zrJ2qeSoqX4X69aci0QK3G8MtHIYt8mXbK6NGa/xlJNpYlfdJ8kW+/oluHMSyzqdEEXli8StSqw5M0/E4yXtm+1kkkbmBxwDbF08GhBx77WH4VpSaecMyWlLXIId/kd9dFkBtQ+g6S0BKgx72/ZI1B4wZj3clxjjCtgPzFi68lo293EOFHObeKt487e0dwXamwFNd97rBPJyBfxZP7RYEp2hH6HNqVzJ4439gRLcItIaHabh9EKt2SlX7EEpthBwwA7X+xgJj9t22Hxh3MOuxwF8xreCNrEzoTSNgZXC8upkJl32zeoCoPUf5yEMhy2yfiJS+Evb7wbFi6KZFRzQaOqu5x7j1xHcQllUqotFfPhq5I+Ruy9Q9EKoOoiyKWoMdjBm6XwZU5BSEVA/r/4cRacSC7rgTuR81CXVrRHOw9Z/A9Kw7EwsppQIo2vaLpGKhKVtwgGremsyD70k/h05enATmsWnl0tx9YUHHX/kkF3rqAjG5QLS/ipPPL4qioMePxwMN5GI5nKQ9pPW2QEQuqjDnilaZE1G+ZHdRlg/NlS7YaYcPKs6Ib1FDU9iFck0JRAjer71QgbkkYb53jPKJLq2bXo6rlrBotW8uP8du61g8wLTmgqhqKZjUuZIv8m5BW59CALw1YTv1Fi7TQJyiid6S3iohs5OgKq7wzz2oBmqudP0jescUR1GliUc9uMubkYeFNHi+0MnPthzpNlBhcbvcXOgJZwuG2vsOCh4SDYy1XGxc1/utpz/quHZdkOb8qFOIX7rEBhB3WC/2pyJCn86Q3PNYwkTIIj7QxFud6n+Lgbm7vm4mrkBgQm5PsO4dzggznpiCnXptIjrfLaXlanOvu1ioEhXVYvTi5yRxCGjaEYBLRLZxfXggIk5hLOUAouihHr/+fd8Xo9zGGMu6N481o8aRbUXEdjqDiw6DT12uFfPFnToSnKDrogwcUO6aIXY6yVeOEjmvybOJy8aBgNrAkK3zI1mweiTzp/gO2pizxh9JlmE8rA5fcDMmfgA5ZvbLk6/UQkYdAFJ1/bMNIVdRb1xAR2f/9LusWrPMDxltcJfZaj/GpWmnSGeXH0CyEgjaRSNjwm1qgLSkcrcj5jL+prVfeQrRXFA9nsF89j7ey8KDCb3jKkGiiEC59bEwoxTZmyDcLHyw5hugjeNom7QkFw0+dy6kEMpNuggMTf4L6RYlaySHbN8bouJvMBxY+vyCmL7sxjyeHQQPpUaV/qNuNSpKNlYudBkMAlAHAi9iif7ffFZJX0vGnYdr8bUdAQBkfain6NrmWYXa5BV5BkRPkbtsuzt+Urn5C4o8cPIpkM8yAoFfGYpFzTI+esKaGmS/bPlDR+7MwYiMQq80RPWp45+qGt8C7527Z+CcKTGDZ/pZHKsmJ6ZPys+uxR212gTHAWyX9NB2sK/j220jv2REBSEe4kDmReYUdTKaKft0a+VcdwAW0Wgaa67VU3FjNDZeQOgFfIOiJ2uDgI+3rberq5QuU835oJFYK4uGA+9+ehSI9i0+ZxajyHeqHL6QJfp2bgGbFcouevbuye7i/RbEGX2bFKpIfSlkgnWa4Mq8W3WF0qkEVnkyCxsXsW6X5SNkNe6qMKzzOM6lFZDtZL+LpRBwb4ShSms8z8tGyHYK2fIkyO7rpa5jviDrlVtVMcDSbasfv0tWkwTx3gHOOm/bqHgb/6K7PDjagPl5iz0c0dtt1jXBK4YQn96iZW+cEsy5uNCC3tNKcPOQEDVUq+/cQUI29FXQqOlR5lt4mX9uk5ebRJlRZpkeG4KOI98v8MuH0hQqVhs1vt/fBGBPQoGUHYiTN1PYOfjpAJW2+Qt9PcS+gshv0dQuNxIsZdt33nqV5PGYlt2IKx61vVsa/lrN0uzr4cbElJ0T9pRxiL1e4ZBswyJwYwCInMFhxVzA+Np23QPaUF6NuYI7rnmDzRONEwEkCJ962o2QYQyGMRgnLLZ3qR8aQkcKb6G8KT/zcDxv/vxHDRYOiANAxrotL26vMscrEWqHr4YU4huMmlcIN3HEJEKjo+cm3x63GvUEwGP13KDoLSh5JHdI+4yvTixUjc4pl/kEwm6Nlzo84d8nkSgi15rklutu1Lvxk7jSNWxV69S9cFe2BtbskeFGxnGO7LQxPRKNwXs32LTRrqo8TCPyIF/fsZtfUZxmCnZSVDs1u5uLLHRCbBwGh57VlnD1YBaH+QUe432Pq+43+iPYuyNsBRimEI/SYAuBabS5RUsgt6XshLIDjFI7k1wKDBMHxzR1naOwPwAr9dyQZZufxOXii4xdmhunDa91Z3NGp64wRZwmHkQR5PKLGn31i98EiV4uOprVg8sN6fYfCTEb0TFJ8/bmS/RxpJIJ0JZqywrFU7eKd4viMLz1XkIkv//nr6Ls7M5huQ+2LtKV9WUncaTeGxU8VgOdWVjUGY78XiuWbqhBDloFDzfL5SmVNu6l6MrenNyWUUWXAAzEA8UTn1VNoFQpLgwvGe3IeT/4THnc/WUSR7P+citOMc+pbcuyuVHXqYIkTZmJNFOXynZl3YKnTfD4XfkvZ0rka4pzYdRb0z9/vF2amJS/aDhnLajYAu6Bd4aFhsP0Sux6gqlKuJYca0D7hyvGE+AwxJ0goRttx1z88n5W1cIbljpRn7ny0LkoRGkA6BmgezSnZcYpu4+a4xj0AQN2SQA02MV48kjMiA2xEGVXT/CuSsx6CSlebPNNFfolmkaIt4ly+rBDSwcNIYt+/nPC7zLLK7yCIb8Yy2Q6QAbu/QucVDJW/pyaVvkYuI7e9ZmaSOee5Jos2CUrElkcHMMDSgM1vcxcj1NixUglFoR6fVDxXczTXvr2Zw9M8Pmi/DW5LgeilD8fdt/pXY4v/t+TgRDUidk4pGi+bs0ewIjo1mXdGeagg24NZT5oe8+eMuvFxZn18YbJs4ZfHVzAjyNqFNWmH5GbxOfw8d0dDai55eV5LLNK0q3RTg7RchT31y68zKGPbk+3bR6XddewzFxqKdAnUGrcZXliAL1kO8E5kucZ+gU0FZQ28pD1cPock+V7WeIu/hBEIIQBNGTySbv85nzBGuJAUO6mBJQUfMu9Yv2RwsQHLOHd+aIA+gJcUoKUQXw3tH0A/b1XS0eI0lbxk5yelGXZoW40MhlQOZTpToyFLJsF8z4MeSYfItNUV0vREXHBBoiuZBATGHLigWGj+jizgUSeFuMDApAyt0aXYivJLO4hk5WhbafG01eZT+PTMscoBAHyjfggs5zSwl0vpKPejOkga7Wzp/uu/wsIzNXdHskJ5XLsJnmf0+8TpYx6iIqQr/PkN4UFf9ZiWS+Ipx7m7/wqrBJnIoDF/HoKYQ2/1p+iNqOmfXkmnGXUy28JKzfqOHdgwJjcn3xo9pYFayCQx0hFjeugRblFTZM6B5t3cvUYm+34AOQrBr44Y1C5xOg+taDAzTh5qBHOzHfkdsZySKUgQHEvWrMPowNsoYhsDrik1iCdZxp8qAMdLbebJ38xRgvksmU7vt6XF1Qx4PK1Ql9uXj2q9wvmJv9pzJA0qGhCtZvSiU4tAzc+PqPiutV/EozeCqSDJU0Ns+RgSirIWMfhgBTBk5POfUlViU5nP06n4piy/QDtVsFAxTB6zWvyRsGVCoaq8xQjtiB00XU/kltvsxIrbVgnP/ZOliMVw7RoGQkqwhayNSv5ZMBVcU8wJ1IP5v7ZCKMLx+k7cTKuMD86bd1m9qEGLj+ApEaTp8q0Ps4+AaM77ppJVys2hn/31ZgduOYfhwzV+SENzaVC0xwz8Ro8wSy2dklYX1kU3uIxdEBtiAD0YzyYapdZ95JGsVY6RviHzbjhYKcsQ0EHimPc32ekbot0ddz/ldRGuZ7MNcgg1iTY3J2TiLkHEZ0CF3zu4ZZdOwFF76MOGEkGa4mVEJ9GC9W5UZSdjdt053WoJ7jtes1X1eJYv04/8TL7EQ/Ofg5Io465BAw0S2havT9mu1Tjge5fSVbXGQYS0guCcp8TDfzfo0j54xUg5CKIKH9HYpvoiJMyYLl2sginuRuzG1iiz/yqTXqmvWnkHu1TmyXKStLpi6TuEKgUL0Ms0v6GnG0BbAG0QGJkwy5/tGZzmzEMrrtOVq+Cy+1y9YLDo0INcDbpBng32pklVsMs4uabrBmJf7Pxr3Fks4Ynvy/DEfdYE8i8qadF/7E3dZos1z8EcjP2mLqqNWtAgD2R1Jyx4JjIVwYcoeJfyJ0Ro6nlgq9kxra+3h+XAIPRfxrmGJc0XF8OcEHSOqz7G7vrVn96mSAoGkUyZA5xGwwPL2OxKh/3Y7KG8y5tkjgeNNQHijOXhtKqdznxGqDmsLD6+zUJRNuzbIjd+D75GNi1XzjHssNShZaq612wQw/CAVNcWvd5NtR3zR+SKvWBpOJZ82HL5lzgiDSbcj5SpgHgH5u7GEitzlO4mWhc1Te3newdKW9du/aGPhBt8BBTb02k9GTPyhMxkvppliTRYk/qplw9Sz64pqJ5yDX8EaDsJfMwQHspj69rUgAhIzfYOnCVNqX/9dNR3UboH26gXbUib0CesFO8+jkTBJJncfA517yaSAF2PaKfTFfCsoWm6zLyrmcvZ6Jh5QVyLWiPadJbWri0CmQjeN1EOh3pqs7G40Yj+Hao+gMpc7eZPU9CCq2ue2eV7VoxZhGyils8tOGn5GrtZ8VmosJw5TvYqHiMWzOcQsmt731noXRP0EtnHHa4BaGN5DrBCKyHv9AlHQjvCTekVRq/8qXlMZ0pDLiCfd+pF6iW1fkyt4rDS3foKq6mXtX1uKLIdnvTz9E//gE40mXBaUc+A3WKE+aGp2e9256yTobNEvcQNo8lPAC7ENANEoMFgIMxT+uMQyvPC1QO+h/riKJGLof+bclNhs4LThcG3zMN8a3uxlwmXszTSH4/OpeN/JS/sBVWfwWTxp3W/XXAk/eHTjYPaAedI8dTRY06Xe4P6NRTAvM42ZjRvi/2OaFCZMRxiNFMj6aitA3NqYJbfDZT1pkI7OrpnDtsWYGQORg7DCyOOP6M8fbHYZljfzv08k5CrS0QNwntLqIugZDzeacvgdTpLLa0mFTnaK9RUvbRxmoehRz4hni+feGc4I17rVd8V0L/i7FZoEUfpF4nj4doRRrC4U0USq7s7yAAogPq9/sBMBv3HZmJssnlQrF+SkSzs0w3leKSbnFQrVP4YC7uN4dCxaIxKHCYh4/2qxyo5m0cKmCrr+JHHf8anXMEV5YKj00JozM2Z9CM+ftwpPoBWg0DZ6dg6g+6+qoXH4NVf+cMS/G/sf27QmQAPEgFVz4S84vqD7rs+Wsl+LSd8KDPQfFJ9P9JukU1PSSmLUZRMZu21HZbY8ECvXAzDvSx2iZD19S4L6EOxjp0J+XUtk7bD2eA6E1Jo+ZvuQo/q8QgMaJxZ6/ozkx5loxRBSYoohU8exyJHYoKuUCu91plw6+7YbzMfcxmvdKGE0BWHLpRZSoS6AOb072aPFaeXKN25ltn0Nq2lJkccBOdsR/ezVyxrCjYyPmq0qDA0s30HNFBrCCsu3SRkAkAOyEde2kUWfRC1LgT5xR7n6Y/Aa6xq95sXCRydyWAeMnb5DKQMNnasM+3Dbuc26YncW1ntAmeMklIkO355r2PT0cbfDIwebbPvlSW0jD89lh9Ze0e2TbUASBLBf9D/+kllZa4A5pRr/NSGns7rbbLh+pagSay2JR8ydqSdHTWvjqxw5SZmzYyKRtaNOgBS53DEkld7lCybHySUJSjXVjiLPvqE0mjnrZFUN5nmtFkWg9vjt81VHOM6+ayOi7dgp+0Ki+QgTG7H0RabmrnwZDLa5Wtg0jf3YQIRXFsZiY3riTEBtivSwuhQpF5ZRXXPRgqpt8/RKYTnmFCQPUFv1eDKWpslmlEhtfhOUy+QfH7KQUc0L1FMcUieh0X3prcBkhM2EvuM2ThRg7dPTZrlXXwQDxhmUfy1w4NdFncCMBpnJJJ4NeUWn5kXN6Mz7kk50v2nnHmfz35EsJ2HQDFQsoKfp18jC8RGpVVQngz2+AmTBZuMre4NcLj3e6IgqeYUMWbRs+8or/8g1mcaxuKb5Y/Z7GE5mu/jYbbXTRl+HcfZeaGuyNJ1atWOoB01HJK5wBaV3eHgr+OAdbQU6HV0hYwXPDnxsNoVA2aJ7MDmOd+Ysf/WQkh40Wb1CWSQlQZ7Q/oqWxtGceJwduw8EEZIzqSnkx7x0jkKI8/oi7Id62b7CIlPwoY24dCKklZuXK1sdsWng11caBnSA6RnzoJTOBdKnOQ5VSW05L+PUAp2JJraOdsw3WglQ/EA1duy+PLtykGJXOwrDyg6CqryevR/eDkEN00e1EvL3tcna5O1ZCjEmqt1bOouVIXzMN5riZvDu+t2ok+lIl0SBjk8eZjy9qXb5oqze3n4JCyHqUMTKvXlhdojUlwTUUV+maJi1yH2ZRPk0RPHzpTm+t8WwFAW5dDPXXoNHJ1Lz4Wk8VCF0GvyYmcdsnUNiQJQZto5WnHKwymQCnr6L++eBkbwvrAYvQ6a0ytU2xqFZai06ZJQpbjwHCkGnY1jxQRpGUiiHCXYr9IA09tCfGNJXkt/izoVdi3/G7miYV00S/95IaPEhBoyK+7g6F3080C10cIbaDW4e78ouykqoK7lzH4NVYXyrTYAvawncvlUD1C4/eTBV5mJXP6sBHzUa+CuTWoIiQRPKHTuAU4HndOlfT/mMjf/uMEyHlap2YnTM0i3qjBl3/6uD+XcvxeS92Xy8LX4ZAMkhqfs1NL5JOgCeK6YRek38+d68Qf3EyLAbnWARBV9FwtMmDutBvtoZg6WAhXKoP52pk62BwHMQypPayaeOwYkogWShsmwUVbF5m1Kbut8cFXZ+cuFeNxceXoBXpHwestIRHaPkbRBryal//nRsi2wmdJLqWMd0rVMpKqGGIFDSAy3VEMbY7TN2WGtuA5tYLWPTV2OgtFGiTo395+ignrnKTViNEGAdrlAJo8oVe/nUCvAX1LqecqHJhBjcRoa9oYpBCnNzfgvg8HCSCy516dNkIxNe1MkBZAckfH+LQyx80ocKafABMSdezMizZkR4WsWgb16V/iuthlA7aWVIJ4IkWpFGWaC6OLGOT30JXZFzpRxDn0fEyLn+9OD0PdmT931ZF524satnmPE9Kzo4UO1Ct+cu3Uq5TKxR0cN0lKUGzcbEzEajOG+w30rUYsDghsU7Ao9PFiM69Bid5lQk9PhhW9J2kHeQI0GhbUNjc9HSP6c+xnI0HTfoPOAVQ8j9Yj+9jSawdciNCnvDnUJHT7kIE72nmlGbbu8/dMxw1s4F4RvJeuDIPQ0VaR6pxpAq2Cyc9UaRZjSH70l9VlibdiGAtA7RhEtRvCC//WP87pTdCaaiymHM5e4LjG0THi41bkb6IaEFz0E3Z/tArrRYYirdEzlcz3BpIvZp4lGGmq4uvZh9utwULl5mesbKcd55Kjfxp1ofDKiCdfVf6J7kLWMcrOLfydnUuVDVe6AhlaIsbuZhGCHxjs/Wup78U+InR6iCVDsVGb8eaPmYOQRYbJUejf1rVxzsacMbjeRHm4KCqpXYjtbwSWnjNaZYJHivDT8PiUE0DdvIZCrwCfO5XD2EBqcK9bwaO2ujtvnw2GJsubnEhwj3tCKq3+2aK79BaozE3uflMJs9huuG5fRA7exF93iHxc+KR7gZqnByOZGrnRKNPFE8HddE3ap59Bbo7Ti8xKIY3vga2/UIsp41OIW27XseXKWcNtX4vlv5GyPeNgPVK7UnI0SVBV8Fr1sHGAzNqt9C0rDfELAA4TmMslermXOT6nzZHjsfdhRciQfRjJmdFgOJqQuPeujphG8bYm0yneyQ+zfmhjzRBSWQ4PlTn4rAv5LbURqJaDgXHPJ1cDt1sEZnS4DjhD89IQsYiq2o2NbBMzWdquLZBp5LSOOHxvXpxSF0oG2TrtFhRElE6Oaqj8WsSvvQnl7jByutYvjCyBOrLTdD7T8oLa1zFPw49WFaNIjrU98TQKS+sPi1ZrzLaFISCn4Na+tbge8NutGpjg9GWJAuaUCCu6A8FNnvewGhL6JyG/ibV0Y2QmcFzrmKYQ8f5tljKlnPNRV4jWMcWbOkuAQf4Fox+4UnrPywW7e96gL1lfcraZofTwRWljZQVljn+pFY0x6kn+3Fb82rX72U0b+OtDH2vdLvE5I4OBGJyVjA6hggY07f55CCI/hWTj5xdAqlaU1Yjot9GxCO8QIDxF4TsBJpiLAEBvgR1gzd+tmWYfIw+sVKq5bXRjWXXHQGfIfftqeb0RUKJnyZBsMhGBtv1hBVsvyAherAA0hgFsCemyB8WyXafkYXUBDNiTC/zbkYsX2yYnuuSa0gnBHdx9u050Yrd1buTENoE91w/SQDUbID3GcPptzoSebBF7gl5hV/b21+HDlp3W9EprwxD/Bsbum3mt+zcwOI0Lv2sIwlZIKs2bFgk2nQ13jcwL37gvq8WIxrBtEfJOuMMFcLxyGdq5y9R+OWAHR6A11+EKXC5ZUHy2tI6HXVhl2/v3GEq5FJcewcyeSugHI56LxItSXldjlabeZzdRyHxTvVI+CV8jyqF8RAdxCJQKrh6axcovFTsz0w7xWyJ4wC3Rf785dXEOwfk0Ei3H0guC1giSIh8+W2ylROh9b3PYtldG1FV84OXy/SfWPeFkJixNjJ0x/9CSRrFGZCZvyqJFC1vIqEcBAySsRXfYc7AYAFtd7Hvwhf97NX3cHzxNtE6OhtTUra7xLn7r91AXB+omVpX5SyYXqDHCN4EmoW1Eif3bhehvTjSKyEJsEPyCgfGGOu8nB6U1yfkYKYd9bIVSykBqW0JsdA7qlQJwf1dxjuqJoQ78I5D03GlOJ9M93nkgfRNDJ6otfX0jyQ5nuOHhVE1e9XPoeeU7QysKw62OKgJ7HZMMpWIGnqclBnne8/y+sVmFM68aJNSDZGiNqqDeEvGY48X1q7BFijriR9yAYN+Nr9jyX7xx3+3WR8fVw/+X42S82IQyGf5p3ZAcyl9A+tyLEeOgRaxJF8MmhAbvyE2rSWB5MFwVsDJH1Q5qXsidy0oGwj1hx9UBnW477vsWcr5Lj2CBkMHkouA5+Rsz1ty+1i/6htZP6aQFu4n43XQbMlMRJSfe5p3gn6V7Na+MxJ29BXIHWNSoIaIOhd77+a/bzDOS1+uG2Xfiy5a8XTOpik0hrq4iJdBMmC38k9TjpEtCTJIkGYtNsfID+gkwWgszMxvl6lSDhhYU9683tti+5nbeDS4aTJn53sSNJJfUoV4At2yJpJd2ywus4PunvHnovntVpOr/J0dnOK9vZbw3m0M2sGXm2y5Fj4txYxUi77T6Q8GOd65V6Ospa1G/JncTHKHE6HeuxSOgn4n4Nj0oPxO4oj3kW3gptKvjITq1nW8p9fUgBbA73p4yk7zUGsNkNG65eOdk98MnOkX2eZe6VLMpfqIXtBLAeejNCqW24NXHEL+tgPdQQxTlcGNBITlVEX2uRe0SAuuaLt7OrkNoHOuYtbvSslzJJM6JDfGdYt6LuIVXA6xjMredFWWu8kTPSiFWC3qBDcL0vvDOdRda3kDGxoIGNZaDNxW8K8tbDecOTrBbVSFtB32xxL+FfRdtFbqp0XyrSlwYe96zofsT1VKVZY50XjV+9+6D3soFYOvmoqDM2vh4lryjWjc+aL+t/CghUcGyj3ohPG4uTUmprFtWeeHHDNEukM3/MVGHpCFkjSA51NDtnWfYbIVRkYGvmx4SXMND+pW5Xgf9hlzUTCqfJkW0B+fySt+5AaH0Yx2x+bflI7DeiET1/15Y+Vck94f9D5kQqOmtmUfQk0RQkrgy33YUyKjmUghxVpxBps/460L565QhUWRWOXww4F7gndH5weAObhpeEB7MEvgXFkxKWNunDRclM8/uKOXghMPJJk6/ubTekdSYqdVyVsQIvWuXSXFYQToXViprfPtF9K1lyxnKV1z3xBJvHLum6c0TzdSWlBJ1dv7l73HCVZS/RbMOO2Fu4jipXismAcv9ovF0HYcHZI8Jjy4R12NkiQC5S/WKnNqxRVsA8CqDV71HVKqBA1wyGrYWLd3X1a/BvfbszyGJm69jWkrwGFy0bJa0ichNu3XgjmUsjz+UYdwIetn8lxQV4MMzPwt5rSWbPxxKthTjcwe5IquiK8cxofipBbraoCc9UKZquSULTdriC/UvOKKhm7e5E6gQodlRzt6oN794MBssIFnJUgclx4x+w081B4mS39j7aBUGhRPasAXNEiBxfAp0+1pmddqbvBkRNM3rWn/EOfL/Lesj/aZt5iuEwU964mnyc1pUYCfTLd1eycUGQk43IuPcTe7B16Pj8kcL9wz3TwuRarBkuP0SnTb90+fCJ9IE1glOrF1rjDNKLmBGxk6hwy/nxsJVBk4s5c7aPuXXeq9uoNhojvkCwNRPTlZFrCKxkyMiH6rjBwqdND2coSRxLwjREjOjVam/grd56bISX+HRXdivZlHthavQv1EmPdoX7l3VtE4QQiYQeTsDCxolzpTyQJ1SUP4NM6iWtr7ZohnB2m2iiJZPvscv4a5DAdzLHVhL2Sp2FdrPrvFypsofIwEt7wGexeVRSi2oSStq+uZEYGGVynCSNG9U4qP0NR7qvSBNdSqc1JhNrb4lyj1QtBkLUZEjmq2NlTogqsEIT0u1yqutFzTpiv+mud3qrHOdyim7acAUp6rrMyTTwQTECttQvMBNdX0G0h/eeAY/5iEEVIt2HcjzuEU+u3LaX6fTD5TyiOLFTY8+/o7PXccyyaTVc2597jUIcrBztD1sTNbEKmi4uTAOMdGo1FVc7d58vUujpBB3YUL+CtLC/kJ8lOFJrQxJNPgREuziF4n2V4KvwqfXfmE2B8ULMRUtENr52RYK7/Ngq2trq1RWc0ubKshkcWZVPjhXZWpp+ktpRsSGNM5L5TagacUwOZoPW3TAGKfEjXfTv33wtTtgNc0dg+OAqw49pKhc+9sEyK/PGeGgZPHVHIJf3mBDGKuUirXdmtjy6xWVOdLSLFPiT29JkbIobQ7nNMkKuAH11FNTxQfemhXMsX0RJW/T9FmIHmxKeeI1hjoyS1N0lD+ShUxoeb5drIhx1a0V5LCxI6st7ga1cWO00omWR2ahvdConZjI4u74zaTrwLWxEQhrFxhyCFu4gC8IkMWY+HQa7zSU5tPRkD0e/GktA2qFcBrC1QQJLJmAlH51ekeSNPA9gfXqENiLrs1ubtnVXKS3PD+YyK4x6MeX6EIbBmbDcXIa87F3znaggoc6dGEjodCmVd17YMMT7GXzRtxjLk/kCf9Z5gipZWrJIxAUkfNPI+L8ekcFVX1IOV73vrAU4FOz50aaWYxujQmJYAYggO85JfEjuwlwbhJ0EPu+xUFlFD7TGn1i42vV9yiq8i6ONKJtyj+/b5xpVnIMtUsbvHR8H04Kkv+Rtrbj0dhayI2gpEpYzPZLhnRlhu1NMJOSkpWZf7K0HcClyQMLjQL8VMtwZsYY1yQ7XcfX+AK1owSfFIE89vzoZleB+xTSK92+BTEDgcw9vhozXVnifcr6BOgqPPyov2qRC0FKY/VSmXTRywQnwOoJs7RGZbI59KxyyTJ5pP+iU77XrMqr/fTRCp477QbxFWX2bthrtYNQcFHLua5QNqW+6y0Fz76vq1rFEEplMRsaqAXhGS76SB4V5eUEvWaGZdLGU5BpzWF9PBEHW77jfJd8OTZoeiT5Ozs9mehQXXr3LzpJMutJj5W2mY7Ib3JCxlLLJEfMgGCcp8EEQvaKnn+AUohOXgkIoylFMDjxAmr6bNXGqRW3AQABoHUyvxlAaQnZOJiyQNDxrGPpZPCeJfiAR46979i3vp0GKqPAjnrdKIffAgiqtssfJI7ETJ54GGRxMS6aeYe4qFSZ60laZHl3YQg2NMpa+7M0CLdRXgAxE0r6/OytuXtArsjYUixxBva3XI1rgpr9TeBIEOEpWLgGVTO/g+tgasjhD71H44fvVyFwFYr7DJw7jzkaN4KH3vbu8ZG7epUGSlYF7I7VPi/tR7xgJfNM7HJ+5/+2yW8pkO17/Z3DVCzfo60hBwctNBMvIbX0cRUMjRsCv50kK0bzey+wFXXa6lO7lSGMDEfspztrnOTqcS3VYgEfISrJjYLriduTwr1fVnHz9y24twVitP7m58eNddGblXt09o61LmcOISAUaj6HMyDhefxXxLijNJRWhFaY1V9hkmMHTHFD8gChEz+slXGO6xsjT8incF5JdMaHERxx0oUBcJlWlvjVQsNJeFQvb45DH7I+Emt13D1ST2WU+6Gkxl7efcwxmNw0bF8PI3E3kZu4sS68cQV1tg7PSJwYcUDQv1YOQxcbNBjE9j4DHiCNqv2DupHP3Up48HO8t4paQwOVdXPHXgttSx/0rB2AwTBaQZ5boFOjf/9PleH/zzl3V+ERjBYeS2BeELiBW68yuJ7Ne7cyfaXzqOW0kpPv7fLfvTtWLeMNDaQ8bbPcWcmWlST5zOgLtryq/sYHHa/rPwYqTVzbOhjUW3YPtNrdvxCKu/BnuHDr31Hs807fQBG2lu9KM+P+GuIrN+fTqlkO8e0OJzIuTYAS7FY0CII85P0Beuiu6OqfuJ+DwBEwaJKcGIislNpcS9SX29dblgDJe+nrzFn3uNDNcXn49/Hz0h0PW0Gb4Q3MAA+v+ZYBytFsppnr49UhyYLU+VoL5ElR+dHX6bhafwEq35nAttcF8luHPhBmJBwFy5rL6MQ/n+CkjNIb6GzzFsnl/WEpy7Onu4l+hZOeFA/BAMiW6fROycQIKCWyZHh4aFKJ3T523i/yfKeqN3zUcDtpogezGWzAhG125IexBdzfF60xJyy85xszHDetUp83vS8xC68O+sSfovoc8BreMLB8q8f0/gIThbu4BpxDDb8DQ7ER1qquczNU4njSUcAj0Y/SoTx19YMNVA2CUKzhKyHDqyqSm0g9P/IzXkLzU4Jwj91E/UXnI2maxzWYg3Iz1dpypatEfbjXW+Bzca5ncS4it7K4SikUnPB3Kni/Cuwb0r4Aom/Wh18in0hhDst7Otc6mLyIGsfqiUfqRZO725CsVR3fE73CJylBnfdFveBXjsdWNTwwmlhBdppevjilA8s6Hh8z2orZ6EbCw/q3+8+Lsjg88JIh99LsKTVWMgP/LB4AKcStTmONn2siTZgGrHB6ACjl4grTJNDRUkxJ3a+3epZpba2Afnj0vFf6kLj6eUVFPSUmGSdE8TpO5OlOjlLNHOuv2hDIjkw+Wk93d+MD8HXzFLB6pyr8bIslR+GNd/VtEQ89fNHieoAHUsjcxxw0F2+Z2QtNgpjVIEM6MnJIbjDnyP6+mlXK2/myiodrtH8l7lwK2mZWZ7CbbBUHcE/QIR/Moo3/RIdLVX0+hCWJWn3zp26d/GQG9k5Cqt2RtFRgZD1YKdLDVMaVlg/bI9YuK7+5xEMP+KLkV+txEeoYOPpYm3GqCVAX0Y8dTIbzAf96rx0yua3G1g99td7eJGpgXQALzQ45W10yrHnUaLls/vRTFlW6VJtJ3A6zhFRiGU7E+kyshKxhu1+lY5YtXASd62M5GT01GA2bBk7QfP5bprRRssaA773iUnbR9r58mx7Yy8+3YSVKBvDagX2dY2eK//iaWjShyg8omtlDfr7LUSsL9mGbCgde+tRaXNBQ9iz+O/W8MURZLeiAHK6L18lviz46cIW22zHzWSdoxsPKQLZAr2BUdSHvPk3RuA76m6sOhs7p1Bihy8RS5rn7/MV6Nzbo2bO8hTribbXzr/hWQoWwYfVNV2z1ZDCY6zDXUxcQnbM84hpLmhPfBeqItqb3ZMNzmzvxhpjDplcJwViau4V5S6nn5o1Z7IFmSE6qiYVf2DM0yDziJmNhWZcr66WBa7Xo8FZoQbL1coDB7TyoqJ4K0gYWwjavi2bwu92xrHoalGxa2xwTtSh9ae2sCo/rhpS0/lVxrbl5zlzSUnn0CA4r287b8cEVYD+EzXgyBNvVoMveTQpIq09CAcfLiNVaXM4ZbfOabVYt/HEf0yXXNmoofIuVpmHMX1R0vuXvtor2c5YjIFAR2RjtlBAYaUfNXrfdkl7+E+FksUY6hMJfw5bLbbfEaUUHszbbAM0Wm4PPG5Noj5U/zEnXrLf095XP4Gfz4RStcRD+iCbg6XfTx51ER626eyjlX/18dLO9AvDmjPTBt7eoziuODwGmAw8iNy7yj7cB8ZCAcvsiHY9fXI75oJGfyV6xTdWccXqKvb5iPdqZO5zv0QPGobc4FNnwnWbuSSK7UoJziT4i1426/c2gqT4xcSc80+vzQRqFmdBiXwq43z/krf7VYwY+GHTbSLwbedLvffwysSu3aq6D4uYajPrD7yWm/pCiIZr8S7+LQpHuJnK7dMImKSp45IQyUxx+4ZbsClUfhs7l8cfw1ilbP2+ymUTEj/xCIFqJq57FPXFAyS00J66q+ozz6wpjrUvrBI9OTrmA08hdDFwSM2I7Np6N8CthcZDkgBdbkUTy0GZIU7DZIRm2QbdR0kuAKwwFnF1spsMKjUpO/QMluZe+i4P71KjnFj/9LoxnEZGAYhXhqUauu/ib9vysMdC6X7Xd/p7UrZXIRKrNTbT1JSvcYfXSiquAJ/gHLGUTSr989nkXvEe6HITu7G7sDPTaXh9EHGCTRo5978PShWPbu0bXflte5W3/Lvs8FQEp6gns9hECe0Af1rd5IQ40khDGrRRXb+BO6pTco10Lc9CW7ibHHtEsvpW72CEjKnVtxxYCI7f0ULNsLVbYyOPxKGgc5Xf8dTfi+XCPxtJUwWQ87hwcU+iX9Ze/gExzGc3sjHM5Z7tFjc3GE2TPfdDng440Q6V3/A8rCek5cjroUEDGdHuKbqxXi0DvARnf+FP85GFn4OCnxHU/tpU0Rf8FQm9dMYEkI3U9x1Ykm7qMUi/4WpdJng0soOagef5t7RN0S/nJDw103RHGAVCze0jyJ2PCa1cH0rrT8vQKCbNedfGNzL6SNv+aU2IZnMmuGb9DkZFDfyJSQI7WOwKrJ0/wrOY9aAj+cwixmNcOUnc5hRLFUG8i+J4U/TdoPSh5oaLdxYVHy7sHLyU89fJ//ew7nuPa+BwWKhVB5H1bOcL1UNVI7j9J662rYOdPNCEArMoS0ipebPIiMvGWf3x76cxAs8loWebgVVe3apcoRzYJaJm0v5U6oM+2ukz+cBmjuPTtWqpPQetx3Jo767AQt3huFDixPmzokt0W85QBniy0RbWpVTn7ujHiQr4rDnXNVZdOLOugUQxfJ8H59kiaSGIJDB72UKOogyP/RtAHh7m1P4KDIOiKT8mdIX5Z/ziLixShNY2EK/6n5D3eyB5FHxZm7EBFh1uDWCcGmt+pfYautopYwjhRueRag2vGHgFrBit7v211RsZwgDhbGVBjLCa+Ri1dg4iidVpJP2H22A3cy72Y+mUyCPbiHZSmokLOMjUCTORBX4t5LvtYCKOuma/IiQcyivQ0FMzc8mNaQfgpwTPLRM8x2N2MlgMGKsWlgiMcguStjWNTDixNTP39ZPlzPmhfkzAZ23cn5Lh49TLZA0hLSnNthqs7tGNZWWjvNzudBbUiILkrz5pJ5T4LBlyElJNARPYpHHX0fxIfiT4GiAYFGQkJwNNtWvJ5VMYJPc0+CIFCGW7f3FNfMUqG90WZrm1pWL/mG2PhbMAFqCE0wIr4G/vnhkDMn9Y1h7XYqmfi+cvv+t+u0gu3B5yts/AdqFVWttjvu8kBRJJdd7wThqAiMLuCBjjrKrXU+cn9PhkVDGcuvf0o7IMuHzijYF8dw9RemZxjIw83EhJ0knMMMBFt3ZbMPpNjbNZHn3j8ykUtBX4pRwcreeIFyzsc/QVN/gA/TBSbo7iECgLZE4Zw1FCDZGc1yQw47B+JWUP5JuDN4qQ3eiQpFvDrgqGklZLbeBfgFDoSRHm1rAwbXt+CQSlXqi09XocDvG+JWsO94RfW5I/axGNsEktFp9lY8/dYkovZoWNirdkeuKRmrkD1lqwztDvpAwupoE7zRjEl/hfg235IXQX06d8twADyJTxpJw27NX2zwq32AtToYC8p8tyoYZF19y+wldfl64CBEFM7o4IW4/+CViKuuwvJ1DnErOzYufSEfz+MzKaifI2x7ktXzUuIo5jA93I5vuVGkfAEZN9ZMiSiX4zzA+MWczLi3EryqQN8Jz/GG/MLUcJxyg8NdOV55QurHvaLhFrCa1+/NAwBh14rETGG1U02ynHybyO18PNDMvjA5MCZLMQHn2K3sdea+VDCP2kAK1fuR0/Ma7R4LJLjeHv0XxCCM1rKckxaL0u+Qn7S5RI+GhHu+JCYm7GYNn6dCLeq8YjV0UxQ9JWzvn1SXwiPN+O59U87eDY6Sg0Fc580g0a4LoGyXd6JDcgLsvWWo5yVuOX4QT4U5BzMwPkfM3fe0olZWKFPNujPz3hW681c+akvYbxq5HilswS2pxz5HnF6+fCWvzMejif8A3kvzWzCCrqrsZ9TX5anRy/NMGzsODktxqCAUImmeOCGYm9I1hb1q5Ssj+z/BVt093fG12FnbDHCGfVCwfdXw9C55PxoLwzEvTZDZRYivW4opLMXet1PNtvNl950EklHDSrmWZRHs6ZLFUReKxwNRAzief0z38WUIkTW+WswFFcFnUOo0V2THdTptcpaPitgHjwcWzKXtsZj2K76OwUHDy1R7Tz6BBjvZAegQbQkkdkNswz7fNFy+G2NUamO4mZ7v5+pgVHcfPvjFRctFGBkI3qdBabw9GtCO0kST4xHpvCif6pNxLZrzU3ECNcqX7qTu69MXDqeDzdD2OWLOM7mAOM8gBNoTv5AfjFISgaOaHEliDDPszrIr3jwDpXNSQCFtr1ZPav4Sb+n6z5ONOlTJ/swpqc6nrwgUPTYhgwKeD1GdphytzkTNOunroVoWsCZS5O+/ZKJ4jFy6e/gCRELHh4VW8GXVCbw5DTRgXlL/24oY17AqGRXQ5hJPO08rtGjhvezcxNNNCKFV1ZtmCb61LPBJnjVl3R9jzkeuhSPsi5TwKyMVrhpwCfVxYs9Swk0qiKApBVDwknBkSWEPIkRCe6r6daOnviZl/mTWkbQBpEkeaKV/uwPL9b+oB4xHOxKg/GDLn1gCesoi2JzSK8KtvJwiZdwmrIW6zT2LG1d6Tq0u+iJb39x/BW8UbCXM8QspbkAp8W/XS7ZVYDhGILuOUkUaRF/xK5xC+6397lFyNQMj2lEAQe5+fopL6zW0eOH0OmQfmOU4LxMj2I0OZmbwA5h8Oy0euUQjZ53onGmPg1uHr9aORM6OshNtwni2kjOgUkcmbT6bMAxd6gHnu1hUVWz2cM9tSRQCbXB7mzX0N8R/ZCQs+tEACSQ/EoBf885Pd5UHR97r0yw88Y3tuq6tfNDONP6m//pD8ytquzI5JBAERiedHUzvmde/zELa3Dq9e0KH8pjmCVd1NdqyBATMPnUMG7h+iNl0Oj05Zk5Ei8J5Y+AfDWEJKxoXTvnpb7WoHFmbmK6dqu/V87vBIDfXpdEk3aEYrMTU0U8YJpm7LGRZkznYgIj5KXK2Ou8+H673+jRB8x2xaxmih4NaacsIa7HBK1tHyhP/ruIL4I6reWirjq0+vi+9/i3GfqdCfpQ+0Hyi+9K5JZYCTQekNDBvnfbwfcLblTAqnW24M59PYd1GrgkmyLZodq9YQcdnI4jQtbid1/ht5wQDIjZm6AqoN2WYoBAKOwbtL9u6zXA7eJMB94BfnCF4ofh3Ozy8sl5gmgPR/m+YhLgxTlQ+ekbnHhv+ffJoh5Mb6ZcYe3nmJeyPT7FBRYNjr9+Q8fruVpC8Bx1OVLrBaqnk1AzFR19YUZaxR/xzLc+l9Z4MaySYH7YocYDBzwO49VedPJenw8YPMP+kC12rffbYsBiVzKt1JOvSQimV9zuN2VrdaXeEfrFLBj/vwmekrVUocWgYDbMcSl//iXwpI/0k3nh2GqurNkJejQYYsK7v899NoP/ynpBx3Fz8JJpV00r4TgA4aULSD/4XOQLONOjJe2dZ1MrdNpqSmCiy7sI3JT3XkpnFAMNOhX0qwJPmn7o/xsuzrlt1YB8wOoeA5FeB70L6LeVn2ZEnIHfpJ8lsqW1C8qvekHWGL5+Q8PioFb+kufVJ36/YzAzTUPwgEipxmK9/e61QCURrLOeg21hOfr2AFskIRlHclQR6Y6gdTbetA8AKTdZ+/zz0cQ5JEDn96E1rySVzIWaMW0ManLAkAros6eJ37hXD/hwLNVDY324eWGIZQOl9BxSAACoMXhmMIzPtcrNXsDAQ93qpUTFDcbxImyEuOh0APq2UEKoKWxw08H4G4Tp9x4nRwjAJAv9mSXOKLgHZVWgRtjMAqUlESOFZz5dp1jHtrySA7Ys9IQxNHGlqTu2f4dCud8HfJ19EEMnVAdozyk/pSqZhSLJTjmLe+T8NIBBsg1yanuVvXs60Bfq/RMgRNMOB8ot3Hg18ySa+I4y31GtOFTsFl6ADa8EBHzhrNdQnzMSAqRXcTR1PB/duyaIijmS58qhQTeR7EX01NTa5Hdh+ey3Plw3Rce64JBUDnxEUWR6wf8vLs1347nmo0ewjPleGikGuY12M8Mh7nKoKrIg5yy4ceqAXqFkjt/KtAilLRh570rNoLr5E4JQoRiX5IpSSMMHKLTRLhEn+D0yYss188jZp/o4DgYDO1T7lX+7nLfheahl7isOCct7mJxPx+2ziVD3SYsz1a6Sz9wMVZSOE7209/t2QeIVxUwrOX0Q9RD618UvcO5wyDLF8/LIlNPNcXwDNL26pbzE4ME2474HyFqYBLew16S/maWTGU9WSsDNr20WWpCW+MgwfUptemDr0w0yXsZD8D/HE+d8zTAloSl9jnGURx2eWGB7bNU9aaub3OODCo7vj4qUihAt7VpyRCSzRfi7x3hpANAGWRbnjLvit+Y7GFrua5lmWLkkjMSY4xJTP1R86jUHeIIbvTH4NhgN7NtOc45uuqDtUaU7LXGRVKk2JITWccNSngN7ubO0NJ+5jIqzd0tTEjN1Oo4xpZjTgksZzuyOS/WqiiMnM5Xq48/6pzZyyK4k3HIw1z22stNYB1CDKfxUHBv6R+mo7IEk3ZHGaRwY7zbPPL9eHO8aSUo5nVUZPLFDzZd5CaHweDoFxX5DWI4nWB+CpE826EI1Z+jFWiCkOy5M93KEBgsOlFI+1x3jy84UyH/XqE1jcQO6Ni3IuvtRqJlwskFMlwdWlDYXCEDLR/hZrZDbgUKQIKxpxSL4vLSrccH/BntgRtMoCy7M4pTvNKKH+BjXGFQMf1Gogr63UuPotgiRjfoB11T1TCLqreRTf5Xthlfah8jegqnRAI6of/7flc4o8sxixcrF27AoisFPP3hUth+7PADcusB9ATCyd2RJEKK4clsfydNBvYAfeRxQtVvLyROdo4pxVQkemGDJfCrkopNM1ZAt5myQh0QJvFxKzmNMPS7nEcZugqLMR2Ie3XgDPZgbMdgA7HrAN9DmPVODV8E3INRaobpUqiRTVcuAN4cwGR7E1FSVWc8gE9EtSN67G+4zEREXU/AQhPO/CcaNx06airOfs+9+xxRwE4PwJu6Nl6/9z4ZCeYXA5QsWaarBTjfiRF7m8h8WtT6JsbxLfZI8dIkSk6DW3wscMJvPE75t5Ur7EF8Kwksbd5Y+Zg49153pV8/mcLkNjV/lmE3JZCreo/WevPouTaz7Xj1QTl0rXJovuF2MdBY/MtRwy3tH6HwaheI7o5KWn7eEyV1U2R1JUJv6108OAzB1LQJxwQno99lr+i/dxhzTDM2/1VXHIr7NkMQdv/39W9I0ysGQW2Wb/YF/iTKWLJ2eLjP7BeNuvXAsqlwJL4sECW/nNG6dOWG4yLkBLF1Au3YEy/eROxInvO2qgnGJDX0+vP2O1QGMscl5OyP9gZCs/L1s7gcUfJcZnRxXusuMPKvDFaJ7Nd1H02fUg5t002Ia5TDEC8Mp/PlHa+9rYgpBeocbolgoqmOxKPjzBDhml1xI7lSpfTfk9nOh9SJGI7XeDnq0CSkNES0ZGefL5lTCYjDTHyQMUnYkBzM6Z6mqLn4aXSN35vteffqhPL5xdAJmZ1oZ9qiOu9ryJXAI5gUEUxqFue3ZXhYc36LmgdOWpUspRe21c7ukaWo9sHR3jdUoLiDRNfZELOijP2LaSqIDV0QorCgp8Fzd+EgQ/NzPb6twXKuzPTs3ya00QBi6MoMdqiSmaq54NNstiLC2Gn4rC1KrvC6KYHuhSq5QP+TYYe7kRHIGcjoE/VhDEtlAlhDGH4qwKdxg1Xeirl/b1ssgAdrVJrJi1CBx0s+sa6JnPbyaF/77lw46neSb8KWNvFsxPaCLvx3GR3LK96LdvRdep0XcuC0HGOXmnrPAdeQDsV5QoArP3Vbcz5vh0Q3dGnbqBjsKjmBrONw6QDE32x0aHTLbTgit29OQs7KOSqBpaZdnom9OY2VVs32CSiHCQOW/RiRRtNCEU0w6QCubx07ur6cczUJelzvQyfAhgMGn3vXGl6al9SiwK/0ZuKF8PFz3Dm0GNrYmZuJUaqHpxOILEchc4eTHNpCl3/BHyeEnuriq17XbftCMZA9FlQ6sPYy9iRya0VLPvgnbyLcLKs3ShaVf8ZgoD1Myz5DUWlXIpJKBXrcZXZQmqe3Mm10nwZpQr0ISfXESK8JbtM8UUcabfD1rH6b1w2C1PwAnL0iR2FnoUZmdwuOfj4rFxo5DPm9TQWKQlQle0xRx4ge6cRgD2tnln8PdgWYupaWp4Rr4pUqH3qCEgUaqtmwqJUwk68ipigoRyX6t5UUDD87DuJyxZPgPayAC3E+SPikKLgAJtVxDHdfH+6wwnyGzOmOgf3xkjlRlO+K/E13lxW5iDdvRwxmGHSwYye1tPCh3VaQr41MeF+4olp8WViBclwq82tXrwlXnz558AjhCSlg+yfZU2yrPSfsgRotIHyCPtJYZsZXxmlqW8gn5t6ISWKPuDo2HkZA/SGv6vZavJ4grnMj0u05DHoKripR+Cfr8VLISste6xj1+aQiZjnMCb16qhGLhDXtHH6deW5UAhjzkHRyx3ygtRZN6II05badY6wIeZ97vqWUrgnq5NzE/P0I1yKD+u80cc7hmC6NNzxcCKet3JiKIIJhu6Q8IrBCcxLj/hYBHSEDQ9/x7dZF7b8QbhVsluLmZafL6bHqUmaLEa3M22k1DTdarlwItc/teMTJBQkbg9sMAtEBFiydlgJCS+aVjcorH6UYFFI2uz8qS++xJiJSDq3kdw3slbwTfV8opHbC8gMeycTE7gUdICNl3JAybGMy7Gin/EfyOBLH+1ODAkso1RVwYGMOMHUt4naqR+vfnbPzIKohuYcv7gDYQMJ8BU7aIrTvrbPecK6iDUJV1QgASYSGzv1DTUv3NhNCl8Izi0eGnCYxfW3+Lb6qCpDzBcGPCotdvFSgHQ8MAOwkJTL0uYcJCAjDA4aGcE1ESbKabChSl+uXNNf6Y6k7R7UaRstUJSA913SYqlWE+Y5ghBPqtMfND7xPtJzR3SzUEWxjOglx3UhKpBMYYQ8ON5wil3O57EqTXXFTZHiMk8cxjgLBYwRWAT0yYO/MEkydiMmHGpOyHtOTsZSJdpcgxtUzCqXqfuihRXt35DZWwmbW9asKtuHcmiDiNL27s5xh4nuDHBcf9DqdKLGPP+N2sA7pDmK1sQNy/DNjFTlOL+7bOG7I43YwZf82IDVqlasI555tXekJnRDkVgxDDB5UIPAZtzX/LyU+uEws900Y+BJC+N1EFHl/26G7qmq/uBh8bDANV4bx3c7BuVKyR5ZY8q8I0ndOUb4q9T9yy+q5UaDFxMojh126oHLecTbmaSvE9vT+JNhgOEb/2+Wa5SB7N/XYqZBFJeh5j/GCE+fT/frkbHW7xXJIM9FSYZAF+1nSTG1lEpd4A6QAldE7hCqXJtnjYybLnxlPrTNf/cmE5Zn9NyI2Nta/01ji5q8lDPf1PMNWna5MbQaKtpISfIYVDNybmddKJL6yB7FNiau2FiLF3fcT/iGg3hQrB7cwkesd/U7ourwGJBv+k9QZsKdx/ebE/y9UWG72byI5NfD4OjtkRM0ZVpfbmn0rxa0kcH0mw1Bu5MxyxOcYeJ7g6Dr3o8euOAXqIKW3Rcd74LfWtXJoepuChe8R23DQ8fwgpRyZLrHiPYLBTn3HDs7c8OP+ZqAHurSkla5F6qdv4ftLVdgjNwi7BkX2Qnc2ReESyWI/ZUWZt505Dcd9MO+TyxnKe6UQ6CtRfMY4lfnrPJ8NfO+I1CP+SwcRzePBa1VbAteVQFISGi0/H3Y0asXM9niQlLnRNPi+MIBn5xz74pg7i26fBLqgPnsmwnMr7duQwljoPlsm40vnHTpNQL4KYpUGZ+Xd/zJ6GSUa4kzD8UqmVO9tF1W8JW2Oel7O48spCk7rB9efYb1dl57W/puxO4fWRRn83WH1DfF7B9TaaqEjrp1E7f22Td2sXGf95F1WiLH5HNS481ZwjqMBzmLZ2kz7Hqs7oId0jD48LZua0iMQARYKAsJEOMT0Wvv+nWapRe+g87hW0DvutqQeZSY/ZfUSRuB6fn/R7jvQt4eUxCj5YMNdL3p7poVbIfvLwXb9vGBtqMjX1hKdB38AP8CVDyXVjfNxzQ9XwAO3UlCN2Ond9+LN8dN8PjxsTueN//Gu+cAQv1iyqNPm8NH5WLez8s0rqHy7qhicFtoUU4cUEJt3bp/EHLJb+z43Cihf/HawC1A0LrQ/lVoSdKDqdENo5Qpw0f3TltTDIoeaO61/E5Y/AXzbp0k90/66IdHuUozpTKQ89cKxRPF/Us8tvknlNeXY/xIAGGCgZguFs6vLOzJCW53umH0EC50IMWVk13R6JT4KtW0lLiVLCXqm2nHuz+lW+KPp1J8g03tO3PFNFgBv/rBJ4jkDxHy/EecMlEcKKF6ceim8hy23T5o7RokJ7H3ZR3QhBwgN1q3Fnl6z4Tivd/drnZk8UbwmM0eIqdAxw1VdrBHKZV44cTHWJYw5sKGq5Llc4h69S02R/T5cItp4ql+J3nsp7V8qhGVFqBKd9KKsqS7Kva6uqObdIc3OhsEMymqmTTEz5UvKC9V3gD1ZZP5aaemO+704m899hWK5e1apoGHet5c4V8/mWuPc3yEgs6LN4YviYUBonFTqFb585wcMj/etV0WhHxX4MEkWuwlpC2c4UsSPtcp2AtFSQv+Xcyv+ZLNbXd/G9siXO95Xj5CqdWUgUdsk/roCnScy3EVJc3iWw+CFQt51S7FRJEaKnbkCkdr5R0pfqBdDMrF0ZD0m0YS1ESs1Cgf5ewPFkze1wB7j8Pwu1h/cD3k0rpukHmivEkSZuc/o8dfZPM2DBP0wTXg0q5hm/ImgTNiyk0uoeflocuJvI+sc4duuoAyz8aH9u7IAWEqnTtS9kwzXxeyRQoDk4cki7BgljFK/TKYfX2kHfZMziRS6y8SCA1tPVxNciPihWttpwYex1AgfS09swIsze79KiLsyfrGHU5QoTUlVVhJXC80c6ECOBrPC7Kgf8zhyshjERwheXv29B10mgNufjJHCMnwxbYQxDRwdajA5QgJM9hKjaKG4fy0kyhOLpSPjhpMsyHbVZDb+3uVmQtEOXLqjk8RF6O3RnhRmfkC74wLw3AXsODqcK3pwXxO1A/3aDRYoqKIeAHY6WFkNrVBNfg4ms3i37z5IBYuCCs7fB0h2vhrvlZnjztiJiKQAALJ7CN2ZyiPzPq/l4RK0STQ4v45ILATxtzyKT7upWlHF4I5TZOxviJBqR1CuFcnKSevzuZ1a1YvCFmalBmsJCtSqJej6dzK1tR3JBWibk+Zen06wb3Qbl/wasEuVd0RarrUizrXFwfV39wmqJdh+Meu5RkZRlDtKZ7OTMXoQpy5uI4gNzl7xs0ANuhOWsg0M55ck/IzyebxspWRZ19i0NmjCTF8xSUvNPSqtuThQVTfYRb8jPC2Kj+ZuBzt+wkCuixEBM+giIotnawVTRCGxoCG6sJXfgYdjicWquNzStbgnwb/q9LR1YGbBAR4VHoBTTE4RPBJnGMHQh+2aeX4sNwPBlJ0u2QBKo1qmR/ISf/nglJwnb3nlfJwedj+F56Pjv5HwkK0jJxvu+8hMVSyA7uNP+iX/Qn7p0hErgZrRnsG08uhkM/z9KYOxfdfQtj4aUWzz/UlIc9HVdwGXHx0KmhTKRDS3WLvMZcte8bRbyaMZV5lvtwHdIVJorvE9kfNTzNQnwIbc9zb6kXS2gQALCO3VOFhQZo38yCHz5uMcCUShzvCti6TNYufcNUwLTSa9QNpbIAusnK7Yi8W5EToJ3sN5E6tDjbJQ+hwUz69qTXCU4WqcMRbslG+f7s+lxlqjOc+c7ObbfmJeYfAMyODYqF/cFCZA6WYPiUaNbngr2b3LdW3PlGfs88OUqZ84GRwdZia+3O7zxs0rpN2krd6CguEVOliWR1tWYMuYj7fAzJZ6w4wzTpQVt8mbijRLnn3FWT1Mp7AnEmIPmoyP4Ded2zGYBFGkiM8LFAQ6sUuWY1ae+YYDPgTnM2dJnSsxZKwToKOA5KIxJ276lfMF3n3WSRzpb0O/3rZAun71RG4dVI0e9Smk6XlM3GfsSzrAFvC2FLAo3Lm/UR1oBTWMgdROIB9rrkqcKlUB3olI0IzxZcjV1QSpaW8MsFrRXPesmxg/GGQjSf+hrHsJjiB+e7rR9GpmioUMJJuDlr6b1PpEe9mNCcFs+qaSCEE3LPtZ2NBPqAA4ONxpoENSHgnUI34bsZifUrH/lgndEdpXHvW+wZD1mT2clNkhlhBU8EtOvMqZeWrWEvLlNtbAz9hVzx0Pcu846Gm/z4AB3cEVBolLmMcTWx8X3OfGE7aeKslt/vW6ytVYaZmQrJKUsPMHCq8KxM+1M7n3t3D9v0XBdqjeblWrw8IaaCaKZTlkH2TVvWEspFONWjVVlOFfKQ1B+fk/gLs6YNxF7vYyl5/euONpqSvdqlwkE+2xpIgRgZHGlzEac9YiI6H2/oeHva5eYB5zHd2eqhM2ClR4YiZ/f1d5yZT3OoXreWUjRtKbr4yF1DAUb9XdBJXaD3EEd0bXAYDkB3S1cjHonLras9KdtnTYUBHFI63DL7ja0ckfsWks1KJDItAHZHwHMfYqyDf4zqZveJbJpSwCFLulmvved2LFBScTdho82vgT8wXfeNk8duEDQhGhpuDe+pSbb6SqAYt1Yz05CpKsrZFX7eZR9GQAzQJ8JSVPfmagL2LsU+SS1SQkCSexY8IZOLixzwC8tc1BSdZ5JVSwownjDdtmhVa55x1cHMU7mmAyxtrBRBrHNqRmwdIt4B1Z0uNkYDpiiRcVEg0UCOP5lSoC+QEM518j5V0RgQTK4QJwSkKEFJVI8TYQwI9CoB1w+oC3rLc015YsOvRkCk2tJrEFFmY7DuNFThFqPKFU7S7HvPZrIz+pKqq5EbITuQFoNbDO3L3iSpcy1AXM4hyjjQUICwywagMBcTjOzXYlImZd6G8XqWkIWLzf6M1Ra6ltNpcItCYafWlkUPu8pw8qBnWxJbnn0l0t+oUEFyoMlg6N/Hy6EeIfKno7lqxW1AQB5pFHf69TwMfJW+GGgqmUKiXAKynUdhqkS+DPmJz1zlP5WR9PpMuXWYmaUfVEjE+VCbophoU/xBzPu55+WMSEaBafdAtEZ3KcH04S+HtP2hJF8BGmEe6cW+qPUMk467huRDX0lZHa2hHqTQfF05rflBERLZFKHKD7V0Kukd3zTvfdJTsKDNj1jc/diHzu1EfYKypV/wZqJRam6MLdb2WmD2iY8L3xfEsoBJM9Noz/9MnisCYXRCkr05QFnffGZ0Z73rP+BGKN9kgSh2618tmylVDgmdmAkXkopt6AiyIf7E3qlBbokW7Iygb9Egj6x/b5TgbHXDyFntrPUKuJ/UKqloezGz1Zr5IUXpTwK0EUWIAdJAZq/yDUDyN3rj0dmG/oVI0E5E+nQarE5l4w52RPNfkz3iqvnT770H3exk/0oPPe6E+a/mdt0q1nZ9wqdjblESSB6aLEF513Ew9Dx2fI+y7i9bmbibqc14WnJIX6F//utDeqmEJ4q8ULwim1Pn4NjOqRsBUuD3DJwR+4GfpCxb9/k16a62AQJMOYeQe1StotQrKUGN/0NAxxVnzxfFfN1EGsFW4eRIjAyjEZ7Ffu0BPmBxPefGgAscHpavbOJrFQ2pKkFcGimjX+CGGqywtxJz/vy3fbq9x2ICmSGZDF74JQgb0MtCZ4Xwum4hUO8+pzHqNKBXRwClrsqVp44E7TJcI2yFTWWbeuz6ySYqed4O71O2wpiC+daltmFcePdIi1aYymKMo75LXAl6VDdYNKbUBHaDwrp9dsdtOvJl1G+K1UVV8nGItuBT4qTDMDEeLbxAsWI/1KSwGIrxVzHbNChcjBWzPqaO4iQgKm/yfH9JOESMG5x+O3Dz/xZ7WDm64m/7LGhBoYoAzwZFNhp99d2hD992rk5ab/Zad9PxeG1YrF+G5df4QtXb+w8zHktACEDptNiPyGxM1kPcSNoNPDf4qQwfUTUDmPopKYh8qXnHqFyzn0nGVMXdT162rglEHqdQTURA2wE+s9U19fK/VR+e7ANQipUzPRfi52GAkyqcjdb1pt2L+qi3ovC9hI6gq9k+IG4Vgd00weibljxqC5WfVbGijv/Sf7mN9tR4qRm2vruejnMsz6C2/09V5CosqBuiMqhPjA3EO6hHop1yHBXfF6wEygAMlzUVoBqWVjHygLQEXG+AuAjjhB3jo9qQI8nUCcANUe9nVsT5KaGe5+BKq5aOFPcoOkdC3oNY+dKk7u5pMxL1UdO73nEWyExlpGm4vh8RBwm3C19rbCDFQYol+AGsV3XzkQW3aaTvbhO9AQ2ckuS8c+GJLctmypPzUslBqQL7rZLwftnHKSRsaDdDUbdw6ZoKQSRtU4L+Li1fhqwD0B0R5xQAhcmqlPaoM9Ss9lc4HwpuiMJJq9+8AGIiMhyi9lcDUXmFqAP/KALHCHx77QU4RBSNLNRJgMk3MKSyywq9xhHvJKM9Cs+C0jG9xY51gGvnGl1kN/+lcS7mHD7pM+kZqd4Tld9x4qyyJfmKH+vGIa58TVvq+QccDkPKQ6GJCvs+A+bYY9cLZebIlGtzQJWMcFvC6TAle2pthzXBNwkI4KDEJD3n7hEIzxlWJl8ugSQjfNh7qFQ4Ht01DFp5saWNmXU1PUhdJCqzvwO0cLlxByP0QGlpIo8zHiSP4I9yaCrRlggiNCjLuad7cnQ+w48fp2VN0+FUbBYkVGn0QCWFZ7rBQ94qc9a1pAT//RR9LWwlJZMoXi+cgEPjYe3aNAFZ9iHr868gVzp6uWDxFlAqeDiXinDDX6ttMPVMOswmSzeYQiCPh3MkdTxNs7cZV4IcS5fQCQrM+Nhq2xvX8qgf/GUmUcUYG7SKFpPn31shIhhre60W0oZ8jIvwxSUxNzsQlDp29Q7GZmYuY8a3fWDU+uLi9YIauiEkdOCyMMM88nPj0WfsOgRzk3/RpLda5vlTWU0V83E+F9F51MDqpsBQp6qxkeyflydgnHPUyxC7AH881/dAKTEr6pO1G/pGqSq3lDyyzgR2SfjJCabauNE6+5MGbhTyN1coqSmem6x0QIUHwZQaWnKZO8a8AIb5exd+2NrrHStaJRC9u37TtTXOIozQa251BfpYaN0oFTG16E6F6XhPGTOmKbl1/msjXpQnvMiqfZD60xOWQsvwD4E3Kt393xMrPerFRlG3jdngRxhNC8bbBBuTa37cByeLtwTOPCcEWtA8kFIy9EZHiuSKzqDo8LSR2OB+ZNLlcTAi6Q8poANO9w2p9pXF810PnHXkfHHA3tonb1rOaCm5cRm7F0F2cpGZcQlWH4V0wCgI5n84ClieyjP5pOpTJfrKR7WTCvP5d4QJTcw7AU1E/3anG9jgoiPwDrsHh7ehM7nNiFs/gkBh2NZCrSV1CxYFK09rTd6OAAalJskR33zKoVL/C1zdgC/kEhtMKU+G5WRYf8vXC3qoNHF0H2hhlFY0aqKnx3BZ1BQR/ct/m4Lt1lqIHcp3hJvGb3NTf0l90aR2d+vRebC1cLcpW6jqUMbxGbxBfQ98Uk3BRKC+TNmT6TkOD1bOcsxtbmIsj/BYVx8IpBtMu36pGrYMtoDv90j/hEG5mbt1JwVvlkhqBcktgyMEWLaHkOMVqjlYltKcr9lBBCXwxL3uT/62qJOGyG5SIBQYZTuxYK3ygIeE0a1NQlMdFbyzRuI1IPqhd48pkznS8AC53zTW/2cramHacEjcYf8mfFW/yghxulR87jXyCdJcBCYFuKHZ95F+78OB87Hlykhv6BFG8409iIe9/+eXySgTAtu46OEnB3V8gV4okHrYEFUWERitFeKdbGPVFoVeXA6QdtPhec6RgEEtjdLQmtBkK7GR75Gu6ranZD1zEY5uH8VipO/eUo6EALW9nv69bl3Ke44keiCXG7wb93SXUARy7r4SmPl+8JfMqDlEtNG6lah24zW9NyTh3X3j2Rx2rlrHrb+uS7yfu2AbQEi8Hwn2eKWBYzFImiO2J2q7MnVbO0mMLXD6qpBw1P06cnZauJPWxvcJS0k1BrcrmfYG1wKt33IvP86RukiFETHagfVyzBfc+3TzjuJsI5dNOaoMfibGeAaALLB+2ziKmaQCuGaPhA0aluEOhZAcrvj+1WWLE6UqEhebvOMX8I+QsGh4rP3FbO0VROF/B2tqm2ixscOYegyfdcCUK1LY7s6EmWAVd3k2nThQMtwmB8raE1x2Umg/CZ44Ja4doRYUWJlIGH52thkVsqhE4E1dzYB5DJV+BJoXi0nY12pmAgUvADDwu27wf6Vdj2SKZy1Mx3SEsTeAvc8PaTZ2YhFVv0PlhrptAl3FcUXIXNFnb2M71uo9o4tuy45wVhpqTd2+LQOdJjNUyvLQ8o22B1PNeLwzJjC1q4P1NRlWnl4DeaYdyw9I65c5+fGY+XEStEGQE/pnFdDnTK8nrJAwixfx232rrQ39LkW3mYtC+hZr9F7ftBVmRfgz4ZlVPnLA1wRs7MEJ926CAPnCm4PrpVib9EBsdQOhI7Y5eo7H82i/IdqFDxpbo7A/5TGYQ0roKktEpfRehizQFoZi51N4T0aj/LIlK/r7NR8MDN2ezuwg4gM4lu3OgHZEsMHoV0CQpRRZedMgxO9Oyymd1cQWMCHuUthvhcCFseaWaRysD9h68A+ftV8FJBQ6kPjIGIq0gkS7tEJul50sxk6mnQCAgfdTn8aaiLy2ubL9hOtoVGIQa1RQbXynN6Su9oJu4a973dd8DzetqUABhUkcv4+sp4PdAe3HSbKPhjiaZcCbxV/3xGzsOzLPEUhAQuOFEeyGuDyeJiNGneQgmb2DaChZQisYbuibJ0SHVvQL389iYUL97FlEjiegEVcFrs1NZiUJp96n/udqe8tgXKv4fHu9AGhUHAiNPJRebUJZySy7cu4WTSR4hsLGA1LLZMlCUZCPQtmH7cwP2h+6L4AsUdXLhtTK3LPxqcXzBwdaKute66o72fIg9qvE9Xa0TODYLB7mac7ad4c6WbpyCRoocG8nGbA8PqjP12mpFe1MKa9/cdCpZ6z4iUy6SLqWOlqkWF/dfJ/24/PB3QgKmvIpNKTAEwQKgkAAjvtOO/xrHiIaNwNJ9YbJy2D0lkyAtxNi75jfqaFRWSjaIwmDtG3XKU/bg8f7MhpQ7z6isfUsTtz9ijp7QRcDXa2kHQvqMK5hKUZrckkAQkYLZ2yOQw/B/Trh5Ld1Lpo12O0oAdPhgyM3YNG7I/MPuVIXzWgIetey587Ms/0SXRmrxxPnhLt2U93r+Mba+mFQreFk+/30bBMCYoCjHfuUbr8mpHFSc0k+jLR01PSIxhJsRYNjickLsD3hPpadqpibSpTKkDITwLy2iBIkHG10HysLXO49hzcjrUp1BzlivauRVHCIKgzlVoYPc2pmIKRhKEVnHLuzEZsExBD8gs9DLEaY2sWFAQ1205vZ4pBOY6AkCD9UiANxQb0Fclb0w2jUkP2f/56c1fUiE5wkmJfCYqP2koXCePoq+Q9gezJk6/z/3R/rY7TttJdclaXLFM4aNyc87PSWfXyjjKFAFy6fdcbJ6Uk9VbB5qoaJSnDX7kpVo5vbdIw/oRJJnHPGUGHcXzjdzcP1Q81VXJoxpzkREU2flbmMGOrYgp+iKecvGNkiLSs/dRN7tBrf38XcJTOkG+qrrQ0h7yH77n5S1X6HEtPNOyFSKcaVa/KStEjkVDIs5qc+BBbcpNOVJ23FnoVkw28iQJpSdntr/Ya7G2w8uKgptTX+uGsU2+2uAvuVwKmyorDHqu0qjTwJ9WlZx1dG/pNsPkmtJCXdS80N+pNV0OqUaINYxoiGnNamXtHJ0vVxP39xniUxdWhJEZ9EFoFXiepxRla50Vtq4+mdt9M39qXQV8/L+dGiuWLKYoX+Qjan/OuPj/sU1llKvjhlT58v6wtJSXFjm537Hq1SqYbYW38ygVkMsJKXG15d7V59XvJuBvCvWbxpwjCtcsTAy1rKjtkoTK9KoHNLBgRD4Rgusd9UkUQ7DirUl9qac058sKwPsv/cY41w0xxeeV0jkONgVDjbTTU/QErbmrLsdwlFak4g9c0rZXldxt+hXUPwEeiCbVSgkwOzff+fPanOcjGGhZUGXwmkaCn6LstQQjRpio0HFiVFgvXWMl5rEL36TuQi3k+Tm9OobJvS4xA7K55FEqCzVP7iFe4egasdqxGqVT7mAV5IEeln71rMyrpX1vAsZn3uR7B1LjL7HshI7ILh3VaQK+fRdktHovQMGj5xDwDaBPj4bszhb6MRvqqfhop/ogwJlti1GjtReErbtznY9bH/1d7uiQ49suTqnWCHwFBo0buJuv8E3Zwym7WAXjOcJZcdP6whl5y2vW86g2aUWV0dj/EZezmwcvjE2f+FQBWFIkzZs2rEKrn7LV6jyCCaIcH4gWEgwo5QsOoEl09xlTW/VRTAmkhJq/dzVDOPpAPHX7qTUoYVAWjBbZIYDE8sh3PoM6nYiwFwRuC+BzmQjjP4AGQe6MRvBnlrZhsNb+2Yon/RGdCcxOOSzc2dGh84c8Xlr7HDnFAJO9zA/BqMWUqhcqfsWBbff5aPLQxOYlVWuvZLiZ28kLTT635t7jtiViuknmjvYlItjK+flaJ1iX1e6qh0d2v4qsrcyGXjacx6dHAUmVqYnnU9ZmDwu9A8sTuxR0+FGU3SWqSRE4ugyylwGsk3WeIsKhcuYGUIcVoVxR/HBe7swa6cCd8VsfsX4NrMAm9A74Vd8Bcxknoo5e3xhknHrL4zScq+PNWemI1wEMUl29D9Q33bb4ieY71/75llXo665lmyEM/JVh0JbG6+ZBHEILJ/+0phq0JWZg4cXmdFMHOeuxnssV7QQ8HjAhdSEsO/H3B3U52viWt+s3rrPO/3lQHAe8h7TsOwHzyC8xc31r4hue8YBYzxw0eYxi2kmR11SZMELcP54DDoANOH3rwxRTfcpjKUSIjx3+HwmXQOLaYUfMR2qf/h4h+7gntVb38URDwysm05F1t6ayRab1rlpErKrefsHp4XHzGVOKyXFrHCLnfB/mp7BHkvuFlHlCxYys+PyhtUTiKsH3zUm88Pqe9+sSsJI84l1dZ8qKvXNBSWlipjOekwYxx+HF+naulFxwH9IvHF6m5+L+PILQbUrqWxdq+AHkBrw9YsoXZdxEHR+nSMehVGOll/Er7PC/u+GANqGff0kbiWxy8gH1Fprh2cYa+Sis58i2K/NLZCa5gffKAX4iGqyEXR8hlRXbnDMm/SzzhK56+RjVW0AxsqT5jFUinykrOvblkDqwK7u9iR55/JaTVtYM98Uqg6enZY8AcCy4qps5BI8LosRnTt8GoiAU5MRQAUQDgc+dOlm/Ec5xMSbeMxc4tCWRTnr0dtEG+43LpdMnJZpyGrwtoM/czIKnLrlxtA3kBoOq1Vn3PW6xzxgqdylc4lBYFOjYW2mcVphFieZKF8wmSwAo7sxVSqrTePRQzTX/WgFCKPrxS58eYc72Fcg0uvDXQ7w3HVZIduaAcdGrnWobgRbU5cRzNoXrw5mWoJz2gb9u8nAnI8haCKIF6oQYicfEc+P2NLCcRIavGXWg/G8V9lAuaegShi9Zgd/Y6KnSsDu10dkbxmPC5d30HEcQrv8/YXjbzN27vTj/166M2m2+yQAcAJEQq43YK7oMh5RBPo9mXK/CvFF/8rkibjMZvo+ToP7m3G/czIqtkCR95GgeL2O1pABPcPm2dhzni/vf5baCgR9ruZ7eJsfIBrj3QPzuxuKRQ4hqOEaLPZKpXKD193FUTBlUyOPvreX9W+KSdOTutdcFGHevGPjyJyo5uUx7LUMUaPhC1OXfWOkCTApD2RbWbZ0O2bOyM/W6kkhYswb2fzgTH+D74ZuxEQg2FruC7qA3gf16zGrQFNLhXs7mbm82Si2+Ob+yISuxjh1UvwcrKtf5WGqueEf2Dee53Otp9Sf8BC/wSwkL079GBa5PwivNxpYxgOBWZDfX/nGompcS63sQQas34hyPL6A95ClT4pyBOq0yGJXsZo0vnqqAJ7xQn77d91D1mMYa9T5s7f4GTv3HSJwkGDMehyiSVo9yuIpiHC9unCQ3mOwP+RnKwdsrd2KCSddKg6bNnAm1GSm2yBTNBR/oFhiPSiHEugyX/eW2oyKpwGIRlLPpK4rShAGdbj8OW9tFjM2Q4M8h9qS4gJWcubXMaK6jBAWflrU4gZPo4hKy1vyYOtL0JuVtwknb3oftjK9rfItWckAdSaTfm0Ug/7U4mb5TT5MIZVKdCWtNTLjzzDzii6wD0WFZr2lzGTx5QBL3bZKwramOuQDviBuXTyYN9QRYLtdALdSlIac85NEdNHsFjRt+ce6LT94RIMc7pv7IbM7CmUefnxp3ZMtBnO3i2ZaakuVR33O6hiaTcpE6U5dYELw6+uoVjD39LfsUzMlOhdlrGBiM2Sxs3IgT0KvrWDcpV9rZmxxX0BPovQLeWfhPgyy1I3v8PR0nd5THLw+B4ABGvngTMlhT+Kv+5J0wwIDvolS9Ej9CRo5lhYXeEX1n/UDblltSuFJ4N6zMb8fI5w5hfIV3K/W8jQPuAPS3TK8J94hI9SkCphheMvO2NWPYdoMXeoZ6OD5hqUVVyQYBAezU7yNETSoouzmlTAJIgp4mKWKGBIoyeLGNd6onE1cFhaC/hpM/7GMtApm1759tzvMN7sQrO7rboCuDiY8WmvdvClmm7Vx/2QX25DZrKji+Et33WMrJXzD5xHO8GHAfGwpUVLAf4Qk96l+whdL7zOgOxxcr6tqmi0H26DmMLdccOSnpiR0S35qvRC98mnAkFNghioERjB1cIg/IQIgLOdqG1XlLUil/mG9UOgOuTuNWcuFEphldDQtE5fIIYee7NSnIMeNTYafVSf8Ro5+PxBcuZ7/oBgRgQp4kV54F6WYzFjg84pQX7bK9XDDtzHQs7dpskv5dMS/1mzDSd0w0zi/5ER/Wz9ILDWgmRAZigID7oWB+Q4j0CaajGc9/4bcD/NvxtGLz+ZkEU76KVv3sT22jGte33oQ57Qa0GOEwrIx0q/E2ScysWsgXuxReBPC0nVBmxBTTJFsvhXjmE/apZfuzqx7ntXOi73oAsSiCZZbhMWQEsRobKzFHMO8oMgkw/JSeTJ333KhD4CPGYiOdKkHdRTF/awpemluWAkpowcyw/5bWVsbKK1JYVV9+IjapvMq0X1NMqqwCWZkpJdZNd1DGy2QwV8KHruUosbOpcW3TQq5635S21wv3B8AqZTYfQ+meY/rLCdx7cEU3mitBvyPqUSquOyqgIbP7L7Luh2HLZFROuCny+jxG0yeIJRxW5m8tyUEEK/WceI9wSvPx0gYpypmxtyk87kJrFRGO6j4iWM81T5KuP8PYhqf9ehhBafpFrtXu1G6bpbmdJ5LJ9ieo27Z3MxSfHnPK8/c1rV5Efql/Voumt7qV5IEXPfycpcOzDSCtT6W1qYWx1S8FC8Guapl78KhAfwMwcS6C30yFeJ5Ac8sqbdZeyne1kFuV1Ht7o8b5oCj+LwVgY2S7v8ar+T5GWt4blXACQxu+r2WQBkyiN74IQBO9DtAk9N9GKicGRyNyTtdyTMqYqQ5uTaS9LUek7w01Ldj7vOHUzSltxz8GkyIEU1R/d3lZIBxYZ9c9M/UXlLLoFu5wyD7L0O+Pi3+3UDHv7JFb+DItV/fuWHQFmtmDApcazmRw64J6QZzsp4tT12zPIEbD2RcQfrQyZJGXlqYE5mtMUuL6Zu/SsHKUqok00KMIJAmk8XoR5DPqpGypnk6rFFECLNsIIdpaiD92Xc+fzN09Llt9JPJnmxQ1njuRYVaq4LF9I/dAImOtvs70Pa/4ur0w4IwOnNfVr0Pph/TjE+xDXpbBY8IXl6KyupzrJ9zT0mUducJQ3Gcxez332rmHh2HJKMJkwCvJvTWa0FoMc6kSE4ey1iIEKmFcK3y5BqAFxBDpZ2Lfqj6xzY/jm9jIWztgMEsziX99FIlw/LC1MhUNROGKAXaS/0hFBa9g4iaeCmjctVUUCVo2sVTRRtoEHZrqI6NidTbmog+jHguOBbZpJzqezK+JhukmWQ2R/9/zjS0MAVcGf4Hb6y0gUTIgkVQIh1nwNK0yEzwMtO2REmfMZbRDYf3ohM177CpC8n/58DmPu1p4UJPd3i/8PnKJcaBOqKNzXn5I7hx4isB6+9URRCos8xP+E4+TyXFpt5QJosXTxReYnw7GTboN0rlW6K2u7sDm03BxKLJ9KIdSYFpwHlQgUiN5OW/KCOKStNT4Q+Qdj2xsWnOF07K0Xug4BM4zblAy8bTbqlbBjNFzWwwiUA8oIbPx/56Z5Tp/OvP1q5e02kkqy/D11M0grBx1lWMKiRuoMSGr4kh3QvPkkmNeb7IAFSxp0vci3c/fBhTUemg+hN0WILR3BJFEYcqmB1QwyX21C8Tn6UDil8skhX6+ouhyGL4y+Qx92q2xDTSXWg1eufZVbRpuZahDAAAWq+4ZzJbdVBTSGHsxsGKLAUuENCAn1ej7xDGVAWp2grqlXsnIy8/P8ebyk8k4WB6353Icd2o7IW2WwdY6qYnGv0GUrMdj9jKy7j2c9gfThx0OX/pDMFMuqwCppaTC/ZhMtZOIfOMmDotvkW5efQdcvx/QQXnd6ZmGzfLu3O24CY3JSKVUf61EOuhSbCoQyNJw7qF9jz42VclPOcvaBfB6N62IWVLnnjP81yayaZt2aOk7P0tZJp8g2IdiKwVYkKLSt4UnfyqOpozLm6xtaKDYOA+X5zGkG9dnXgZYiPmOPlarR030gnreQdnAkTd6sov166/VfRFnAVBwcgLetSG+DuNd0lwlv2WbXG68XP2mGbW0uG3uMZ19vPAu+FmVwtvO0bllUDSw/JX8m6RqfauX+9imTo2ILvtQF6FxyOulT84TwLaWUG4PKHypk2DnO0onzUyLC+w3ub+JySojMuRW3x+yxPAVGKAAWUU6jTRYyy72zw2zkz4XOVWXT3CWRu7uJ0r1oAdky0tGcqyC+ovR2TyOUKkSlcpVGzSTtmrdeYM9aHvKyHBp2Et+vGhspuVvEBjQZOnmqccgrgwG+x4gdJLfFAKqvWP4JeNx2muEMIgmvtySajNDtCo/etib/Vdw3gEVFL8mnAvEHN3jlFkkWrZi00MWTLqN8DC6WmlhEcL8J53pHlCja0R/0UCdweZczGuIQOLLzVyNF6U/j7onQjNswzWAZEuJ7R0mThH1RZhtum7wYfPnw9oesRYDERRthcaVBp1yTXt3skTXSwkrqiuLl0D3ggXsMJ0PI+VnKY4R7Bbip3MG3H1kjW3I2j6BED73ZbQJgpo9J+gVBepd4DNcmM6Z53uXRPsXiJNxnD3vaoEBTnUOegZVY9HjwhFLWzEFhQWaiX9CwLzJCLMqqEMHEGmtHevokH3URu8fpGaEc2mtJk6BzXHQIk8E/saj7aQ7PHbnLEAURwdXGxwM3ggXvvSKxjLOk5vqZbTZ5ektakJCAr+Ogha4+f1eza06UHW3u7GtAcQEaJwgXisyFbEtP9vusQ7YXeA/7wQTsC5YONXWFhon9UjoCViyYxJ7hrVzRVWwMJx9yotYtjlf/tpujs23Zw+8xNUkfFQHZGdJulFYYEtIHGBSwfYJr7Az2T7ayNfQ4m0T4H6ltAnhoMk3puAPnfFqDFVEDT26EYckb6UvGQSVbktNpYl0xiwtrOFWcvMN4f9WiMsMjOAsg1fiEqPgDxiF6ye/zW/fJNJSyAGWiqajPO2Amq1jJ3w3OpfhBRw2oUmw8cABt818rQZxOk4LAv2wxiQLD5pZ+D5tJ224ewBvSy1B8Q/KsFQ1EmXrs8QUQF7xqNOSkEeZnupAj638hz0K2hx1SOpwD8zIzPdpG8zlqpkbk+yJRTEL3cyp7HnQF8sk1dCBbCbyjAeBdLUhOm/K4KGiYSGtV24Bjybd9H0aVnfkxgdJU3PYRufSjkucjx4TI848ljCKzKrDQKxiwVZXlfeLidjptx5NLY65nIvFh2MIE8F1AZ14qFJb82XV4ZO0LYngMlpcHtEN35iYNkuEGEmR5S0wM8WuYLAN4uWOtqXgQCg3qs2QXkBlK+V7YM640LRIzTtAIYAIBEmbpVBCSDu2gTldLrtQKrF+mpP8UXukUBWA1etCmvgJJx29cZTHGo7Oy0CGrze3/akIbt/b5y1x+ooGz+8gC6519BWOEbBN0acnFR/ovUB/HzPZVbfx0+Xu8cNAoY6egInYARykuLRg93JVrM5BkzQq8S1lEE8cDy+EPzgsd/oKhnHLJtScIR+uzgzMalq1Tra98tJVvIIj2yysFYt0tOPc9bJxusAY5iaz3u4mD89o1Z/7+VP0Xjd6QUQYuiQ4e3XtJmfMAED/4q5TKab7Vhid15lx/ViA0QB6kZQH10ADJPyXZhQFZrbYJEvQJybCUWTjavg3qZr6CkylglMR4e4NiRMYmf2T4HxldX5YTUvmwTnom/9VDAW2zL7i8cnxv+yFJic7N78mRTMTPJrGLFx43qocuyPc8iPGGCuxInKpDNLpxCGr4BVjspXraZUI1DOBHm4pT5PY2WEiRefmq0s64seaLN1FITwhQC5TvI7B/9auNN9FEzZhUwwPBj7zXxVl5NWBWiLsAu3NkpUS046ixu/tIkSgZnImNFKNlDwyAScKrLAOb1Sib+OXg7zk0L3cB+/SV2tMp16pV7Y8rk67diGA05yPWkykRKCcH+CcmC69pZhHgupzkkaE2NVl637ZRSDOMkSBbBAhZQF6JekF01X6ZzsfNhQpc9J7hNuhuIxa65A3KK+zXM/2reQ5MDH8YAtUi9Amw52dk4xfXzli/vEfGBuRR7FbVmHK5z63iveZWMi2rvVoOJhSmoAoc1wtc8nQk8wcZT6FRFGNxsdecrtx1gBMlRdaJ7tYGlS1s3Kan9+n4y/wM2OgTFs3S/6zQWXZnXV7uT3Y0Jer036J0K3ZTkFAXxzpdBvxo4O8tjZzlTiQfCh9lk/5YNgQaWBTsJ8bkIAh/Supyy/POR7bf5NZaWDQrhiIi1DvU3idz5x2yLFrcp8K6MY8bKUWM6r1P4xs+kFuBiqzQwKDJC510AGiYdsgUm8l6cThv7+M6sVLNOumJ5llrX2q023A2VNEdkEsKKq/G9og6yVfj+tyBqFdLKoLElFcyP7DqAneEk484uci3zDctaOwdzn0pNpZd1cuTntcuTZxktV5sYg78Ucw0TeSIGp4Z27qdLuspjL0r6BfNAT3iunVYTF/yp4npAlIJCjKMKKBqNmR+99qZdtRwNExMM13Dw2Rc9ZKAnePirN9HshfS4s6yQgzi2FVd208aIcD7L5JQLq0qaJo+5/3/ajQ7P8WHOSexuL4u7ZUYIbDbcpkod8c+dBQI2lwqHOBHYDwAQ5puQH4gq6rTCihiXQwdoMee14dhaQfM0yCcerYQ4N047hlFqqpu5WM4zY7R+hoZDUxcBwgbU+UBEojCactYF5AzxkTxN+/Yt9gtpFnEOwLvgZlHpsvssW2kBB4Idm5ISONlhBPLfjjx7xLYPIDfarrRdYECU5hGgMAH2VGXrMOqmaTqSECPiAju1vfi4L8VgEYSJmWM++ITgmcvT7fjqoUUvbiuH+9dbK//3cFpgZNHZqm5kL2SdJ1s9pHTq8/k/2RY5HIZDhu0+Hcd3dl3qCc3sGa/UMQQ/oTblxpvJN5L++MdtbmBDlKALONTbzC3gegfwl2bWljsghxTNncrl9lZ42UqY3GP28uVTT0Axtu8+yRaYjm80u/qn8JivlZ28TvcRIKMZSVSvTZdLfvuFEm8Z6B7LFK5pZRw9iiyqOOa/VqKdAWtwMEwsERUpz9if4stZRok52gBLFRuUIXi6zjo16r3+IifsVBzrNy1p19w7OZcq1zsoAcOiyKPWMrdHGLBtCq4IrMIswHtI1ml+JBKSJbHC/TpQpwZDou595zvwx6r9n6YLnx57W+gq09OCTqyCVheu9/fKqVxCSeLFU6EzcRyD2i/U1paHBm8mUM6g4hp4++QGoZDrYKmi3yxm78aOIbg0MKlMWeH1nTVRtizYgp6USPqmth9aPgMwIGUtm21+jaWqp3cPgY8QEsGeAg4CxkxrQeID2dLZlbmEioHJNWlOUQSMrZ4Ub22g9mhWrRVe3izqLhefss4z3Eo9uzrjyrpmgUTSzheeOg9Ydu6OxElz/iFo3x+Ly46VxlMviXI0hI/WU43EpE+7MNR5c8WsYPltaLg+oywIuIIv9ZDf7NojIT5hCR2gsFv/9hAAftKnI+AF0K8G3z2lV16/pvovwKCaZB1pLLLXkyLxH+PR93ZL91izkp58qWZ8Ude3Hw+XnXbM3Pdz0nU9g/dsrpmFT5mcirtLdSU5P5jwyNDK3bfBLZWk5Bl8HI2Yq2E0/sMN7wBImZ7FycoFKvMG13iV6Aw2m2V0PnxGuXDjfRRmTcUYF9Q8wPVc1CuFVikSBQ6sY2TLpOnYA/EgnNSSpk9TvRkin5A5xZV8gYrBYVktMC3dPgj90Dj1GkAn3ursJd3koQ89GEFaMvjmPqljEUqsg3eeDCsugpYJYufDJWUciLv+ggmTFl5Xy+Q6D2t1KPmkmj2KRUKqFd7qXdOzyFGacDE3Al/JVBNLaaXvL/VRVurAgnf3Loj7JmA4rRbd8IMVDic3RBv3DhZEWAxj9lhuvVRbNRpLDchDgDzXVhYwTM8QDd+hZaIrz/dZuQ2JyqjsUNDKU6OKQPOGhGMe5SLUQdZx3WqQuFreuIphpxJc/kfzazAc5JvOArCRrI9RGNW+j6tR78FBA8aCZBsNVqofEImiFMx0YWHNjJm9Br6fyt2vQbsrFuT4hYr3fpLfdz9rGzLZ0yRPD3Ieu2r1Qe+8oGgrgaTl/bk9o0AC2r34ComArrJGJICGmwsTi352cQhbrKwebcyPRzZTvJzE7JLsXrY9RCX8kFvZtbjpYNdDeJKwk5wkLnA3xVuSRnlBZlN4pbL6xhUv8prmRTdCH83Sm+vwbLZhogStF/q+ublC6OeOk6LANzzpIjKu/IOvfOxd/7cgNtJFZuyYE8n+CmvOJZ4ebd82By/e1lZ2/enXbNPxNcgiQXUTB/np3mk/pjuAM3TTYeXriHNVjYvs1awRnl6No4KisECI0z4LlFdE+cCHjLQRrG/b1TlrHLWbiS/ZlKAcp4xl+xvOoAlNPbf1ngsv8ERZt5COlIJHNBDKk8+UjZqwPzbNYvDkDfBwP+p/QjeU4VHj0sldoeXHcL3jCpLAbQ9D6RuHrz39NE92b8iUCS8gcs0Tgq5j55DW+30eRbyjI46wu7I4qDFUoWtyyLLeh4BvoiYtnwBiGESO9P14b3+f/nWs1Sr858l8Ivs7QiU+gq2BxDsYof3yXe/t5YUR2KDVTxUb4nvm/d0lqkkJ9kzniXN2KltzbTwNvCtzXcUQPkL/pX0aTz/aEGLwnVPsNypq6yxqnMq260njBdbSra5q0+9swpFAh5NoX1eBK+l0Ejs+lmsKJ6I9IjarghHJtH//Wwh+ObJXQ4zqOGUxDdgi7LwNka3xE+sy8EA7vG81KIuDJUdNLlN58JgwgSOdalBvtmk9TAI1DOcgrbUZj9FzmIJMiMcd9b+eaSF6WporRXLcx9nTM6r9I9j0onDHjkIyqJsazKE2xCsfMOY8EsdrcURGT77ddFHprEB0ye/XsYzLbpC1nkj2nI6DbZFl/9hIPyq3qBax/XtK2WYn+42d0oItJ2Q7i2XN2wDw131jkBNk+SGh4a1Kg6PmeXWAPpdOvFx0CXLQy92v/0LS07ReSc5/NfGkVnem39cpXYLnMIIOYDmnOyC/IPuxq3ZVWk0cOT12UpG/l00Z2imy9lKyroKO8s+kQK34jAhreL3y0lrUb6i2YpIJmBmFrAIDjlDeVthJUR/jgVrPxB5ZU1QoNbYh6dAYpH7iXd9t/Eni8ThkSn5Uw5yTi4oP6x9fMG9jcIklJgSaC650Soi4Tx3x0wisv3xqbKt/1m1JI5MqVajE3Wfgl+ol/Sqi92FzPhvuy2lHRVFWQb7l6VYgXUohs35KqgP6DzdEBLlQQwr0IQwmyLXt9mxbCfiLjaClGS+rgru1E9r1/+Vs2SmORF/dhH/zqvx8s28qt/XANUnj6bSlWnmlXFIo9j5wi2mIBxBGA0bp6sTqYBfEbOUUPJuw84Ss/PZqoRjHY/RnnuQNofJEAXDYCML89HN99PNn1Qy151o5cQSpOYV1aqhVWyCxr+fCSoOGQ3l9/ETcimmPEuaNOUnKu79o1Ng+gwlXcwRjEk+gKEK3HfFGDqRIwNsR1EwimZ+tXymUBoZMXxC0+foB9sCBbC2ZpaxUtxiHAgb+/3GuVLMnUzDeziJLT0zVBGsxV8ReVqdUt3mUPjyNqBkcWx6YjLIxwcrlbibXl5iepPtbJfh63U9WqpJ72o4F31XSJv8S8J+Pp8Ayl/Cn8okNo8QZMOivk+6dhoRNx3Qrc/UwCVZz7NEczHo0Vk3ipvCdttQyxsrMrR7ywshqcYJcB6NCr92utYBZ0kLvR+8gF6lQO5tgmHPcVb7c/Zze0ipw5CWUl0YWrA+7aWWSAZr/XaZ++LK0xM4XPd8bbN6DvhNPhbKtoQeneadgjX8xzDxTKSELlCP74j/+u3RTfEfm4PesSgAsuU8B5IWJNiNrLz8oVSUBAF/YvimJ+pQJhnBtE6jSLvd3a/9XL6l7L1bDi1fqDBIxrvMkftjXe7dCHHNIc/qMXA/jUEEGyA+orywWEG6tQRxVIUElG1eE+VFBMYRFe0AJ/38QwkJE529YkV4IiAN1RavP/2TWrQ0O6MHM5E94d6SGvOdMlQpAuVXv2Et00dBRcg2tHwQ/Mnc2TRUVwlbqGiali5P+GZESau+usCq+D3xO1LTbSqm2Xz88LuI+RG0LySlj577oW+JK/EeBtQnMWhKcZAa6fdBqnriy77VnzlgYafMzzZmMqsNOopIzuVccqq2Bk7q8RHy7PO6Ody/Ea/MTIYINengePmx43yUfmsaO40k+yz3e08Sc3goOC72kGJUJaGgJVy/IOsSqowpyrqkl130wc5JeGBez5dMYmB130W9I8nKgMOURSrNlr2rvn8LmBSWmACpJgelD99/oW44Cf4gsJS+4hYKkzJnhwGFxeGzvpJ83mbucRECSUSFoZtm0CnKsbcUpdaOeFcA2Y2AWNynTMmyQxmdMGUPyN1CbV2zLc4KSHur0aKUovJfrm9yWSm8aICOlA1TjIx98kc010HJtfpamy37FvkySW6SMvOBaBQ0d8owf2ffUIqGa31FU3//6L4A5tt+zWNXPQsAR9aGxReLpAtH9REMfaIplAlIPfOpMzB2fOkR8wcuj43B7PfEl9L6z70yV6Kc+FhbTKR3hEvaxyXcO2jv9LCIrhDHlfFI+rZp/t1WJ2QAdR7j/ruopu0nNHa9rQv4e6YbVcAbGnZ/XQJRKBu0xhhsO6yt0yH0I2k09GVRg5lWw5KLs/XjqB6LGTOzuAmisX5z03rl4xTT0VNWLMHqBttXrcwD/U7BLcOIsTQa4egRl160UqzWlkkct/YIFQrKl/6KsFuiJDMfri5lnZ7tBqBc0Cez4Q+xaGZ9nvWvB7HpiyT4F9IzCMA+JeHnP8BuUDAmVT4cbt6xuzaGreuxwX4leEz/BQSce6apOxRLRmyuQosO2AdwIZ/ijAGsoLd0wVfjFp/Mj7svSQfC74HZsssNNUU5ajoZpXWip1fQQR2dbZTsELLkklzHkikx7MayJe2jyC++w2YkyFVlg9fYsUuMS04SX/omIfmRhtsRM3EUSinwJ7VLQQT7xScY+Vj2dgCnotxsrTYhOFSPW4g7r4jfg3eYq6ssiuirGaumzpjNvyHyaoMO/MTKjNf/aWRxakb7n2x27A/c+SQXf53m8pSH3H0QwjhpPJbbI09AT58bFqFYWm8l2As6WfyDkda/Xu3zJpMk7gczIUuRNKe2eYq42WxKiybrv+Sj7O6w4gvXdgAWIeP3jF+QfG5+APNn2L5BQMHBAxAapXDjrGonr1u66tRGK1wJbx/2DXY2IXc/1SVDQDR6HeVA55UIjZUL5DeoM22WT35GCxTtaM7TlizYQw34zSzDQGVZbidDmPclJZIJOWz6a3P2NLuQqwHZKC9Ke3U8cK8hYOhpjTlo6LkbLamW9ulYBRGZbgaNUzGzbq+QlxwA9+M8lx18bORSg21d6TatmA7Eszg7M9yNVYVa0cVEn5ROWs+jAgsHg4JUy+giHAoFVyGMqs/YVPtSyl8+ceuA5ghpF2ci3uMXIeMGmjEDd0WFdCtX5ijyIeleB7dT8ovguv1aeeGVtRPyaFd/ccTBkwXNX7p1+AfLYwbgxWQjYA/Cxkuhw5cqPv8mQKLNyWxdo8cDZCIMIl/CMPaiaHJmam6AmFZWGGig7Qw7AdOFaidQ8z1wC1VX7NT807Buqx3BXvlqK7wlafjR8MEIv/v082A2fLq5CuIe99Yk/D31tNSrGocOUs5Ut6hF8Qpuj7Zt89e59JF7XAAdGV4d/xo8UI9Pd6cPu5bFQMzMuGpqZzM80V2AAVTL9LUd8Z4Qp4enDNHj9AMwE5nwNXT2rn12RwR+8/sJRkT2GicTpvBS3TQrQ/dJpjZ8xUenLJoZ2jMq0JjMy8vRdlu/lnsGCY99lhlM+9YSnAPF8v8ewDYTmYYIOP14t1Ldv+RsdXrhC4OQDb2Uxi2NF4i9MnyIgNFhriYlCTK3VwZW6DShqNCJv0p0x9Zc/DaIAaF3Wg6IdSbpgyAHM1jt1YX50Vmzp/BEwhE/ScpRmevg2Cj0LwsQ1JBkoEd1IR4ofAE5g2WhOGR4IPbWFoHfKmbO58xEDU18Ha6ckqKj7Sx1K0oE/cEtCwQLdjDo417YlKgVNNBRwjVbY1BWdw32y4/yjbgSdQ2boNQvfCXdS5nmI5JmAdo95cvJbDsFThgHOb5nEXx1pnG3uC/eAbeihPCQnwaM0v4WS1givuovCLbpvVYxilQQchni13W5eUQ+hQfrGsew/P/WaFaDUOry38Cv9WEXqoltxp/dYcvR13XE2v8AZBReWXi5Xm5tIRB+eS5fFy4+e+rdM/JmwlDYLQsxEMwo8LXalbVOzmfXna05bwdnu6/gWgWHDMunXf8Q2yYC+TKT41hkBO9hI3J8whOSYOdq9Gw7AzakoB4va9Rtx6M1Nq4fqLCqTg1h09aXrM57MDbmPJ1mL7FhFNKcJ4Ooq2nFviYn03K7NpV/TnHFN/vpq1D8ETUTZBH5Plb42RDyOMxSAROcYdfEYyT3r2zxreowhhWYI8ub7DxX2zIIwvE0369WnkGjOwIg3mDnJ+3Mn3CKhFiwEUttq9PJwBIv1X2lq7wwbkTaSa5uIW3BqM/y185lCkChUJNGtRctDSlP63VlBGvaJx2Y2g90BEc/zL2fh7z7RrFBdIC4sFxhtDbUgeDJ3Zdhx1sY4Y73Pn1SiJXCsjAX06EOXeAjJMGXuG/+n2zMWZ4IQUwSXXfDLofmwlsspDO9xIliMaLc7yKs052ZddvituRtUk5rA3awL3OfVp56r5H/UG1OG7A0IgjditkXcbDhxECl8KX/rlFEnvxQmfEI/2essWfb+3L22dWOa7O7EpBLuMDkYI19Zi8CtBPWSj+ZmUHHopdgHLsyQx6ThlOOZn/y3WsmOmbEJ7XeoiQk4mb880fxxM0HMWPIGPfN5pEKLKO0yHySzvLnqhR9yQAvhIR8NswR/JoznnYqhm3g0aijvld2V1DUTtUWOCmoHmn5fb9mCJNxEm/V+UkLAazyYf5m0O0/4Kpi3Hcd6TPgcD7bZEE+piHWmy4v8STmn+atrIiwVkBvQNqwcKluxfQoOjKePXaW/FjDqFcB6n3Z5Ru/52/Pawwi3dHXUKEEz2jne2S7hSsU0+kUINiulJhtsb4ocLIQEb9S/3UdypXVAtS2nBUwHic23VE8NEYka/gUQR0Px9FXdxfXw3wzk3P+gTWzQDMknPdbvrcYWTBXVX9Dc6qLpkfPuAHe6Kv9j7F0NAzBH3HgiwQZvzvB3s4Ed/9d2RQJNX2un5Mk5jxkRXPl/YtT6UwhufHZM86RQwZNlaVz+WMPRFyN7pbeYzz4JRCM8M9IQUMk6hb6UEbyhVR3tSWsFH/eDXfMNQ+JNbszAagGS1aGDHdHCHyYVbq8IbooIUd5CvDlHnMIrKT9wR50kqt+goMbQFCDDtCIvt1tFE69+wtEEZ/1WdG+/wVUWUxOH650YtQoQV3HHl2/t3OUJLFk05S4sU+RVmQ2s1RPsFoeos5OFLbICQyE/kZfONDNZc3agyo3uYbvvgcAPhW0i277UICuyciKOCGrz5vYMnGo7bzu+ucwK1F87UJz2uPdCraUU92hrXUepg0RfU0HHhNEYLsGaBbaOxbzVXW9GVjRMTJ7U48/QvSHA6oGdGRwpb+Imn/l6NLc5OtLLjoU/zPRbnfPKibIslVXGpxO8t7WgkjAx3cZklyLqMaE2eNQ5l3nkIR6WOlH1pN8yHNTkkNtJBLBNXhsEHK6CG83es2/yDdkft8Sa/TXKsdF227OEF/bjrB0aiUYg7cp0kBhbRor34OBbLp+UKI8Qf+IdazGdgc7ZaiSL6oWH9MZiV7r0UvPwrVxZt/zLPzf2r6GXb0lTEnndSefHAv0bkfqaX658SDlGdfodS9W+CmSnfTa2DWSj1TzuYNhNE4WXXh7/DT0pV0ZPLqNaLfxx+inDzyhojyyjpSSjncQjtGbgV6Z+ACfet7t2eTqdOBf8Yp3A+mTpF01PGz8Qi86XHCBbPmu/pVJrp6cH6DArLG2mJUUxj2tq3a9wWAPfr0k2gk8DD0WxSxSIMpHNtO53ZVAu3oz4VXifnCHlmSnhO7DcDE/94xfmuQVOc2jhXaBY/KXN0zetvoJdSt5Iw85xCj9dq1qfXvrYXyVbcebe7Df5Nn9n1XePT4KFapyqZY/mIzyrFqqfeFOerqzHAi+s2gNR8qusB0TVDN0tOLaAcxlLX+ULgJhk9hTYvu/KueMgIeWaNf92lYLa9UgwFN+9I3mceJIiNH8TcmOiYi/i07P/QfDA5oUeg5/VRcdNG4EGOx0wXsHmfl2Z61X8XdcBN/27dS9Wmx8L4sBRNgDhUrTu4WilzQgbNgqcb+vEk5AoOifYsjk2bMD4JouVcgsLKxag/HhGfsPiJmSJKiwdBZC0TfiQNDwGxfB8LVSaPN0O/oVp++DpzddC5MRq8xo9FDfuTVvUIcNckMtIEB7dDEQMWbbyXCo1hrkwmkbOm/u13lrRkwPFQPGGEx7Iypm7e/F5EYLGUHqm4GFGSJWrD0rP9szPLijhiJ2e52Yb0+L9aOqkkgmf0kfurfZNwleLxjVvzjXrF7hPHVkzzbYScB1++BrD+Ec5ctj+9I3hwjFcs1uh3HDbvQ8NFP/ueqrBhfO6iDm7bQk91RmZM6m6fNaO7VOaU39tr9DB7rRuN/y8soriHoJGo0EkPu1bJNnwlud2aowuM/2cqylcgW6j0+gGtqNb0Yq8fEENN9CP+pATdtN1qhqQmVJsUAc6myXP8+Y1Q1qTqnExmfJLIO3lQbEjfnJuoojv72GT4SLtW8ATHz2b9PP27OT2I64Pry9+ncLWIoZB22buXQQ6+JN822jwS45YFlQNLMqPnpsIBKYWI0e/o76aQO1JQGk3pyqDN46I5zKu/hLWOA+uDeUEwvzgIh83vobVXcfqK5Aq3sOtl0A+omYrCoBALEC+VUrSTBx4M0v0VtalHXz5QQn7Zx/SfcuWsA3lxQcj7C2z4bQI0piLSD3RP/eUzDm/ueMAa17+sig7nRa+OQUtH/pPW2BBTCQuAShMYPIHZxlPPAexxBCJSmj4kDQDXYaXnnE/9QYsRI3Z0b45+HLTumwdq45Q5OxCkPAdryo6dvCmhxu+lK8+aN59CL/Pj/J1mqJdxMzxnFv0bVPAGITtHJWr+zeOYQcRKWOg1FsAzMUXC5EN5TyriAmVspMWudn/SUxXQxSfwucPr8rUs/AI/PYM24zIH8Ee+8MPAdMjWSBfwEd5nMBtrk/bX7kAT574WmV6VWDsocaLsbTQmip6VtTOeR7MPEQhFHOZkqvsar1HiCDlQZjFekfnEp4eg+LWeGUHvkTY28iqVQJVOkPti/x0GLX+aUeDcSsjifCZ/7WZtSCjkA2oZCFkx1LeU4X19ZB/+u7vhvX5SPIYeY0GRpn7KqdPKhxGxW7+/iWN5livAVR3zqLXNfoiqKGt4BerSP3M3Gbl0m9HrQV1xdcIVDGGe+1cqMG54Y4/MCN4QqTjFMIMn3pAiprLmgNWD7AxKk+222dR9Tmvj3fVVWLqO5DbWUIIhHAPPbt3vin7ulk0kT2ENyQqgHSv6uZ88vW2xQtegSzakuLUCMJ8x1zNqeu+99cLAvWjmDswiRR8CkNN5ez0FQUFcCvqsHIZ+qP25FPMopeHTf/6uvjyuX4EVGk+VjknwEThmEEnQkCucB/dKQezofSsePMVXe5cpM0QMzPyuhQ3SqvkUN9QnTekfl+Vl8G8NzVC3cmUgfO0zB0WSnC7z786dj6gKeAnVTayIA8K+zXtuGl8UVxAoElPdVhRNZoApsyi65UxOjNPQrbhnqUf1/5NBJRQpp0h+fN+nH6Q4cumofpPtL54GdWO7RlSegUKePbhFo0SBiyLrcgzgmH7ONP7LyEe4VEr4VWaKfp/6/XVsRl3rJ+sw5h/0S2GqxdrJNet6reasy9aEQO2fgqpqejxp34172eX5MOS0oqskx5bjQbbD1pR6vhguF6yicOXAGjVDRvRzfq0nQTkycg7q/rHj3YjQy+yXeEYU4q0HN7OPvchIs3QtBU6iRdLIfgB6YNExrJyaAzrpZOvLLzdG42iuulJlPF5MO4QQQT9ZDuKCXMNaJ87K8FKCWOyj+5D+SynaQeVJnc/HZJocYoX4SZAA3Y3fMcT8/2QMXUdH8T6qiiCj685Yaay+33scxDVLIRJaLcdl83wvG3w5m+RpPwbwZyS1VjokeBNvF1CHmDdc72+CO9VC2Ak+D9hVn8mbGqfYiirjEsC0yAOGb2PVzr4A+rMACwdr03RYWn0fGRn+fIORK79IgPZa8whJUU6ZPivoyrRwOwZMFNKS+zv/TngmPQ+PTmY0MMHNB3QmUuUlI3GpB+vKZ3po0hSk8xyjQVLlQLOXjoLLWWYDBPSX1lCJoOmD1oGclSu4c8zzb0CxpwilNK8rGzM/63i2Q/y5/Rccv3kn+srCUUcRoDZc76qj1HQNnlmzFOSo0LfJxHCGILN7JqYbjI6/BTy7MbzW5bByD3UH7NUwD/LL8bCqJmbixqOnz4vymvSd7HmChprwuJ125JCKIeDCnN9ZYmzNvpw3QVo3CkuxqnPQkRSMhN/zx0AI3fXuZo8tCWCDrVBehXN/HKGFVZQaQX6Jx9BunfEZL3iQFhBhTVa6kfnK8JlpRbN/E5eBhV+cZoetTZhVZNMsLT5ymgkJVx+j2sKrsCdFhDRRwTwzM0pHHreXAvMeEh0aHb+vWhtScFra7W2Fc3LT/KtF2gPpyzpy5V+ekbQvhzFS3i/Rgo6mJwVOrWUVE7eI6nIHnthgDzVdP13JW5hpl9HRqkqe9N/KgttuHF/l9OCI5S4my08PETS8f+ewx4SM8iptmHg4Iw7pWYEcxJm/rlcx5rFlDEFypmZ2+i9rrEh5gXf+RFL3nYHmCPm+4Pf+f5kfzU76bRUFQt1o2VrKjUU8+b3Oeb9cEpg8NK6rPfQsQiyBliBtwZVbhsx2zeY/tbwnBil+tmX0oaiuRaYU++pWFm+uoZn2IUeybYkiOVZeHVGbjzY5d8oMliycDMNhICHtl5h6dYoNy7y2ZAQ/ROx7KvrRI5+MhEPtNLgdoddM0GAPX0HrpMulf1KMiW8KKcPXn52VDaKiUnIOOO9ar+gphHbhCl0F0qCL+g1cQj/8uteNO9JwsDFURW5llf4L/yy/BTHOhbJ+AwFmGX40GwUBaQJYR4XWXM75O/DElwNp+EeOT7TwfPzHzlw3H5jcvplEA6XHU6WQgMrQVa936/imsiOGE+0hyh0ThaOIRSE7thDOjYSO4GgQ68+X0/qCUHZdV1El4CSOGX53gGu1ZxC90q7GiK7qQaupuyrLvp5DRQmWtw74D/AGhyBBv+L413Y6Q0ZI6VyeQWjvbiMy7g2kmo0oN2FNdGQ/h1rVGytzcW4f90XY+FytgaZfKujxqOMYHZKiX6k6l+mYJpiHtxReKkHOjTs7HNQd20Ss48RBmVmr3epr8lumkWe0BmS6v2s0UcvqaqV6fA7feSg1Eq+W1HCKE/pZuBD4LWsuGbsRmKyF+wjuEdZepTmbRI5twyXzlLUaXMBI7tl6PKRn6UTUVEWJD4fPos1Pep8aQgJAqFeEb+cVQG0fi4VAU6CUd3FtZIqab3as3z2Js4E7Ax6CV/fww1OE+hc9IE2zxSAe96N/n7miXUhjeYI+rtqqGy+pBoXqfbhSkgdFuxm9oEmkjDWYjuQYNtxujmFqyqb2w61TSlmCagxC65OOw6HqvteGVau3gDCcNECx0zMXPJdQYBYCe4VaJQJ982g4sLTJ7J/L2lWEskj2tQx2F59bUQ0mQawzUG3jAsRH4UKlK84VhAwdNPbBrK1sVBbobpg72TnNpehJeGX8GFmVFfa0bWGu1hdC6kzqwMyABL6NxKZPHXeHH9fSVh2FDh7movAErUXk1oOz7hwrmKJ6+jcn+Cw4Q2XF3jKRJbpK7bMriwk/ZFCMAHjCmU01ZRVtJlksvhao0M6TI2uYXmB+6rYBNrgRvhk1c8h+vVuVp/fy6i6K+e19e5KlHUN8/5tETfCQIK8b1Hbje+3Iax/x1vnMk+Kq0/Z1Ybae86N0ICGpCo5D9NOGOVx1zJZdYylZ5bBNV5IsMMwl8Eq79OW9JpJowCYRdu9QV4YNu3O4voN2/BtDCZUKWMaCAewqCGIkZR/x+4tzV7n5vpeZDUkaPlyQMG3elaetwcW2wY4CWSqriyzNLwNShk1lJuman+kvwADfzibN1hWQyh4EI/AGJ7UwkI7dVS3ieX3dtFpFfOhxSa6ToLVEMB+c5nMHP48MoJt7LtoX2mHQlCssSijYSqJ3mCVJn1UzuNt9rpzvPtie6U3eqMkrrSbAQbBNx4g7G0CCHRsJhYYvUEqAB4UGhbyQGQYsCijB7r4OX5BGjSCKC4hEKzeT0gtMlv6+LWEnvUfb8bMHVvS2qWDR1HKtoi3RYJZaYYRq2GwXP//m7rJOcHsbqv3+gmytIlTP20Tb5Uoen9kZO+fYvH+/reKd7V/10IJzqReM1qgiKNqNvLPR0xPrzdHdnAgmek5K7M88/gXRYPSS9ChVq6mswNjkPgG06xNcHHrOTVIEJ22RQVPoo1YclkYOgCx6xDIjFBMhgCxuILqJyLhRCsr/nSomHrRKFZQLfdtF0EE6+sYijbfE7Prc4Fh8A8jTyogKOLA5LX/HAqikG+ayXRhXFRM/JVF6NWmlDQbIujm6kvujIeIWk1dPXdklDHqkGPwSkmE7ubPs7hMi75AIQuiEzvZ3TA2MCejrGo+6qp4HwM4IVzXdfizCCGLsgR06f7yYvV3TUuSntsBtre9lDsCJIor7bA4yJr9iTDuVtBjxHKMRqTuuzDnDXUdkJZyOKsjGsrE35VJHQWtcPIVZmZ9VaNIXl0UpdMTHV4HFLQjlpl0OraN/nbgvbHSyI1qOYgNBJ48VdvR1/Ign6FJmTzIVWQN13U4RuHfpvkGDdE2mUtDNCPxb6ZVcP40F/RAkw0WxVSAc1Z3EfSmgNv19QAy6ZWsMwekOAflxhiR3qH6PMI+mx9W5eo9TCbiZOfDt7ntA99hvndhmWvYrn+qSJ4szoizi41UzdnKDAKiI6F57q8apO0r4V1dhfYD9sEYnnEBOSzxToToXb9y1Gmxm+yDoLoXQmJD9UtiaTUEngsNc9snpuzXZsN/thDOeIEoyYD+CmwhejJ3XDufVTL3UtRuupe1DCb5LHyg9jcghF7qndrXlHwGVF7czc98/AD2sObBJyZhGcezW3Xqt5YolVFrS7CUAQc7lk/9eyhpD5Fhnpl/xAiLTXaxVVNMAdO7oPpyArFilTwAcHotqCInYvAUPv830M3z4mfOn4I4bKPYN/9kiuv9zabkRzlXPu31cZIs0TVj9SNuDMbqrGLHLMTZLY4jQDMccFW6AVRXyIqPrM34Ym1aY9eQ2ZWzmf5ciyaTE3Ih2ig9BxqWbYjD0sDDHyOISSkTb+tSB6abWBL7mDi9OqziKQG36ZUErOOQWb4B/dphpAIBVKGxw0WSyhOXdStToB4+oiWjYxN1hneQy+5q+PNfAhfBLMSeHcYhEzcwIPl2xFbTV4qbtwQdzt4rARkUOhjgLoOihBvbKZNUbxLB1lUif/Fwm/OYL6k2K/9nMH9Q+MemKd/8jpLHqgMAkbg8YeOneBCAD3x1a58/tAk+XmzFK82d4d/MpfIbWPCIYQjvG8w+MHJVJFuomDO8TPy+Mwb7UwBIEaWVZMqi2xoc13Q6QbEOBaBpoy0h189Eb/x59tMBTRdunbpZ6eQ3yHKHtcAghnWM9WXDALxz41+zD6XgOvpc3ekdEMvMRQiqqX7QRGAmS+58cIFw3z0dakoxSPHgPCxKW878Dp6NBm5oE59GZV9TxendcJPL4Y0b7Nu0rY6vrUjvm5n/0FHIiLmWv6yb72O+FT4NGrErB6CNY3yuxVqT9vAOezC+sA+PQzVODj2AtQUUKu8O5tdUppSOSxrby/4KoF1UUy6pRRqCTpt4kQESvE5s4bVnyf/PO7Wd81BiiIDy1QecJcA0/9nLHPxJknIjgQ+3AZQpqZmaKwqlnmABfHLi/8TAV4j7YpiVz8CTeUpl/whuKMeAXFEzagw+0ys5EnRE+6iD2/WvKoF3oFjfuE0+fr+q39C80/PYsxk0+Rr4jD7+DYig79TWiszSVWWN7xampIFpqw+3dY7PhTKGJipL4rJRChjUv9xs7p+j9E1oXNwF9pUdHtc/DVg9l8LRfCOmnR45U0fuODrlx/CHs3097bkCv2tJBkYALeD6PLnaaho2ffhf4LhZHWsHPgFoakPR0D059/6TOpP8ROWVyguRtaiKOnM088hBLNvIwlIJSplBYKnAR89280bdboPn2nAhHlhTnXRRBbRUZaJl2J4M6ZT37s2iNVa1/DShVXyiXwikdPhVeHYs+mo35z581WcCJ6JarCVC14KQYrIMWc9d+LRCefDJAmUDcJaFV1mvMf54xxNTq3tkXSgHjRE5FVL9g6o0dlpHVL3ajJHznycgrT7TpHxIRs/MikN5FAZ0CM9Dpqg3aMxWFHwcqAQCG0L++V9y7kHA2OJk0Cym1ha0nyZ3U/McS0Fgl4hcnrGQQHE3zyl2EV3wEaUaMdE68qH8ujXs2X69kt4SB0rQmHbdA7FH7DjxzyGAEW8CaZarbDNQ/E+mkrLe0+rW2Fkc+ACmK+rDO2nSWjU6gF/u5qY0fAzpuDgmVgYpMUxBuRQw6haR5IYPfBKMiW/NDx5a/22HfwncPSJ2apy94WlciBjCFWAjne+w7DqxvcpKL2mSI09d9wRglG+kPlVXzkJ6OKk1rpnjC3jHbx1PX7GvhG5Itn29fPp/F89JJk46o3Qily3FZaRasOHbcdrm89ABv85KpLUBkKCoN1il1V+kAcrFZpiNsnSE85IbNeOu+crPiN/DZDL2jslX4xa6sPppYp54/U5IxMgwdoX7cWlMjjgCcAu+z7qM6i4Iqdfp7wjLbN01nqzd+WWVJVaswgknUI7UJGkjusOcQLS+gGMeXe/Dw7fJO08kHPDJR4+WmfqT6l4nf5Va5/l3NfdAWABClBIW/Pzmfof5IwsghAN8N7Q3sxIipE6L3ChOaGXqBqS/XouBe1+6G9cxrxwV3asa9MuOrl6tR8/ghQe2WmW3jO2bEqOpLsHd5yndfZKy5IvqUJ4zU0Ql5BryCJTvHgk32sH+rhajGXiaXvG9plm5i0timHfIvCy1/TYs2KoQ/k/aAhVPigdpQWy4SZsjJZ1NU1GxgBwi1B/mbsVIbcYl/i3YXb21eYVxYaLBm+CViPJstRBqKR9IXooOkNw2D11uknlalOOHm+iUfhaElNEO3bcbO8LSpcNwGiN2nJ0oGIPZvHj2SliFuQFtCYc8oc8DEmgDXXxh9yoVcv53BnQl2KkmU0rR281net4doAtO6zRFXJYiIF6el4yj+DuvvDhGUxUJxCx51qyWQtUflCd1bD9bBHPxgACLHK94kUWX4D38H8qov6Rmvy2mJdQwrWyIRgYHYz3coOwQupPVJaHr8PIeXGO2bTsyqnxOTSk3VRnn61UDIa5OpLiQMI+WrxN2+04ZQnKYw05Nvoy5HwMryYGxV1Ff7xI4+GdQqat3jcj5jRUiWm2soAuxsZqQ+mkL45o+ANP0zlvWSmEh7K7x5Ex2S2TfhJllkPh8RQ759KlJmhj9mUNO1o7RQ/GyghCPcO04NGeaCUZ2ytcXMifIVuUnCjhLpz7wsiUrsFMdHX83AlrX2CFkhHGPzs/3SFCUX2wNhyRwlO/2bJSnTtTuWiby53gZAiyWdorHqgyYjVGZLSeA0lAHCw75mRlhEwIEN3upm5WIlGakNBb2FcjWygLotOigHJx4EJ/6N8iEnEyMfyB6pxc0JYucbslR1SutebaVo2DgqqiXprS999zLx5K3LvhyHzgsY375LPfu+Hs5dSltShsbL0bPjQQF9vaqRShu/Rbnk9zEnwJrSupjYRtyfh97y2DghJOC3YiUqbuXDXU3WfYFmSGlD6tpTewi1B4elS+9PdlATYymFXWcfMZaRESFI3I5uLukUtmnn2bySgbs57V0nyCxoMTM2lSQhlWcuY5+x/OPjqF+sMP9mOR2lbF2d/UP1xbCNFDtsqR90FYmwO7vOzkvL023Ju998xcOf5lFiIBKKxdgJqPfoGNXbiiofrI+9FEG9PcZngI9icyPXKJfj/byhO27twplzG1j1qMcWlv559vwmJrKC+FsTIMMEVDPWtAphq+kuzjUig3pdOi4z/h1r5XRXzjL2QHA1/1aT8061adLLceeHPBfpRWK/Q8CMFyOUg04ZeM89+Y8WZfYFMhuWEb2t2IQmHM3pCceYirUHSP8t0fEQfQhfTN5y10zEHcZIlq4oV9GkKnWwyndMQtIgto4EmysXNrpXJVLSkeATZFEvWrTk9SE67UDRknkBHbvqfupRUxYEEuzbEpAekOnoGwEz9Wn01zS8g5Z+8nfD8BLQhU3tNBFE5zZw++X3PYCaDaM1Lqb6dCFh3uNRzxyCPkKKRz3lQbCYrlsr57n94JMglsH0zFr/TBhzXErtG07PJnGHxhtsOvosst5WyRfT/N9xp3xMIpa6SONT3Wa2ULIpEOrzwVNgronVDYiL6Aq2P9NYu/SSFugnWDwTVOI6gPYMBewHoDpfrGEhR1pb6wQTFRk0P3AWqXYNRVtEBLVs/tYnVzdgAWrA+NDmF9hGZ0L8yQqDCR+PsnsfHAfByZ+Rul+LxhOpAXmF/9027yZqkF2pKxa3NLKSCUSfFxH6Oayg7unEo0q6O/IUBLtw8qg0ORynkS8bMAgTFLnVgMcA1nppYlnMcsJY2kyPVhkU6TkTq6Fl0qULoCUZcfiBiSRwt+NE9YAhwG1IMedtGEOf853gb5Dym8evXeJbY14LpuOGfeFTP/d/sgfo7fxXsSjQsHwE/KlxRlJHzRNYUrtCBbNcB2E3rBj2DPzQ+7nrpqpdQGsbs1O4QV1TcZo0lOGstJCXwtbxtvEuVwryhaaeFsVCKuAGP9bsBZFbKIkkkDL3gQ4vOynptM4MKck7sh9GU1JAiEwJYVXi5wnzNF6LjjciP8DjlmBD5OdxO9yqRaaoXqJnmg5ClRrQvggFjsJV5vxfOVQgQYcc8z1AVK9rROY4uj2x5OQlz250fakEFX8fPdGv1FAAbQQG87XYx9qPQBe2zdwkqZnAeijMnoObWWZV4eRkcPqoCQQnAKR7d9ndWTFCiigN1xZ5TWy+8fmIlCJrFYtswgbGNCfIuu2WMayLC4kKZe98RcgUn6UyIQRPyoQLu1eBLii8JeLe6BKoOf4hVkF6gKvXRjYojSH3Mgkhlh0TkSQjT2xzfZ+gz+r9pQfnhCQ4yDln5lnBqocxeTtIPWe780Ztm7k6zdyu22DPzJhlhtmkd7IPfUDNMb+h0dm+a4pEckOBtCPiYcWfExDuzMpf3XZYD2QSfUQFBzbD7V9UF4pQzjmNTIamL348gvZ7O6gDbGQa6LEnLo3QSGshmk3dHhvsFkrz6vC+4VJ46gtKmQ1u9bfZ/Ijy7Yb5B118LyC8HVMJgixFcMNJBc+fvoHl9zbOtp42Z8ikkIyruL4d/AGrPi5m49ECUHdGUK2pBtPQyK3xYTnNoA5wPzNbbTyH4TgDo9lL+vB68+5+WovAOR61EI0hToYHE7lXabtVwpmd1mNFVf5bkF2dey8k8OVnwmp1mw5xDGCk4L1Ye0yWDiQ0hs/Qeg2UbuI3m43/aoEcXJv9T0q9ZCyBrEbjlrKKfXKi4v6vhHX5qBqkHWGZLKDdvUN4TcAMiHnBqHameOcCVdbkLKoS7RXPf3D4CVz0+yLazJMdwpLm22ZdQ3LOEaXZ7EP4TxemtrEyvvkpTCgL6HAlJQUk0/TPAdN2HFRYNrES7r8qv1vC4MB0+NJFHHOB9YWf19+sIKLPGgliqQGeM3woP+0bRwc8XdjgplPPMmnxMNbgCz9KnADqrguec+nXd4OT8OaIz8ScOG4u/Y5LX/a5+9pobwoBh+TRVhChN1p8jz87kCV3IfAdWMgyO1sP2YBXCAJkmXl7P9bFUeGkEgBR7Fvc5KFdsxWObV8+0QUlBCHx4VbRohjCTFIb/hwrtajATMKKRjdfbobxD0NGzl+VS0pYRH1XkojFHA2z8+Z34fvp7vBuB2ibQJfL0HNfRSkxDoWQUh/gRSXUO5gkRKqm5WApSsMKRVRw6tI4rCp1Sahv4vGE79gmmbqxEvLHqviMstvv4bNIIzMSpmAfL7QMgNGJO8wN+Alpe2GmuM13O0eNGoPEv9VvTtDGGFuzqswaRAkVgxy+O8QU7GdrfTMwnTmfxoEwUg3SRwPf6XiURd63jMfeIcSZoik2nIQWOpz/z40f8yq970wAYxYXAGCCqQQi44Wg5XlqoOqVzMoDXrvj6p9wGmY4ki3TNhe5wSru6fDhtWrPHpEsFMTtrOax7VRswB7PCcmquEvCl6wJ8SQ31P+ehP5TuitKeR+HE+vlWfnSIq3DtYSK1uYKd2UUMbKXUiU+d2wQJOak0oq8QBkN9kvBCtp7sZWepf+CAmgMVp0jjE5ho05IoWeR6ci8kWkDl3DpgKwHlkzGkQjlQeguf6p2tbUcyWuZ/VpKaJxCwwGhIR/arbLtKx5NRfemyTOIBF7zQZ52WnEuJO1wQdddajTrWUmFYWdmzk9lxeXRzvVPfqoQ0MKzX7DwWhztx13exMRfW2pA/1edTxG0Pj3Ra+u1X+dO3Aewe0kTNR56nbIXTi/jGuEE23ZsZgH7xrkf+HF2K9sYLrhuEF/dxvm+O1G9u6RT6I2G+xc9tVMI6MhbC4tq/FPKNSYocR734PO99DNHgcD38qaepEthM0n0p6BsUHcyjKT4GDkhUxC1DJzID/jq4khjRwY8XyPU3S5MLWTX0XTxKVAdZGbAITXXuZNh8N1Qwf+t//UWPfB98UONH+G6SY6V6oHRDaN35T9GCzKKxjWzfQ/XW/sLScfRWkNNfp75gHba24l8XUzDl0ZhAQos9mK2p0LJfKL8MPSfGCvme1IBQ9F6K7rkqiQIf7oOoq/eBaVyOUhEuQNg9NlYrTSsECJhylZ71aaPAwRod9Ix+9IuS1V9EuLoHN2KR1yJVD0YoX88IDbZLknFDr3vNmLXTYFSBFFMoi4wpv0UHjE9ok4oyoKdAUOLz8QGaZe3/8HKMqzPSPkYXfFqgbOOX3HEdsVpO6gVd+Ghhv8OJ/pNUE3sJXWP/cWwdUCLUipyPnyLuvcRlxUMcHCLllrQu5ajgryNSA+dPJ1L6BmeNxFcQHDuuZxHhwcFncJuk/TarvUY3UlJzEioc8wcP0WZ9XkJDzjVZdJQYECpfdncISr95WKfMK6Q99mrgdK7+8Yyx7pDRR5K3b+86kAGc4eSttgsw1GaVEksNOwpwRpDeG0hjPyBZf1pOYYFTl+qM1hqQdENoC6W37KMhJ1CobUPjqSv9mak4jnxtjaf4Lj+4ROr5ogKd0DBMEosjEGD/QLKGaDJeZAj0MY63ECJc1utGpRxbW/35SOczpRp/mZJegX75I4uaza1fe7cCDXTF0+2kgqdmYSmzhIz2MH7Pw/4TYJ6WteseJBy+wizVhMj63OcAo57da7QALZNcrV1h1ANVs2kmh4Ix3m0HnfA1fHXGgWTBY2+TcsfEmFCRWtF8Dui0Yc+uZfyWesN8D1OySS1CB1yXSKX7kwehP0ODq0odQdPxz/jtq84StOnxHRgpuMamUdLRih8cuMLaGP3XYTjj8NiCuzW37cRiJ/ccIfwimUr+eFMD8skkgDdfqneNdvoQa5AeHOWXGVJIPZ7hF/Qobo+u3LGhO4O6kwR1IYdeuARjkECFEPCSezJp9+mmKQNeTM2iss4Sx/zHwAEH/fz06RGxHEcj+nMQ6PJulSvUSxzCnXqqOcMkQr0sNbHueoYmJ3TVjIfV8jH3YOF/5ndsL2PWyGuHQFxt0o9RwpBCiPXVDCVDg/IbaXkKPw0GS5XH3NmeIT5t4IQ/k7jX7GOnodIHd4Z3eA05G2Opl5tR9iilq4MPU6gJcP4h42F1uUtISD6/Khmp5Ee0Vlo65shy3HW/JsNxROC6klSSBHtjRiTV5/7GzAWJrimb/J3Q5craebRH7uVDTW9UEynl0VrzekJ1dvFOZtk90ff0tR1Lw/YGGvhQcc4ZAvdYoSD87hbMtNse8a4/JYhfPN9bymjHiq+hybc3EE47NdwOBCdqIs+/b7O+1BjXTW2Ew7ZYhmORwU0RwqP8F7s362czPGqL3HnINtqdtOf3aTgbS0zVE7wUK1DO4Xq8Az9ScnXg01vVgUHAHjLk6gZ8UpUfpP58cRvfsZlbtqY8ryKxa4BREwcTG3f8LhSsrQtm/KTulfE18MoJ/ii2TmbdZElpEOCpXMUUAzxEVrkIQQvIDg874Cuzu/BtvG8t0FXeQMzYunnUf8ED30PcFdHD0++Ct8VdG0GDHu0Ul2/+gAppLu+iMUSwLYRBZlClnlA8frldYueYXxBo9vytmHpzRE9W5nB3ppDN3aXvXfj4hyZsbo9iDa57SZpf1fuUf6DPeAoGJ7dzYDrWxFyhnwu+ujk5+1e3Wp2JtBdcIocWpf+n6sWcSyh1QEQXzuWtPwhEfyK0S8B79sgO9lz8bijSVLk8ZQxtv5WwWo69Gc5TcebX7d/jTcOtT3pvECyGlcY9niec3gaAfb5+Qomliaz5cG2uCpeCorJEdKUKAeRTOfTQS9c+dmNyolcYuDAf3mBXliTPJXP91I3uiCZ25+jmWRo9NqtsuWMsLzg2AIymkUfbJ2Nxyvzcgjr1L+oalbj4KgQ527CYLo3wmNk+n5+8WUbVyouBaVoy2s/8svO+4fnjdl29rjRbE/dpSV6f1qgF8vPmNTq/JE87u8w9WaRFIrzkJcJ9wUVp//aFbihSXN26XNTsm2wdnyzO7BW+3WSksu45WAMCNvGkbJGUB4SdjJeuFkJCesxzPbCl6+pPtv6AHw5k90FkEHGCpaCNesMtsrKdrLah0Y4BXk6TyzKaj1bkkYCzxhGwReGGWK2aAAarmIYaQKUyjRc1XMFOHTwMgTlhEzn4ZKNDP1XHytmvec40sr9Ak9J0WdV/8WFa06g5Uw5cm+oV6OdYiQwJFv73BR+jbIzlUpNzEBa8CIyvXibBbFqt5CImM99//zC4UucO2M+8iwZX5FcAuEdfgy6Hst4xe4LPtscSLkzUzTWXsxx0yKv+SRb2t7cmRC2J9VwQThmD3mp2BhqNzPG9VgkzS6XBzoJF7IOcPDBLbTJxtkT3f0vioTlYY+57SUiLdYhWZLl+3w8iVLwZFjm3W+o6JC/6/2debhqRzERplvRkKq44H+Tvk7cxPECtAyRutFOj/htQvV4fPCdpUSK01/8QtijVggXefD195xHX8VjX4Prt5AwpDHEyz5M9X5ewqxOE3g68UuN/Ekd9zBfRbiF7c2bqf7N+Lyk53Ry0cPwdINDuscPzGGM82DoePYsMZHN/925EG9n+LFBYgRjw9v4F62XxvFZTYBfp91hJ7R0MQKq8AIo5VWwsgmUdsdc6ArLQgf9V1T/GEVmNv13d3VecsuZ0DK1MmgR05UZHunU90nzXXbwkjZXCfRE3Vg/ITxWHLmBCgGnvHyOmKbeRyLFvqFPuAx1DMUDA1mka4kFDK2AonSniaZNcdnvq/rFZx1jMjdD1UM+OKUu8QAI2qfD/xf4arJLKbS3RuqztLa0B2NBvBxojQMkJoTeRy14xv/GI9HVUH1qSksNpPeMMK29LxqK94gbPdSkylSH8tZUxJD/KBxty/GcMZMqxVa1kTM49Y07lrpr6nbLFmYYqkhCdEzTnd4gy40SE8fA2EhhOAqw48n3k+mDrrV7EACOW22M8g0ufNq2zEWHBQtTLE9f3+JKeGXy4wx0Slv5vWaELcKUNlEYkPTx0dwMaTL7sbdpnfHz1ZbeoWsfMbR0i6CWzpXSIu74R3eN3hzJTmB+CjNsApZ0CYVA8NRLsYqgLfAm1uijfcblNWsN3Ob8tfbABAVXI6K6/oc9gzsolHO+5WLQPFNqXnVTDgH8o2++0fm5Vl8yqsHhejd/MF7oo0LQXgXW99gMhpAwKQ2k/vAMyDzAGycLfwZYjRn95uTDcwx8vkVyZCxXunJavspkOr2uTEVu9ghCJFqO/R0KvUpvC4+7+XfHjV7k0JdkYtT7TzHSlqLN4NgxnmHADfs/HISr+Pbnx6zOEkzAyYAKwY62aWPbURDMbajBvsX4b66tLgaZrt194aCgbf/A2kX54YZZXsI/82F6JYpouWc4g5tbpVdOUKpvN5TS2srMXsJ8tG/D39n+lFbueE6uk71t6ltkLQQ66aYJ4nq+UsCd9WLNfd2spM+l23pJOw3D8OV61TyLafYY0MRsbFPsfRSQCkC021pTeXFwR54d+zQGcpLgYzKBvC1r+3TkOqbpP9uPRpDYjZfK7YutQsOQ8EPvju8O05cr3SW/g55/PVQm2ToGcyyCwhuY4e/tQ95dpglL7o10lQcODKiRhh1mFmfAcoj4IA3rYZ7O5bHPNoRscxBIXMc3zVlvRP1ylbVYOHOP43av1PxJ/69kt4z9juwwwhTXpEjG4Gi9AWmVq51S5qknkM9IHLa7DHT/a0xXqHQ1WGFbvDt5NPc7FlgAfofveLiP5K6f7L/osm+Uq5U09juYS469EP+1fU0UbobIIxKYZl6HmIEOUKh0G/DaLbvjxhHBnmt6Z3b+0QGHSBUi95awDwHXSuOGjMCqPn3rGT1IhK+h2doWSfsBSwHC+6XuVrED4i45Gbuh/LXBSVQXk94TJ2sZqvvhCEZdHyaq5JBOTQVb3+Nu6nNO9ljaWCKemnqoeErZJnSQ8RFmqkkIuGgXC9Ov4TFEtXVzH2ca4iyHlR/tMgoGLi7yJzMnnFj0Q7AW6T+Hbn+hMyo/QK+Zg7enYWupEHvjG5MCjb3Y6X8R65Xo1XT/dLqJZK8a84sQkc25G3pCPf6F1F3d/+I3fBS3aH6JE1oIN4MRH3c84jDT+SOksBuBW9bTVPnGE5ftZ+H3b/5Gx4h7SgWkMk+5anDfSfKEz57HP5E36XI+OYHJ7HJt+o7i7GwVx5t40gj7Gkkq7n8dCBiyd6sG6zzxZmv6RFv6cHmCzBRxf/j5Afz6dYOMgpa9stgFWHJ/enj56CC3761qccrn5vGIVFa4sVcrobOGXhuCeKQjSQ+TMAOsjXe9lg463nNYzUu4AUqJh4w2bJKWm+3RNZ9baqQMzqK3mEPuMDnNNO/1Ygm7PsdDhe/xMMZcS8WTJpgx2qLgG46FjqZ4EmAFxmlTSCyUXuTQRURxtiZ8jdvYeNmajKze0JWee71O5A1ALrraRv2X0ve6b2dCpv+w4PeOQZf6UZUFwCGyL9RxfFUTRw7niSgqgzY6UCYB19vd+QkwrBnl3FLV7uRz0PGrnI01yAn0r49/hYYz9IPCjm/ouDDr39bqGuisY/21EDiFTAbtoAkKqTOM1zfIdmAGMaO7SOKndKc5+kVbMxU+yTEtqSh1Urhz2m6WgLXDGyx1+B9zE7ORQX35NW4/yf/ZXh/AJrjp2/z/jNm+tA/CEu5e2WDBBR1mXWliy9xHmy4LrvuoiJk5prQyOtAbQT/w/qGPXW0l4RmbThzJVBj7rg2yyN+4+B23GXlmFv3k+R2StjUYhveaHmiF2waIVsLXML3AyyVrddp86YMp2FbdH/JqZdhgsmAgUVtQZTHchrwxjR0OH8jZegwLBBWRasHtdsMi0sEDoNyJk4pFWrp5xGXgT70qKvvdrnXdeaX4fpDd7Z+Jz7dSxoHFJ7BIs1B/6UBL/ECk/+YSLcaSWNh7NYpCNqVLpHbf/s191/wQh1hpQSV448ESfKItVrA2yVpqHTlErY3WpPyh3i6PfhrdBsXrOVVnjmKSH0ge/clH1ZRFatFEQwjiBb7e6mbgeMSo1FP624s1OPH3zR0UC3t4ZDtTRq6+Z+aFfCv/vA1H+OzI/tIYMNHgGECSYOLs4nTlzKjBGsLRUI2uY5Q5JMRC5NkLWDlClIBazIBLBRMEq3MaBJOFaNa9dhEX9z8+9brIIf2sJdqewd77tf4RqO6GVPOEh2hmI52dtTeM4Aw/l8dD1Hq1BadoOxGUVbRS1SNoFk/GI2OvpJ7WfVFNWH9PZ1nSSKcMozXIj0Zb1rXkA8ZIJ/rhWeKZ0D/4VG1jA7b/+YdQAl6HFK0sGG/mvbfuZY38JY2N2M9geNEcFJhT2Tj3QkkRMRCB3NCB+eSy3lz2cexGDNENHeU6ucGAewqFflBXqE+FxeCu5Ik9SNLwo+1BvK6rBiYQTE3V5Lr1fE0H0WI1ZHxUGJZEE3wQhFFGfigCbdjj36po6uO/XgXMLDMWQ6Ux1xU2xC04closBm4HCcQx/T8HxTyz/LtQwFHudZTDEx8fH8JMhG1BjO3UxbFE8ihsVcFwvVyotOMqK7hukqj6/liHNbPxhnLeoLM51pETexox06Ty9vPZh0mf2VrlzxOq0HyRNUfSeCphJLZi3xOdLmRfXjjHkMLcSVgK2WdHC3mhCc+pkfcOsbYMLMDs3w07wr+exoNvSHlWoVMiNA1K6y3aBRWjXR+/R6d6wuvBQzYU78GHNNj+a0mmehZ3rlx0gsAnLqFdBKJj1PMk00L2wawxqxP+QA9VbbPKgDiRnxuMxLFn1UPPJ8kfiZdD0/ii5s+9/zm46WtTgI3Hbu9r/Y7nzFXtDk0J3jYTLKqXM3N8ndeDkeGj3SZh98BEO65h9zGcWXogZIkM8CYisy3qbLc2CB3bVIvPjU7+aVqRy6XFK50okoEjpfCLWx7xxJ7PGbxkc5BZTqyZoR37AfsQLs1h005lzD53kTQF1cYTRytC3wVfLZKus2OUIuxEUUHjdo9h8RODhi/t0ChL1SgqYTTbzfIi9OYZwT8KWHFOTiV9rnw3Var++syvAykBJAB/d7Pxneg9s4thaBucT+ptVRk1TUYvtr/xTKjItdaW0TC9Rk4zR9OmHZwd13QCqJ+yafRQ8mMyWEiLBN8qZyn79iopNCoc6CD+GXhfNVUVlR3yb645fA40cfBfaUsJQJfE9z5jJFHqWt6Shysz/9Tf/5Vi/o+B3MtAp58CKcBI796xWuqABnYj9zEZ2GmCz3LBzCyvAtK407qP/ojgMbdNt5nRBJ4VVQrMxi9Ob7TqpSu4Bhy2VhTTxU9sMwTyzPi2pFWZvMlc38SJeXQzdxyhXCFpqfebQxqrRuEyTQml0r5Kf+TQDfLDNLmc0aAsB4bWI58w1Ol8CPzXfo17ykR4LeLDger4iR5SrsiB8Wafs9N78OmymzcNlagaNatmHDrwX3Jcxhi6l9Qrud9H/DEnC/FPkAuZf0SaIfkcwa2vPBAx/fPI3uGT1MWznYO1nCD13hGv8KRiM46hgjyHQwntqrTWFeKrF0i0hh9UR0Hsn+jESKFnTWAUnynbnx86Fm05qddN5S3RPWEOJkmTgHPElnAeeOzHaimzgc6q7wwXsaKyW9yxnsaLP6/1HiK7ZN6j8u+Tm8oTRfZdFjRFICSnRlFGI3JOe7GedesFvRJ3juKwh0LyTay9A3iC5NRaiV8SCim2aXyQk5U37QswLelZikbBkfVhYNtZbrWnIQPZOGgoPhzedhBs9H/U1r+iLW8HTFPxrqSOPGHKQOy77NrSkSvwwkfuvAWK8kyKMEENqkvQ5SmWK7gvG7C/VUI+C1qKSEzGj15HS/AcYsyz/x8asYmBowH3BdwX/yw2WyKLrpzDLbQD3ELGsb2p6sUvJdG8qtQo6U85RxIqpic2jrYpftL2dCCaLPymoc9HKVoXtxULjNaJbVtMX6Eu+YTY6Qjfw6f+JrgAVmmO8eafYlRjLTMFnCposdgJy//YSfSeZFbcGp9FKrkh/tK3v5gtrsgLUPh3IE0vl1yGYySSX0f+OZ7kogjzHyh/vwnS4fAPJS4DBXY0KsFq2LuDlYs210A9kXgV4CWnSlMiMoRDyWE+vhcjHnhZ5hd2dNS1Aj67D/VlqIGzO8c/a6X3n4fGO9OLRdFVGdTuzPvF+EDLYGb6V5fgm2D5mNyaqLP3WUAFJZqbB4hCiyNLjuKuCRG9cHq0mPNnm0rlITB7UFaEygSosTyhnYuXr3jxFkO6vnSiFLOOhmqK2zX0n89dPcZVtxF8UcJ/0/a9wV0VYu5HHLw9/2CtqPHOD0BpkzgzmJ9G4U11efCE/zV0kTBoBXKjlpV7Yuh6XvnFmjI/F9HRfFyBSvw1cY4oCoPYwr7U5n9xyMeaYjr2NXZ2HZendcWdQVN9BJDenjxElJmvYmMMK2538Y93VJlTI0NWpks7x8jfxYeYjTosaAof0+451pRc/kbuxPfIqvjWjA7Lco0kqDbIvF3wNmbx34yONn45pITm6OuQ8iViZptF/4Wk5EFLLABrCcVtd5jS4YHGPQmlK44ev9oMR898TZPcaodjjzIHYSvPAN9m9UgL3wBOwgi5mfRFaJrNIitwXITB9AX2CJ7STfDwoN+tEJll4TZXBpAalL/aF4R0e/OvYyEHUCLG4cyNtylym++D9imF6hSV1oh1808TyI0bFE/Ydr7+lmuUKdhvoawPASZz4z5JOlH5ZNQTkgcKU5xbM7PxsgaLnaf3FQ3GsvTbPNEGtgPU4V7r4uPQfoNM+PHSeiA7UtIUba99qwpMjSTwOyF5ZENZjkWfdE6YvoNWWk2ONM04ug85f0UOoTXihyKbokjebuNcGqjO2SiA19mwbQt6JacNBvuffXLmGWHqVBc8QIbQlD1ePKpu8w7LhdPykPEKlCx0UUcPKW9uSrViSMpve7nl1+9Ceg4aUc9RTH/cjt9gjQIb/uHPTEn5YnPWC4BZ08lFOA9iyRqqTZIICYmuexPNcQS5vQuhBNcg6Fby+9UwRdOEhoJfKRFW78HyV3QcKD6Jg5Tlv3dpyyaU8gMUMpz24JN8j9BDrV78px9FQewnO+SlnI6jkEquNv0rmsCxrMorvRBTDnnmy+6sde0NvIQclQBYvpkT8gHsUF+mvZxtOOF9qv7Y+7WuRe7dSuXG0kPzTzAc4BBIHQ/9OmFWcTUd6Dv2OU+rc2DRa8uG2DlodXqghYUOY+bPHPKE+xa1uU8j2fOMBe0iZPBVKOxJbSbzPYa44dcB3vw0brVlTxahcnNFWTsdMz3wKMx44ol7UudekC3poPw/X6XXe8xCZUvlUgdoI0IgMu2KNmMDRofvwOzHJEjBsdzIO1a6cL35I4ZnLIbK/FR5phvAaW7wvmvYlCPfroW4KoxZ6A9N4oVKaC+/LOq1ReqKM/uMdqnLA43Vih/o1Cbr2y3jUxnzQ7FwJELDhFyGqc7prqTIAznd7/CW1oOauN3VgLMAwAToaZsCebSEPrHTCKHg+gRNayEMq0hCakJhujtbZBAJMKkGKrJhbb7IJx6J5DR2rTTvvMkYLVIo/tl67/sQpifCU/qAv4KCq7NEFr78N0IVHHTikasQf8H+Cge6jY8kMOLzdeZ78sE73E7Bk/aZgXsrjL1yxUCbSLw4un8LrEVtyDC1PFT+j+lm12Q84t3GLajOUgv7o/kFzeIhk6zMTgpnbEu9BPZlgitUr3TzUkuzFhfunrW4Mfv5QkxyMPfspfa6VLh3KVPzHWpQAad+UopQbeIp+pOdYK8ku6DWNoF7ci/cdZO1ggZJihfW+OILRqnwose35YzukpvpuLCg6sOV9o4TozP8n5RE4Q4AQ77LchazDGnmZ72yGvmeXnRtP+Gx98PlinniK+7JX//YcOWr+tZUX/0C60sGxYGnNK9b3ATolUoDJO+yV7NC6da9dQTqWMcRuCC99aDjFFw2ppxcM+vl65EIAQ9B9tCSr/5lrnTOyHq8XAMWtwaWWYoPDf12yrD3FBZ+R8e2OWxLIAzVle/Bmv8ODAhK+PB5Lwb7pfffD5aWoTXhRrznWFJAOQylBtx/ncXHG/rrL1VeQ3AqI/og2qDRDSBcJNLFimYwn8tmEp8qPTonNqAK++sGv3hVNjUzBhOo6+0mv+conTc793fNZ2hXwf3J8emLjDx4ajGiliwpDpy3XvN8OaKyr8hdiU4SCFp5us42+4EUP8P80Z3stAnFETEk9Gyawajwt7V+gmQofknDm0p2U0aNvDy5BX1+Y8xozlR4aRYFTYRmcDij/scCDj7m69rW9EKE69Zc1ptujILPqfnapeFgMwxvskV4ayVwTxZnF+xQXwlafmyD4EgHJosZCrVVJkjj3z9w2XNg1ymV2x2WnZJGLIFrWWrd66PX0D3oQ05aCvNFVNXR6zDBIYp7e03lmxHEiyTbkaElAsbanN5ZU4F+w3ZkCHAr7MWcCKcHfMCY5k9vT/AYHohpKsn4tp2bRDVwuMJT0+6WKWWjm+wc2Vkif2spSJEPYLLo3HZL6HdFe3ikaLs1Wc0I+IU6+QpBGPQYYuH/Qfa/UNjVMDKU/qLAIbIQkWtnhiA0VDSBtaTHD67s1CuXKiZuHCae8pxcGODai5VY53gzMmRhvqiAeGVKEFrk/WwTHaUbBw3OEly+avyO5Cb+RSYQWrEKVpxCgJ8c4sbJ1N7BaYCrme/ZfoM0ub6XKNDkRtO4E6fRWrQtBUMmNT9zQ/B6KS7aUFRy+TKfGKgI+l7mEF+3DSBCS9wI0UnICS7kQUCLzHujVs277IvrHE3UXJtgsedeAEC9ct8gbAVnHUjIDwDe3oTCH9GBlqLwJS9Wks6KT6pZwh9mZhwWduNop8+zLzY/eXwywLC8ABoJ0Pz2oXR+CvE5DultNcROBINHBry2a5Zik605OVDKf7TCGG5CltbWBvY42Q2PBiY2XdsVpto8bl3efArAQxCgS/pPM5EJu+s+I4gvZLsLa2IaRxMKAzFcJ6fnoybdsCZgvX8ssRZaZOKaad+6apEU0Yj5DXNMBoQpqkkHqDbnzsq+ELU0i/ULseiQP5EA5XMSaD7IsxTnDd6JoTj13WfbWnRiIXRBztfD82EnXIGspB+p3vPck7d/QVjE6tqiD3ezK56PuHdnLjKwQlw1aCgXXNNiJCfAjWgttRNminn5+iHHT78+Td9emwx+3a9Tv3Ni0Vs9QoT7BUKH3glTXKC4o/SdrtDyNap1LILdOBuPHk+quHi2Ppm0uPqYnxrCC1YJ/8Yy7LGAkI+RAw+VyOQSPDpMKpPKCINvq70T1JQj6ekTb1qDKqQyhcScVSi88PFw0s/DAX0HeO789aHFPt1enx+9ZM4sexHXL1ZbEmyGCIEMiXEEVfD3a8SdPEfHIJNCk5BQ/h1s2MGx4iY6M/P/S3JDfEnWkJqslML0q2a4D5PSYNHld85DHEkLF21aDZl1TYlx4GHApsaJETxLPfY/y/ePIthUD/BT1WIG673ZQj/kS2jpIHuiINcCqH5kvuT/hUIqJpYUbOiWp7nQD7FtqErRzXiRO/+qdETmq891fs/BrwxOzfg8n/6/esaZCWQN7ON580MYXEszzLhS7LKq/JElH1BG2nH5Tdc+BoLK1L3mIqBK8VIkEr2U47+9dn0qQhuLBTw0XPDBmguV9PgMUy4Ib1WogHBfDPvUXK9xsDgTKDO/ED8MYZTRnhmWZ4NgIrcrJJZ35jwzMO0xSMq1l0LizRrMNHx+YFlCfOY/DMXrZwx/RjetikeCkTo81lOh/Ug9hGDmcsejdXJAe1hR0oIwoQuELRLlXAbmqmqhiWtpV0usDPt9TnrVhAx3rujyRtxue1LrlflrjDY00fLLbt4tYYnh8g56bowM4YtLqwUyLuGX3yHsufcJs0XjBCgIXDERH8l9dkdTxEAkqLclbz41RvdP9wgha/rOQ+UrmWZULx1g44Y34N2TZN2ccUtTYMvWFOra50qmVdLsC24DWSq2Yj+VkzseXAQ3EPY1TCQhxU3ojyYn1vPXx2bCX3bbXoF/6CIPWURf41Rt6axSeNLD1/mHAhWjVppfoifuVJEEKb7qoK2wH0iZ9vb6iy4MsWYg9Fl1qjGlwFn+Gux5ObzdWgEYx3gLXs/V1851h8hVQRRp1IU/aaYamPMUTCTDiv9MVBHQOCaXdHU75suIYXbOnBnAc1nzGVyBWS/MtO3JTYQhCXmEu92iPbEReoKGxa9YGKkaXvxSc01ocSplCK4PUfiIFcV7VK6kMirC/cHgNSg8UU/DxargAV43DLaVGjeBXLTbBNj24hwdXgCS7NIR/ViLhdiW3cNCe/fWlyMLOOd9Pdx1o5O1W1lxRjitys5LUk6CaUImEpDC+ousQ4drmkC049cra/5C0D09NUv10t74Vtk+O5u9uOfLbHtRVztsT3f/v40afW2KH8N096cwm456xao4J/K5Ki0JQ2xQdg042gzoGaAcimvrTJy9dbeJ+ysvQda+7VZPWfKPdixt1Nfi7XgbLuSi6qTQeG3rBpKvaFToKKFsBlGiyTu8cRqeELumlZcYGwCedBRFIhw/9mjqJsRnSimEYh932iWOOECRDwAlWinQ6Ltc/9TQnKqGC4/0+yB94rzCuVdVlfhYn3EQ9fQRoJ8IZhZkeVtyAVw1brs0P1074QG+E0ObgR3tVyRKDOghS716z1HbFBvF/rC6d4wFsjINanAMcEd6OL6qhCgFu/hCdWsCWUDfUC4JwAOg5eUTOKbgrMx7rujo0dPumGInKvjCJQyvTewyK1t897D1JQZCHngQSHxPU+hlLUzm6GH0bnV2OTGWrY95QRbTVEckXW5eRCXCVDsJLWwkBN7G/Z9WNWg5hdLUjeDB+ieyeMtXr/uImlBV5QYWgo7Mn/iJGcI+wlm55WouqvZS1RFCLKSO+N5KsRS3zmekRlTjjx8LaEufBF+YxzkhwFGJ2sETps3upkc2hY60I/oyZqm6qrpl/yvDfJ14ngQjr7FIegCaEvZeMBfYpRtA6u1CwCOqzhSR1HnjT84S1zLHks/+0QWQtE531C51BfSwSqsqClTrX8860hFGDdD1fOYjZug73B0exHZ5I1qzQCtoeHJ95ePfHkQLyw/ODTSjtGmBBaHeijbbFlv0WUhYH/tudkLvlFa4zdG060oI8cOXP2TrfKZUTVyPXdXcjfwXut6WOB5A14QBJntizTxq9AKGzQFJNfIaDJBsOJi4M7q5b3/QInZYSBkkIvgp11rz3D5pRxVctYTXkz79QPPrKuTBT37L00FKJWatvi6FhzxyZi1bfRSwKCZHlZmATlxhanXa9BFFyJ0UmCso1So3eFawda6Y6BlAZGAuuQ7KI4Hq+RRoMy+I0EuFHOdxffsz21GcgG3eKM3EmyrwimIrz6eQREETbugYbXGbBPT6Ih1pTkVTZ8djwUSD236sXtgeQxUQiHB5qi06fO69oWPIbVPT1h44WQOOddDhRln8RvXRmHkY6zNRe73U7AnORRPc9zIk8n5p35sikn8e6VzlxgrqBcbLtQm3ggVZY7IsyV1MSMrdOMcwIM567e59z9BHB5X/WkOmx+i82hW2hlQFKL+GKLMqyR3SISR2MV5e5PA5XbQji2Js6rPabwu2136QgiIU4Nwdn2GxiTczheKUT8moJYBBGNOdgSb67IJxJVyDP8FntENLItE9zcyUm+E0t7AJF/fOiD+90DVSUGWSmcaSDfCEiYxCZi0SUQqYTut3ceNjWdIIGgMnCHVt30asxdXDtoz4wt+DbYle5kF0AyyYFgvR1GznRFVcQ7MEEJu735NRPUCAF2Kw1ihmIMdC+i1JluK26ojOdN8tK1TVqFFOmcZIO80QMvdFbiGF6DfGIZsqgk2jonMvHvSNb18MH1RRR855AeuDs9/i6r1yvkLuBBdocVEBSgtk0YqJfhspVOAEjF65xPJzvtMMyrVnojLOOWkF5KLnXgEdlo67CCgQRncvtapFVKQcSvGewiqCf8sHn9Nhz/jHS+b4LnUWvlzVGyiwqJMjn7/UBFNg4AvxZQ6N7TpbWoV+rWt3lN2D/HFtFhWVCxCWhYL69XDfRlI7lwsaM4hVYjN6VJILpZ6h4GdmLjCJv9e7b7I8+Cz5jw+i1oxp/HnYHXV6c6IXtQyhh5P3I7A96OlFTCUGnAdKj9/vGfwk5xoQL54NvgTRr9huaX+TAgZHEvKdPtCXkoGVyXr3upDXJm0qNMlU9wx8atNUIujRdCBHcCzgqwqfVkyJe+1tlJabvTapFKh/1tBPIJvMbP185myAdjQSfquevA/6ETuUfjGL9lpA56Y0MS/bJCUFcpoaySFV8/Ntwm54bkw8phD6Lh0Wy8x0sWswI+UdzncUW+UMOQ3j4HYRdW/meLwewIZZG5ugLLz4GWBf8+8A1Yl4WttPxJYvixPzrYDaCg2rD/ayorzWtPMSrdMX3fUVG8nK1Uk2vl7n8dY1D2/zLQGutNu8NiDq3MxhzItcDPI3OcW0vGt7tTljMyujWXnMdtDPGLX13LIfW0fPbIBPvbDwhcErzZ1l70P4xmqjMcVYkBSSYuzD6D5nMt1/sErfNcFtU3orkfy32w1EuCYp7GRnlBG49JkyVMdiiefpaAacZF5hDhCV0klAbbMhhIt1IOCGiZFtzo0O/Z/B+gRXy9YiMzMbuh3ejrvWZ8YcoRHygcR0Xfn+MQuOZ5f+1sqy60gbW+kP0inEY7NPtDL0sLBsaUmgnWo7dQMEkijsyNxcVnSsfvXZO8L71ymRC68SHnz7efNlqXVoS7qChOvr18kEBEtztmw0LzGaU6FYTOQnVhDjUKxm4HA/3ebjari/XhZ3jGfS/KEZFYdPnMGOXeW/xoS0YBbX0GENpp4Pjf7ONxNnfaDLbVg8C85BCwyF5+8NiV/G5zRJ6SH0rN4JIxOhvyS6SB3lDL4l1/9rElnegZuvE9HtdH8ZioI3sQpPlFx7+YG5wV1KTMED22jItnBh1OgLvpg8+7iy0jjeNDfDEWXVuZh3VdeYMbDTKL/Ob2dSOJdYH4osEe3lRfjiUadL65ehIZ9s8/nVDoKDeB4VMbnLkoFZTgV7u+WBWZ9mRViJ0XFEDyxgXiP0y6nuDqBzdscO7voQvkBbu87WxGEA1xf/PKID82/dKEuZqdHYo+6vWspvt5dX0WH0/fqRqiSBZiwMJyaptL0s93CP+wIxrOwQc7scqldVYcPk2GwZliOsW3E70h9lZgQQhNgAYE3Ez5ALM09ibnbdxY+kOyL5raSUIA2tGGlo3URlhUoG6xxn+OwOV080LlIC8ZJD0gIZnKXgXAsVQt6zZ3sFekZpjSdEWEwRtjdRlSVUkSdNzSRqmbNPO3YOC+2jMmxRyNJnzfdIefmvfpr3ubHv6bXLZqNw0kgl4kByofz3zM0viI/kjDCgEVq9xGO/Mesed9ioMLVAVj22FIAVgNcTlvH7TqzIrmqaIsy7MpZcuD7VNY9tltWHGvoB1noMFXksUcSye27os/WI+H/xprUKIr5tfVI7m+whrap09LbBGgmkDPlt1pS2BUdZdjsjYMj6CHM8PiIsSfUbcgWFQRp3DMGw5N+udfDTYMSpRQ+xEG8guHx6swCp2sRdihd+rssmZetCG58kNFucIKNJOTKsUX37PERXJ29PL3MyErkVfCmqRw8nWE8iwPlLycfch0Had9pu/LvBbai1NAzTw6xn4eNnHzQRNMB68S8SpTJRy64fWHKJpFkgfx2RwjOuSFcLEmdvRKZLhb5fprGaVDUpMX6BiXAA5qn24SR5gzuxZZb78ro0DjNnQ1M56jphOFeM7A1J31pLN7bZBIohEtRX3WvE9kfcBByuhBCFClNDLQiTj3TIE3b3fsit50xKuoxrf6jdwjfCngAzZ+AK0W4YcwgmAwifwAz6ZZsYDvzjCu4OSU5zxr2Sl4qbSe+awZRcnobBm1poELiddzMX5bHcyfV02HtslCAj3yZ1TFTAgfAegpoPOCMoUO09aa/+nsdlkldrgxRkxkeHJwc1BRC7Ru+PRDFqgyYdfhMbqLcRiO807ylzUjGqec0PTOdn9bpgoM2hDB2hNgVCaI0Rfj028s9Dst7UCvo2zE6o8EexNLYsoOmYbxEKSg/G7dakZhibM9jq+jfthChk4MggsB0tmwFdiEWdrPf3ywztvJjJhGDfVj1+ODpTd+oVg8XHFVG8xYOUVbB+/r9tnD4rFRtKsS3579AhU/4Pp08Vpfu0mHrXX4F+aJ4xCCQJdRA6a04dXGHXavU+E5xJK0dzX+zV5DKJP790zKhQZTzvPtUUHL4MH9SQ0tZv2kkt1fmsUXCzzoidnqCvGqqt7edT/aVg7sY137gO0NlZsU8m7UEe7lrTieLHWvddr387V5+EPdBjLqRiGHXffqllfhD9olm3v6j1JBZ7i7gKt4rOgmR+4nd2QlJr4LE9SSBacVzsEIWMqjFjHSPAoQBU7AIwat84/x95WUP7kWRZn3wQhfHG3ebteDCpQ29aqWqnbnDMC+7PzJ5JLIqaeZ7JlehO250E/Qqav51AfRxhlHImtKA07u1TTysd/dKbRNFXth6HQBOZCOeN9k8qlsolonFzxcZq18pVG5M40pYOeRAw9IjpeUftKUMHnQN6qFDqj2+ilUwPxu9eIHAi5fA2yAPN7o0cnFmEfDhl+cfnYtTQZVcuDvXaDmTYq5PABYlWHGKOdm0qqWlqtEICXBD/0rTX4MKmT8IyYGUMO2uleddFyWfu6tvYjvcu4Czad0pvMtekCS+ilM/c1jmbiqtlX/QRDGtJ8KkH8TY4fQi5BhGm8rGI1v+p6j0CQSzSeW2Np6aa0wpSE6/z4zvLs/pVaDV4OgaGCkw6lFBFWf/Q1V4vFhjYlq1cAGqI37ifEQEkUhu4iaPHM9otZIJw8qOUC7PMAajlldgmGRTKW6+I1kBKu4+Vh1Ig++UM2oODTlemOGiThM5JhypRpKFyEnKCSKf/IpHSM2jMesFAfFTar/D/8AtQOO9AUMAlSNqWb1b35+/5s/+u3LhSEHD4G9rcsOJrkSF25CLHzsLueyDeGXTo5DjCkGZnYj4NbGBR/lKRVGV2vwxAJ3dTrXYGK8qH5Nkw1pHCFooxg7P+6b8y85aE4J6IgIt6NhFDaYmv6GXh+P2BaFgisU87eANMGU1Ww/X5H5VcX1ipQ+F79XIA/BJ8WNflllI9ghzg7iipGP+1vg1bdBaj366tPnPE7KCnLhba817TrOYExyHlr+GSgRxI2Z/IOz5OBWPsYsS1zDEWXyMDgBjTUyYVarhkjZOX3Ra7ca/rgMmA1H1oPp4QJeXQ5uN+hKwGLba/TD2H36btmRBAcjU58+J5ht303wB+UN/THKUPT85IsM0a0y3FOArvYnhD/G3etVCs+XqLo7JOfttp289cR+wQLQZs3ALqA3ebrEZ5lE+7srNAwnwkkJSQnnev1lj2bwXfkTHJI3y9/n1OFoVTonYOfbi5QyXeXLuR3CDiOrOAUvt+aEcneLdNyS59UkuBeCobikwKJIX0XKZKQRRga0PD/DDCjxET7Xy4nLApjcanXgDzF47WzU4FlbAW/bN6HgnLn7tIxZAtcZLD+DgSj5cTwBzpPCAORGflh7SRYkqN/N0e2EJdjP9p7Qet5p598bSEMnRZ6H4tcmIyUyCv5An5tes+gg24v6yXLMcfwRaW+sDhGblpNX05puJwrH73OdL0dQyYe9bzfxL+QFZECpPUZp/7eWfSuKa6TOqVCBfTYI3UqNpOX0BkOezqyBfyFjBbptmanqkeEX+kzw1yyn1DKKRwKZnKWMsQKler/PUthRxoxAoEPyGi/UipNZdH7jIeQ9I/CKfnYlGheR6d9YF9L106tFpHnMktW858gzEcnnKr+NttE1F/ie3UFqAs+keObMbdYzC2XfwyJQWifsx3mAH2owFIdKFBX6eUx9YrHzxn/NhcCtDifgbWC0VL1uZULlbN289fdBBzJGMeNOQNQ/YykmXt5nsk3NmAnOPyeMUd/fy5T3+rEvf6ixZgL4mQnPmY4oq98iIU/ncvirAVJ2btkvOt6UI0wm79aqN0AfIhXqV+0K4Cj7IoYEpH+bKkM6rMsD98q4j02vPyXimw2tLW7ye5LR7V/ofzQWrFYJgWwoHWMROHuwws5BeVJGuFvT7Jb6/+SW/zoecA0iuK8en7ShycCY+NTIKjjktsWkA8TZi3sZRuhdhCSPIxGdD66ZQvQXPV2MjYmF6l5PN1QGhhpcz29nSH8DhFUjm+Ssqi4rXRwBgtMj2UXtg9ZE1QE6VjWDyCoIE/M0Lio186urjuzgKMhgGeV6mU54tigDFF6upJKx0N/bNRx9+lyPGTXKNvYMeY/j9wp17/FNHKlePHlH8XSHDKbENcLNOqYrj/UiUx98G/+jjikL1K1Y0c6wrY3kjudoFZpNN7+MBZX6YEsiIOVplVAQlDy2uv77pliCGIwkilELZGSZLdVFr+DFvYu4mWfmL/IgQdYoCLnTKee4oSlOeHyFtayRnrffC3vdjCyQ8wBSpbFpCQwZIfLnt52PNqXGi3ADTRjqKRI1Rplw7R3iuWQcYT3ohCn3RSyp/ubdIIxQ1l7NF7HDaQU/VxqCHIZamML8dnXxzP/Krk0pM9i1CFz50/s2yLSwUrpkXGhWiQr7Pr3esIMUEJewHEfbjMiVUN0dsWjko46mgoVvTVBAIe1/RhDMNrw0ZMks94rAEhP7W1rBjM2JiHNSkeGLStBu58flJfnt71yu4WsPsQOdMbXPYWTJmIhfu8OKYGBSJcr0bF+ZW6JxNeFXyhGKPwm3AfxOVpBO4/gDzFVAO8i/z3JiZk2OVzknqbBZzuSTl6LBcZ56V5/FeXl62ZW/pQKydqsrPa7AVcpKqtZooM8t8saz/yTsFwsNp1GNt5hKM/+KvD5EsQJRzhDnHCAN4XTDKBmXWVbAXXiBtNJp0iXSRt/f6rNydAQgkoZBM0S6bKbnfNerkwnzIhkzDBSWS++75Q5xK7ZAASV3Yjg0Rcv0iGZfvFMW0BQJ2b9vjrbp6mv5qjIO23lhjdCsjJPHuHbM4mOnkWpkwVqTliyq10MS+MIOfms6BeeNflJ9H2u5BhLCXTYST9SasAcB/Oa6Gcyvb/k2mEZrFa2TyMGsRKg3+vIxMTcV65IMqO+iKkkSzM4uckLFXOvwzqc3trs8E7+YESIm93FY3mrOn0/8F/AqFKE1Gmp0Lxgo90bC/lR3VStvEsdt4+6FfnIU3I8+lMHMMI3fL+Q2DnUgWukIcjIYvWYR0AmSmiR0xFEJGo8m5v1Sa+XqbwKI2WyESMPwKkSEBIrfQAFPL9fCltfoyB83ITWpGd9sq4VX0VvW4zivnu+FYw/zE4AIr9iMFViTO3+ngJk6cc32tK3HJvTDFDyknazzN/deyLGvdtQ4wK7XKr0PUlTH66TPS9zNCt7GWvIlsZ1F0rGdLve1dbzDeswPQ7UxTNg0iowDr19NqangP/1S1Y7jJTgLxIcIVp7MyuiZ4GZkIJ2/zjROz9zaO9drUym5VRCkf79eTWjjiMLvOeyRax+3IZaR4Q6bX5nt0W0x4RXOwguHJJpznkTf4YfIMotBkBvwtn9oSsoIIER/FPwzmSYY4GiDQIK3Tfw7CAstH0FYr7r+Kia3z8GzgC5Dy87SO5ct5gGN0TupOq3Yj+qGyaV29DbB6IiIbKhqfSJOh+m90SkUlkbSREibJwfRCNg+wIc95RsO48qCLIXboihGZBt90Mi8hIfsOz61nq/vnh7gtZ/j1lTLZLB22PYctc3ppsyaJ0bMmvt23z0JZ/LOkKC05mRQbv0+D99r5c0FQb4GVPzQ6VNmJDIrgDxyFLCzEqKJd3CBQ43kNgISC4RI2K0PS6dzF7id62+QB4PBXTeugsVgGM1WUlKFMpdt88BVbcPNnfHsuqPYwnBTgd7ew2olpsGN1EarjRAeR8bFjlqXwWmaEk4qJFuilkVzB8zIJ7Oylqk9+8qGTxoaZhkz4uj7OdNanbWIYGn/3jrp0GC9F6o1n1BSLD3ZGBlQxtm9aKl5Gk7LOLcu45U+AkwG8hCkP5aolgb2hd6zB/155dOi/Q0rkDxNu9boQ6/y4DLosuN1vcCXkRx+UciHSmxOKL8GTGixyhcndHL0WmkEdofQiWosaS7ZeVlXNVRIPvwLuVsKHGJL2v7MoZrnv5dOldZw5deGxlUGa5ZYAuGP6SIWE21mWTL5qeq+mWoCqGBwlaTdEJEsx7ZrT3VTklg8BJtdaNwUCdz/8SF9GtvYhPDyiLHOSaG9NxID3jAxCA+sYWpvAt1qRPKtxOvv6g14P6E52y1qxF+6lfv5tVT9dQ8M3loiTbJMk8ee2jWJzHyNvbi2aqijXiOsqymuLTwov74rIwccE2vo/v3b27LnzymvF/1IrzlIX7r0z1pdVBIi5CFLTmHHVsjVi+g/P5H4/4U5NYYx5IeL29ps2Hjrvpq/Rjn7rLGYKWmGWPkOHqYvUCguNaNb7IjyajHNIWB6bYPO8MHyk/qqo0U0Eax/T35/5QkP63ScLNw4cvoHr/9LmqsVE45/pqX5lNOpjEy54EdSqNJtflS3lOw+ho6jndatSrVzDN/jTn7iQqBh6YMAcVAQ8qdZ5O6ITG57W+PhVM9K1VjMgaijcXpvUMFMFGsI21FudMM4Qm2bF92mxIfpZrjzgXTk91vyK8ckSE81Rg/mwKuI9WWWjAeol/72VIoOxK001R0xccyynwwT2PTvr/Y5c8fYpxV22RfYOSl7PXJV7+sUcWQCGZdm8oKEJ2hyi1qKFAz8g+7SAf6Ip5kBWl5TO7Gm+kfhrOP2JXmUNN5JzA2PegeZG8qGBgQKN6bOVpSeZQw3wnEf8optSb8M3K03V3mo9S29z1MBcgtbFLbkZx9fN43TAsJjhgYcpHU6j50Ua6an2VVvtGOrelmxUu+UvBBWOt/LOm78Q2cI6WHMsYnBmI1jwd1nubjEKpJXO6bKzyieocZ2AXtwjoZDoKWfovttNJmW8faX390L6Ld9opkt6tmGsyIzD01dRfqdWhSqAf0IJHjtgBemTLnltcVucdUCarYkQnIXQe0XoaZpwa8BhS7ORXn5HaQxa+RHZoTCBXCewPrTyGYtCSLlNJW06mF5dwG6Pc1Z4B+oWM7VcSLhha0JxNmLJbZnGiwAsMdfQb6O7GJ+q1XM3zDgMVJCREr0FvHpFEbaCeRpvXlvCUwu7eybmCVlRRfHzrp37ZL/0sU9AYwZ1RxVNnvB3XZA+DOyGOV9qJ97VIVqBLz64LBYH9gPCbikzEKj+rks6nsVJOvthDXJVb1a1+sxR8sPkXbvgqQYrRbDD+WAh9w1+l8HkqkB/ZgQEUPpu/gZm/ILBlhHJgh3aKXbGVzQcqKLV0/KiRxuNm3nUaWKy42qp9uhGOU5yowFm/hAmSX/xIozobXsPwY/MuoEblbD6qJFrugww6IZCgIu46iUTIZZViY5jiWLzRBJ2dTeCSA+hfrqiBrtqi3USK8gRvVWJadnQ/BsQ04RzRtxVx1O2ixBy4MgReYwrAhiBRsB2c1RPyIIJ7HIKZlHmCRfsQ0bH8e/yTAl1oPzTLoyxg25q+Gv6i37SNG8XBFaKgqkIMMXtsa3hzze4mJhWy4YvC2JUV9iLYXsR1nb+csL15PtWfPZE9SJXQi1F0sEbNqSF0f1Fe0q5cY10CKp1i10/bKLfipjVpGexHUQRkdfJ5I2a3Xqinzk/80yL/rlF4yXdhRfjpAxQwodWup78cCTDbbkW9ghFaxGN75qgPGE/SIPoi54t0gaJWah3lK+CPV4dAtExwbm2meqA8DPpKG1+/O/j55QtPggonEqtQKRCaMY8Q6bZQDzxNDKAjeom29POhE84/4Czs/ZZnVcRyvDJkZhYjjxf1hOekh14LVvXNcSN1WdfQ+93pzCcvQzA1ZcsV/ju9Y6SAxbl/xTIGuhPalLXVlwDFK79T0mqEdJ4n7/GaF25fJKFNZors5JTP+BM2SbJYjSwJzB+ONx28WIhVoHM4LLeAnUtYPgk9Lnv2GDQLyaFIW4oapYnZnVYQnjJ0UT6ogDLt+ZHdyOdExjqJWwFd74oQc5CSTEFyacrjXX4wVdWe4jnXh5PiIam7bS15k4loOtrduTnsPrOcYROqtujzn86ILSVeqlWlzlSNvBNNwXA2XF7CxpxBqCsYd28DieUV5YkuE+HJa1E23RYgKKP2yvYXRY6lh+vhG8n2QFdmWciNayql1cYQjJQFgrNyldY6xqa2bDpgMkJASHhrOQ8+SPqlUOJDiXnLpnzZlP9GTOtWSsn4dYEcWcMQVBFhoU0zp0e2rRewp8DTbp8aDbufXmiHgBLdfUbotJHimqmnodC030LMKu3hrQHt8GIYxhwqu/f7ow3wXmptuCsLx6wMCLUo5GK1vC5tiVkfsAMyjxsW5WVAh07s/EkqRIJvG8W/Ov5WoLP7lVWwCkhLvzdjxiW8edPqrvywgEwKIwE4lT9c7V/dBW8+T60qWjXN2rhD1W3zDTsnMplROS6FJaNwGeGa6IRkLor0pfxVAafJylK2xUQhgmviZH4FFMaY+SoCAJYTloCYgwc7qCfOH1Qq9K+3a+vZmF1G7vIXAhVD/6EJGC2ZRTkxnQs7r9+sjRt06ZpNRrsljN41nlFM=" title="Mekko Graphics Chart">
            <a:extLst>
              <a:ext uri="{FF2B5EF4-FFF2-40B4-BE49-F238E27FC236}">
                <a16:creationId xmlns:a16="http://schemas.microsoft.com/office/drawing/2014/main" id="{BE4132D1-E69A-401D-AAD0-4FB4F79D725E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46844" y="1947054"/>
            <a:ext cx="11508907" cy="446167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btfpStatusSticker721941">
            <a:extLst>
              <a:ext uri="{FF2B5EF4-FFF2-40B4-BE49-F238E27FC236}">
                <a16:creationId xmlns:a16="http://schemas.microsoft.com/office/drawing/2014/main" id="{3008C5E1-A58A-437F-81AE-2107526FE35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0" name="btfpStatusStickerText721941">
              <a:extLst>
                <a:ext uri="{FF2B5EF4-FFF2-40B4-BE49-F238E27FC236}">
                  <a16:creationId xmlns:a16="http://schemas.microsoft.com/office/drawing/2014/main" id="{70F05AA4-1BB2-4994-87B4-27A566C7E8F2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21" name="btfpStatusStickerLine721941">
              <a:extLst>
                <a:ext uri="{FF2B5EF4-FFF2-40B4-BE49-F238E27FC236}">
                  <a16:creationId xmlns:a16="http://schemas.microsoft.com/office/drawing/2014/main" id="{4F9F5B80-EB35-4C55-A6F3-043A5867D8B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766908BF-20C8-49E5-B0A1-DB4019BDFB6F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important criteria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valuating whether or not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se a particular provider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  <a:b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</a:t>
            </a:r>
            <a:r>
              <a:rPr kumimoji="0" lang="pl-PL" sz="10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mmy</a:t>
            </a:r>
            <a:r>
              <a:rPr kumimoji="0" lang="pl-PL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you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ormance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ainst the below criteria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7" name="btfpNotesBox350040">
            <a:extLst>
              <a:ext uri="{FF2B5EF4-FFF2-40B4-BE49-F238E27FC236}">
                <a16:creationId xmlns:a16="http://schemas.microsoft.com/office/drawing/2014/main" id="{395AE04D-299F-4CEA-A1F3-3D750DA425F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515510B-4B1F-4669-9E2A-A0A9C84571F2}"/>
              </a:ext>
            </a:extLst>
          </p:cNvPr>
          <p:cNvSpPr/>
          <p:nvPr/>
        </p:nvSpPr>
        <p:spPr bwMode="gray">
          <a:xfrm>
            <a:off x="9094237" y="1891970"/>
            <a:ext cx="2550367" cy="315449"/>
          </a:xfrm>
          <a:prstGeom prst="roundRect">
            <a:avLst>
              <a:gd name="adj" fmla="val 50000"/>
            </a:avLst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 = XXX) for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ch</a:t>
            </a:r>
            <a:r>
              <a:rPr kumimoji="0" lang="pl-PL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and </a:t>
            </a:r>
            <a:r>
              <a:rPr kumimoji="0" lang="pl-PL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al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" name="btfpRunningAgenda1Level644957">
            <a:extLst>
              <a:ext uri="{FF2B5EF4-FFF2-40B4-BE49-F238E27FC236}">
                <a16:creationId xmlns:a16="http://schemas.microsoft.com/office/drawing/2014/main" id="{658532E9-9B7F-4124-A351-274D8493BA6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67863" cy="257442"/>
            <a:chOff x="0" y="876300"/>
            <a:chExt cx="4267863" cy="257442"/>
          </a:xfrm>
        </p:grpSpPr>
        <p:sp>
          <p:nvSpPr>
            <p:cNvPr id="30" name="btfpRunningAgenda1LevelBarLeft644957">
              <a:extLst>
                <a:ext uri="{FF2B5EF4-FFF2-40B4-BE49-F238E27FC236}">
                  <a16:creationId xmlns:a16="http://schemas.microsoft.com/office/drawing/2014/main" id="{AFB12C14-13AD-4081-B597-E924229F5FEE}"/>
                </a:ext>
              </a:extLst>
            </p:cNvPr>
            <p:cNvSpPr/>
            <p:nvPr/>
          </p:nvSpPr>
          <p:spPr bwMode="gray">
            <a:xfrm>
              <a:off x="0" y="876300"/>
              <a:ext cx="426786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111102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1 w 1224695"/>
                <a:gd name="connsiteY3" fmla="*/ 0 h 257442"/>
                <a:gd name="connsiteX0" fmla="*/ 1111102 w 1111102"/>
                <a:gd name="connsiteY0" fmla="*/ 0 h 257442"/>
                <a:gd name="connsiteX1" fmla="*/ 1056381 w 1111102"/>
                <a:gd name="connsiteY1" fmla="*/ 257442 h 257442"/>
                <a:gd name="connsiteX2" fmla="*/ 0 w 1111102"/>
                <a:gd name="connsiteY2" fmla="*/ 257442 h 257442"/>
                <a:gd name="connsiteX3" fmla="*/ 1 w 1111102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271403 w 1271403"/>
                <a:gd name="connsiteY0" fmla="*/ 0 h 257442"/>
                <a:gd name="connsiteX1" fmla="*/ 1056380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529935 w 1529935"/>
                <a:gd name="connsiteY0" fmla="*/ 0 h 257442"/>
                <a:gd name="connsiteX1" fmla="*/ 1216682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5 w 1529935"/>
                <a:gd name="connsiteY0" fmla="*/ 0 h 257442"/>
                <a:gd name="connsiteX1" fmla="*/ 1475214 w 1529935"/>
                <a:gd name="connsiteY1" fmla="*/ 257442 h 257442"/>
                <a:gd name="connsiteX2" fmla="*/ 1 w 1529935"/>
                <a:gd name="connsiteY2" fmla="*/ 257442 h 257442"/>
                <a:gd name="connsiteX3" fmla="*/ 0 w 1529935"/>
                <a:gd name="connsiteY3" fmla="*/ 0 h 257442"/>
                <a:gd name="connsiteX0" fmla="*/ 1529934 w 1529934"/>
                <a:gd name="connsiteY0" fmla="*/ 0 h 257442"/>
                <a:gd name="connsiteX1" fmla="*/ 1475213 w 1529934"/>
                <a:gd name="connsiteY1" fmla="*/ 257442 h 257442"/>
                <a:gd name="connsiteX2" fmla="*/ 0 w 1529934"/>
                <a:gd name="connsiteY2" fmla="*/ 257442 h 257442"/>
                <a:gd name="connsiteX3" fmla="*/ 0 w 1529934"/>
                <a:gd name="connsiteY3" fmla="*/ 0 h 257442"/>
                <a:gd name="connsiteX0" fmla="*/ 1698248 w 1698248"/>
                <a:gd name="connsiteY0" fmla="*/ 0 h 257442"/>
                <a:gd name="connsiteX1" fmla="*/ 1475213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8 w 1698248"/>
                <a:gd name="connsiteY0" fmla="*/ 0 h 257442"/>
                <a:gd name="connsiteX1" fmla="*/ 1643527 w 1698248"/>
                <a:gd name="connsiteY1" fmla="*/ 257442 h 257442"/>
                <a:gd name="connsiteX2" fmla="*/ 0 w 1698248"/>
                <a:gd name="connsiteY2" fmla="*/ 257442 h 257442"/>
                <a:gd name="connsiteX3" fmla="*/ 0 w 1698248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1 w 1698249"/>
                <a:gd name="connsiteY3" fmla="*/ 0 h 257442"/>
                <a:gd name="connsiteX0" fmla="*/ 1866566 w 1866566"/>
                <a:gd name="connsiteY0" fmla="*/ 0 h 257442"/>
                <a:gd name="connsiteX1" fmla="*/ 1643528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1 w 1866566"/>
                <a:gd name="connsiteY3" fmla="*/ 0 h 257442"/>
                <a:gd name="connsiteX0" fmla="*/ 1866566 w 1866566"/>
                <a:gd name="connsiteY0" fmla="*/ 0 h 257442"/>
                <a:gd name="connsiteX1" fmla="*/ 1811844 w 1866566"/>
                <a:gd name="connsiteY1" fmla="*/ 257442 h 257442"/>
                <a:gd name="connsiteX2" fmla="*/ 0 w 1866566"/>
                <a:gd name="connsiteY2" fmla="*/ 257442 h 257442"/>
                <a:gd name="connsiteX3" fmla="*/ 0 w 1866566"/>
                <a:gd name="connsiteY3" fmla="*/ 0 h 257442"/>
                <a:gd name="connsiteX0" fmla="*/ 2034879 w 2034879"/>
                <a:gd name="connsiteY0" fmla="*/ 0 h 257442"/>
                <a:gd name="connsiteX1" fmla="*/ 1811844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71510 w 2371510"/>
                <a:gd name="connsiteY0" fmla="*/ 0 h 257442"/>
                <a:gd name="connsiteX1" fmla="*/ 2148474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0 w 2371510"/>
                <a:gd name="connsiteY0" fmla="*/ 0 h 257442"/>
                <a:gd name="connsiteX1" fmla="*/ 2316788 w 2371510"/>
                <a:gd name="connsiteY1" fmla="*/ 257442 h 257442"/>
                <a:gd name="connsiteX2" fmla="*/ 0 w 2371510"/>
                <a:gd name="connsiteY2" fmla="*/ 257442 h 257442"/>
                <a:gd name="connsiteX3" fmla="*/ 0 w 2371510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371511 w 2371511"/>
                <a:gd name="connsiteY0" fmla="*/ 0 h 257442"/>
                <a:gd name="connsiteX1" fmla="*/ 2316789 w 2371511"/>
                <a:gd name="connsiteY1" fmla="*/ 257442 h 257442"/>
                <a:gd name="connsiteX2" fmla="*/ 0 w 2371511"/>
                <a:gd name="connsiteY2" fmla="*/ 257442 h 257442"/>
                <a:gd name="connsiteX3" fmla="*/ 1 w 2371511"/>
                <a:gd name="connsiteY3" fmla="*/ 0 h 257442"/>
                <a:gd name="connsiteX0" fmla="*/ 2531811 w 2531811"/>
                <a:gd name="connsiteY0" fmla="*/ 0 h 257442"/>
                <a:gd name="connsiteX1" fmla="*/ 2316789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801116 w 2801116"/>
                <a:gd name="connsiteY0" fmla="*/ 0 h 257442"/>
                <a:gd name="connsiteX1" fmla="*/ 2477090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1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801116 w 2801116"/>
                <a:gd name="connsiteY0" fmla="*/ 0 h 257442"/>
                <a:gd name="connsiteX1" fmla="*/ 2746394 w 2801116"/>
                <a:gd name="connsiteY1" fmla="*/ 257442 h 257442"/>
                <a:gd name="connsiteX2" fmla="*/ 0 w 2801116"/>
                <a:gd name="connsiteY2" fmla="*/ 257442 h 257442"/>
                <a:gd name="connsiteX3" fmla="*/ 0 w 2801116"/>
                <a:gd name="connsiteY3" fmla="*/ 0 h 257442"/>
                <a:gd name="connsiteX0" fmla="*/ 2979049 w 2979049"/>
                <a:gd name="connsiteY0" fmla="*/ 0 h 257442"/>
                <a:gd name="connsiteX1" fmla="*/ 2746394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2979049 w 2979049"/>
                <a:gd name="connsiteY0" fmla="*/ 0 h 257442"/>
                <a:gd name="connsiteX1" fmla="*/ 2924328 w 2979049"/>
                <a:gd name="connsiteY1" fmla="*/ 257442 h 257442"/>
                <a:gd name="connsiteX2" fmla="*/ 0 w 2979049"/>
                <a:gd name="connsiteY2" fmla="*/ 257442 h 257442"/>
                <a:gd name="connsiteX3" fmla="*/ 0 w 2979049"/>
                <a:gd name="connsiteY3" fmla="*/ 0 h 257442"/>
                <a:gd name="connsiteX0" fmla="*/ 3248353 w 3248353"/>
                <a:gd name="connsiteY0" fmla="*/ 0 h 257442"/>
                <a:gd name="connsiteX1" fmla="*/ 2924328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248353 w 3248353"/>
                <a:gd name="connsiteY0" fmla="*/ 0 h 257442"/>
                <a:gd name="connsiteX1" fmla="*/ 3193632 w 3248353"/>
                <a:gd name="connsiteY1" fmla="*/ 257442 h 257442"/>
                <a:gd name="connsiteX2" fmla="*/ 0 w 3248353"/>
                <a:gd name="connsiteY2" fmla="*/ 257442 h 257442"/>
                <a:gd name="connsiteX3" fmla="*/ 0 w 3248353"/>
                <a:gd name="connsiteY3" fmla="*/ 0 h 257442"/>
                <a:gd name="connsiteX0" fmla="*/ 3416668 w 3416668"/>
                <a:gd name="connsiteY0" fmla="*/ 0 h 257442"/>
                <a:gd name="connsiteX1" fmla="*/ 3193632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8 w 3416668"/>
                <a:gd name="connsiteY0" fmla="*/ 0 h 257442"/>
                <a:gd name="connsiteX1" fmla="*/ 3361946 w 3416668"/>
                <a:gd name="connsiteY1" fmla="*/ 257442 h 257442"/>
                <a:gd name="connsiteX2" fmla="*/ 0 w 3416668"/>
                <a:gd name="connsiteY2" fmla="*/ 257442 h 257442"/>
                <a:gd name="connsiteX3" fmla="*/ 0 w 3416668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416669 w 3416669"/>
                <a:gd name="connsiteY0" fmla="*/ 0 h 257442"/>
                <a:gd name="connsiteX1" fmla="*/ 3361947 w 3416669"/>
                <a:gd name="connsiteY1" fmla="*/ 257442 h 257442"/>
                <a:gd name="connsiteX2" fmla="*/ 0 w 3416669"/>
                <a:gd name="connsiteY2" fmla="*/ 257442 h 257442"/>
                <a:gd name="connsiteX3" fmla="*/ 1 w 3416669"/>
                <a:gd name="connsiteY3" fmla="*/ 0 h 257442"/>
                <a:gd name="connsiteX0" fmla="*/ 3669943 w 3669943"/>
                <a:gd name="connsiteY0" fmla="*/ 0 h 257442"/>
                <a:gd name="connsiteX1" fmla="*/ 3361947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0 w 3669943"/>
                <a:gd name="connsiteY2" fmla="*/ 257442 h 257442"/>
                <a:gd name="connsiteX3" fmla="*/ 1 w 3669943"/>
                <a:gd name="connsiteY3" fmla="*/ 0 h 257442"/>
                <a:gd name="connsiteX0" fmla="*/ 3669942 w 3669942"/>
                <a:gd name="connsiteY0" fmla="*/ 0 h 257442"/>
                <a:gd name="connsiteX1" fmla="*/ 3615221 w 3669942"/>
                <a:gd name="connsiteY1" fmla="*/ 257442 h 257442"/>
                <a:gd name="connsiteX2" fmla="*/ 0 w 3669942"/>
                <a:gd name="connsiteY2" fmla="*/ 257442 h 257442"/>
                <a:gd name="connsiteX3" fmla="*/ 0 w 3669942"/>
                <a:gd name="connsiteY3" fmla="*/ 0 h 257442"/>
                <a:gd name="connsiteX0" fmla="*/ 3669943 w 3669943"/>
                <a:gd name="connsiteY0" fmla="*/ 0 h 257442"/>
                <a:gd name="connsiteX1" fmla="*/ 3615222 w 3669943"/>
                <a:gd name="connsiteY1" fmla="*/ 257442 h 257442"/>
                <a:gd name="connsiteX2" fmla="*/ 1 w 3669943"/>
                <a:gd name="connsiteY2" fmla="*/ 257442 h 257442"/>
                <a:gd name="connsiteX3" fmla="*/ 0 w 3669943"/>
                <a:gd name="connsiteY3" fmla="*/ 0 h 257442"/>
                <a:gd name="connsiteX0" fmla="*/ 3830244 w 3830244"/>
                <a:gd name="connsiteY0" fmla="*/ 0 h 257442"/>
                <a:gd name="connsiteX1" fmla="*/ 36152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1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830244 w 3830244"/>
                <a:gd name="connsiteY0" fmla="*/ 0 h 257442"/>
                <a:gd name="connsiteX1" fmla="*/ 3775522 w 3830244"/>
                <a:gd name="connsiteY1" fmla="*/ 257442 h 257442"/>
                <a:gd name="connsiteX2" fmla="*/ 0 w 3830244"/>
                <a:gd name="connsiteY2" fmla="*/ 257442 h 257442"/>
                <a:gd name="connsiteX3" fmla="*/ 0 w 3830244"/>
                <a:gd name="connsiteY3" fmla="*/ 0 h 257442"/>
                <a:gd name="connsiteX0" fmla="*/ 3998559 w 3998559"/>
                <a:gd name="connsiteY0" fmla="*/ 0 h 257442"/>
                <a:gd name="connsiteX1" fmla="*/ 3775522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3998559 w 3998559"/>
                <a:gd name="connsiteY0" fmla="*/ 0 h 257442"/>
                <a:gd name="connsiteX1" fmla="*/ 3943838 w 3998559"/>
                <a:gd name="connsiteY1" fmla="*/ 257442 h 257442"/>
                <a:gd name="connsiteX2" fmla="*/ 0 w 3998559"/>
                <a:gd name="connsiteY2" fmla="*/ 257442 h 257442"/>
                <a:gd name="connsiteX3" fmla="*/ 0 w 3998559"/>
                <a:gd name="connsiteY3" fmla="*/ 0 h 257442"/>
                <a:gd name="connsiteX0" fmla="*/ 4267863 w 4267863"/>
                <a:gd name="connsiteY0" fmla="*/ 0 h 257442"/>
                <a:gd name="connsiteX1" fmla="*/ 3943838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  <a:gd name="connsiteX0" fmla="*/ 4267863 w 4267863"/>
                <a:gd name="connsiteY0" fmla="*/ 0 h 257442"/>
                <a:gd name="connsiteX1" fmla="*/ 4213142 w 4267863"/>
                <a:gd name="connsiteY1" fmla="*/ 257442 h 257442"/>
                <a:gd name="connsiteX2" fmla="*/ 0 w 4267863"/>
                <a:gd name="connsiteY2" fmla="*/ 257442 h 257442"/>
                <a:gd name="connsiteX3" fmla="*/ 0 w 426786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67863" h="257442">
                  <a:moveTo>
                    <a:pt x="4267863" y="0"/>
                  </a:moveTo>
                  <a:lnTo>
                    <a:pt x="421314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btfpRunningAgenda1LevelTextLeft644957">
              <a:extLst>
                <a:ext uri="{FF2B5EF4-FFF2-40B4-BE49-F238E27FC236}">
                  <a16:creationId xmlns:a16="http://schemas.microsoft.com/office/drawing/2014/main" id="{FF82EA94-FDD5-4802-A298-9A0D64A7CDE5}"/>
                </a:ext>
              </a:extLst>
            </p:cNvPr>
            <p:cNvSpPr txBox="1"/>
            <p:nvPr/>
          </p:nvSpPr>
          <p:spPr bwMode="gray">
            <a:xfrm>
              <a:off x="0" y="876300"/>
              <a:ext cx="421314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purchasing criteri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96304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btfpColumnIndicatorGroup2">
            <a:extLst>
              <a:ext uri="{FF2B5EF4-FFF2-40B4-BE49-F238E27FC236}">
                <a16:creationId xmlns:a16="http://schemas.microsoft.com/office/drawing/2014/main" id="{E83FEE21-CB18-473F-9271-39CE31291BA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6" name="btfpColumnGapBlocker286520">
              <a:extLst>
                <a:ext uri="{FF2B5EF4-FFF2-40B4-BE49-F238E27FC236}">
                  <a16:creationId xmlns:a16="http://schemas.microsoft.com/office/drawing/2014/main" id="{1A4ECB2C-6F6E-4F69-A365-CAFCA8A1543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177361">
              <a:extLst>
                <a:ext uri="{FF2B5EF4-FFF2-40B4-BE49-F238E27FC236}">
                  <a16:creationId xmlns:a16="http://schemas.microsoft.com/office/drawing/2014/main" id="{40356630-6705-4B4B-ABFF-6870A0A6835E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183272">
              <a:extLst>
                <a:ext uri="{FF2B5EF4-FFF2-40B4-BE49-F238E27FC236}">
                  <a16:creationId xmlns:a16="http://schemas.microsoft.com/office/drawing/2014/main" id="{627BD45E-F85A-43B5-8F67-983A4BC4ECA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685294">
              <a:extLst>
                <a:ext uri="{FF2B5EF4-FFF2-40B4-BE49-F238E27FC236}">
                  <a16:creationId xmlns:a16="http://schemas.microsoft.com/office/drawing/2014/main" id="{664C6BD2-F247-4F2F-BA29-988DDDB4B4FF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796304">
              <a:extLst>
                <a:ext uri="{FF2B5EF4-FFF2-40B4-BE49-F238E27FC236}">
                  <a16:creationId xmlns:a16="http://schemas.microsoft.com/office/drawing/2014/main" id="{C5A847AA-2AE0-4992-878C-6CE3B198F5E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04791">
              <a:extLst>
                <a:ext uri="{FF2B5EF4-FFF2-40B4-BE49-F238E27FC236}">
                  <a16:creationId xmlns:a16="http://schemas.microsoft.com/office/drawing/2014/main" id="{212D6787-57A1-4A61-920B-2C3D7CEE191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33984">
              <a:extLst>
                <a:ext uri="{FF2B5EF4-FFF2-40B4-BE49-F238E27FC236}">
                  <a16:creationId xmlns:a16="http://schemas.microsoft.com/office/drawing/2014/main" id="{64377C34-8477-4158-AEE4-5D185BF6ED1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IndicatorGroup1">
            <a:extLst>
              <a:ext uri="{FF2B5EF4-FFF2-40B4-BE49-F238E27FC236}">
                <a16:creationId xmlns:a16="http://schemas.microsoft.com/office/drawing/2014/main" id="{69986F51-5BAB-4800-87D8-A5D937E02A9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5" name="btfpColumnGapBlocker135767">
              <a:extLst>
                <a:ext uri="{FF2B5EF4-FFF2-40B4-BE49-F238E27FC236}">
                  <a16:creationId xmlns:a16="http://schemas.microsoft.com/office/drawing/2014/main" id="{CF35EAF9-27D7-4C51-8C64-4262EE8F2DE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858371">
              <a:extLst>
                <a:ext uri="{FF2B5EF4-FFF2-40B4-BE49-F238E27FC236}">
                  <a16:creationId xmlns:a16="http://schemas.microsoft.com/office/drawing/2014/main" id="{43EAEFF8-70E1-4DEA-909C-6D8475B3353C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07691">
              <a:extLst>
                <a:ext uri="{FF2B5EF4-FFF2-40B4-BE49-F238E27FC236}">
                  <a16:creationId xmlns:a16="http://schemas.microsoft.com/office/drawing/2014/main" id="{EE2A5D85-E7AD-41F6-A189-7DA584097EF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600275">
              <a:extLst>
                <a:ext uri="{FF2B5EF4-FFF2-40B4-BE49-F238E27FC236}">
                  <a16:creationId xmlns:a16="http://schemas.microsoft.com/office/drawing/2014/main" id="{43CD507C-D77A-41AC-85D2-50EE4A6BB12E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619959">
              <a:extLst>
                <a:ext uri="{FF2B5EF4-FFF2-40B4-BE49-F238E27FC236}">
                  <a16:creationId xmlns:a16="http://schemas.microsoft.com/office/drawing/2014/main" id="{5C4C4E9E-329B-4CAE-9974-FFAA2F2748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96079">
              <a:extLst>
                <a:ext uri="{FF2B5EF4-FFF2-40B4-BE49-F238E27FC236}">
                  <a16:creationId xmlns:a16="http://schemas.microsoft.com/office/drawing/2014/main" id="{90910987-F84A-404A-B5EB-EBA4719F5C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24114">
              <a:extLst>
                <a:ext uri="{FF2B5EF4-FFF2-40B4-BE49-F238E27FC236}">
                  <a16:creationId xmlns:a16="http://schemas.microsoft.com/office/drawing/2014/main" id="{100C871B-6CF4-49C0-8B06-F5F1D113570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btfpNotesBox117783">
            <a:extLst>
              <a:ext uri="{FF2B5EF4-FFF2-40B4-BE49-F238E27FC236}">
                <a16:creationId xmlns:a16="http://schemas.microsoft.com/office/drawing/2014/main" id="{28A6A88C-3916-4DF5-8619-077592814D4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60" name="btfpStatusSticker352718">
            <a:extLst>
              <a:ext uri="{FF2B5EF4-FFF2-40B4-BE49-F238E27FC236}">
                <a16:creationId xmlns:a16="http://schemas.microsoft.com/office/drawing/2014/main" id="{35024028-E7F8-4696-A625-0681A1A64CB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61" name="btfpStatusStickerText352718">
              <a:extLst>
                <a:ext uri="{FF2B5EF4-FFF2-40B4-BE49-F238E27FC236}">
                  <a16:creationId xmlns:a16="http://schemas.microsoft.com/office/drawing/2014/main" id="{057C7052-EEDB-451A-AB88-B48C1F5991ED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62" name="btfpStatusStickerLine352718">
              <a:extLst>
                <a:ext uri="{FF2B5EF4-FFF2-40B4-BE49-F238E27FC236}">
                  <a16:creationId xmlns:a16="http://schemas.microsoft.com/office/drawing/2014/main" id="{2B639899-CBF4-488C-906F-D5DEEBA1862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006B1A30-BE69-40C3-BD1B-8181A0286A0B}"/>
              </a:ext>
            </a:extLst>
          </p:cNvPr>
          <p:cNvSpPr/>
          <p:nvPr/>
        </p:nvSpPr>
        <p:spPr bwMode="gray">
          <a:xfrm>
            <a:off x="339726" y="1281780"/>
            <a:ext cx="11512548" cy="44601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indicate your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miliarity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each of the following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ors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40" name="Rectangle 3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DvORBzvx0+OMkVV9yNDfCA1+tlndkYCuU8XrO25KTzpuVBu/akh+LsAbp/xoAoNi8w4YLWw3MfQpXtDpLhUBdTJrJxbXEnrHVeQ8A8sG4lrwsYINE107k3RpDlerWThxxHpdU4Ek519MW9pJd6CzC6eaWHH7p7wPRniK+WYCu1x+/gc9Bjtomrl8f65XGm1DuswJdQwpINE8IkqWF+iAAZCNCtQbZfVYFGW029Cht7+XXKj5jSydwpz+wxoAfzJYulnhQWQ1xQjz0YJyjCDxxgSKIDgd6oLVGA85emuo16AmtwmMLp3Omet2eLpr0bHAq/zj6/ZChbDda8/0b3l8wwMOSZhCcEmsCaGVJKqLU+THLjH1Q48JCZsZJxMOPnnTkHdGuPtjRxeCwLAUxi19x0KLA1n2YH32cnX8VSTRj6Q53iQtJ0LbPlzDpGOmhTQXr564hcqekVGdCu5VlnOhaBEX8b2ZoOCLWeHYudjtAzulvCy2dedV5e2CDl6+VLbBjt/uaRsGajMEWoJKo9606XGUOg99WdHaUYvY/LgpCZjf222o3NENL1RFgeSQAB3w+8BvcZoUVmzs6K3wr5801wyZ1dMP2wT2W5HmGEWjoB9KCbJQ8gXDQd9U5I/+KIfyo4l6DaOw7v7/LHSoXCoalpsiH6/SWT+CvZ48IWqXjPm6cLunD3OmLvEAyRCaVYrd6zFYGcPrnpaU0wH8LuM7ishRpgjBqf5++eMJk5MmezBt90KMDPth9vSZFA20L64sQqkInPgwEM3mgTrdpRHayhwBZneCfZLAGOaG3LpZTLIEADuUwphAd9jl2ncAr6fO9tVDfp2UQlfWvAJk1FMSjCbo8XmI1VkQQft/ODmJ9aP75SFwtyCe8rg0s5eye8TuiXMR12RSS6JoMimuq6fUN8QSIByx2VgX24GCbU93lPj2xMoawH1ffvDN0+i6HbuwSzK5laEtSz4PcCXCnz30+1ew248G3dZ/dEANFnIWsTH1W3WfJFIhWFSdV5IqFhDIuFcX7SKprMrtAZq6+z/M+KJkpa7My8kl815j1EYLorKYvDU65Syot8fQtjCHWUHWVjHa+gfxJS/sTor76pGxYyCbODTVJovkUWhBAw9STLwMCHW3gUhm8X6KFoMQlNxrD87LSToSWb2jiL0iQUKwXIr/yv06TrePivx+B+s6NhPbEjmObVeG6Z+eqz87lN3+0j3WwXwEmVRbnJCeZie8qWcoiTZI0zb1bsyAA2Phc7p+JOCv4FMrQcB8/6PiVRoWelghC7X0ETXCbxEH+F/r2I1AXDjXJ95oGOJBzJ/ITUBQ0F6H6S8d1Xa5A/RgI/6gsBlqFVcorNu14OnRdo3yB2ZewTXPsGGSKqH/FTigREdalRZo5VYkAv9qPPuqJdJY3SNQYF1hw5tR0DKsvy4FRdhy+gFosUQ91PbL78/FK9A0oHdodCTUnBVr7704PhPAkQtgf+TjMTcaBWKx4lZs3EVHk2r9/IIMccpvDa2XdC2Ki+CnrwP59vuco0YU8jULVTbttkndo5VHqFGnYlI4w17+j6ddk+tWeN3D7HOL0tIWZk+AVccaqKUW6edLFlV9kepqv2cXMpzZKT7KDrAloMRey5Ij24uyf5uvTCnjHFDJ+4xpcKfBRotkHOtbL4qW59pzcjN1rM12BMET06ZLz3VLv7P60QH7pjsa3/3uZyKSNHB5Ju9TFZynovr9h5qNRv2wBDiWScKiTQECfKF3nI3Wt+bnR2kKwjwMdNVqN168QY3FIMTxOZRJR3aJN8dbtzRN3BkWAal6Y1yAMY2fC1PQNvSMsxnVHOKjg8ptWSBPRT4YnuDHjowx+XuIzYrcIepX+29UPjNzR5j+KeLeWUt2k7baBjQFjJ83ORCxJM98jjSr2lCrTJ0fI6kFjyBwI0i3CTSo4UUAzYlCbTSi+/ALWoi3Xwn8qLwhkJaO8OVCSdKze7KoPS4pQ79g14E/lrMTqDnAqImXWbD/hkjT9hhXYtryu5G0da87mCL3ttgFqdQWwoEBNO635nEGhYSDdilD+R2p7m5K/y4QfYAjmWIlYwal2eoOyQttmaHfDEJAh7fYQuZp6YX2LbezYXm9bQ247/CNihYuTZVprv/MxWLunbXbaraZHcJWJLSfUZwgx7U18NAKYoNGox2phpKaqU0ndo0aJQa6KasRJnVCXxm7ocpJUCmfLf77IqOTmRQqjxo/VvcpuDVUFlU0ZXCzdzXnUtJ2dSVtQCu+4M/ATV7WAK8AB1Wff9UAsWS4WESOn+OBHNZF3lRK4jDRaQjYMx16frqd/PZu6/x4K70BZwDnbtyEzbyqdw81Hu81XknJ3A4DzceAT0Mb8GZACuM7ReFfW0nlpR/8taEfYi0mqXkAM/X13yuNbgVJhhz7R3qtYwgdpcpLhr0SaQEEhcFImDHLKLYdNDar32CJj5XVIbeWLsDZ5c1D0isq6l4BdyvKLZi0vNfMaXXJN8Ao7g4ztZCDCTZUGncJDyNjlqZvmOQl5vte403LTEn7FXxwedTmCkHgBa88qClFVa+Wr8q77TU3Xvxk/5o/FsADOHJHpo0Snd2qiFemiEXa4gyVNBUWF/neOVzozKzP/JhN0QHLtZZ3Ty03zbeEBbCaXuyNo5x0+esRC6ileQD+eLU1bHluHiUeUQIrPUttV5vcbHZg3DQnWGOcSroegMiodplOViQz/FTOyHMhqNqStPR4rZ7CnEK7/7yLLEnN5xTyoTvF45U4xIPpPGTnM9uR7o3dTqLt1Jt4BX6qB76N3kX4rCOmQ3YMCzs40WbnMK2ZD52fzHRF5SwnIcZrDZ6Q3SOWThKtWALjEGxk9UZNt+VzTMwW2WCUWFOMdC26K6BbVTUKDQLcj/aFPHHd9WGrxZx93D/OJ1hSyKXtCsqQFgYW20YFtKB/UX6sbHuxVhcydTc0lTZCA6juMiZbzFdhVrxFoE4kmrHdQgWBbVFobSdDGCCPY2CuZGrzyImaDIxL07COE1ecS3DlBTHUqKV4NG0GwSB2EIl1+nTD2R+6Ua+CGW4qwk9OSqtcFTJ+GnfXtdemZG27ESIRAPoefqgUDYeC8VZWuFQ/1CQYT72p0pohA/FnY5Lwl8nQWJwic/441iRhF70IHxMOdNE0hVp5Y5M4WObps+IAOE6Z/F0z7SFIs6cXjG28zUSHeE/8n6c1WMo3BcsaR3/ityEH/JYqRrFSwpmeKSwoDQDR6R+gevLTtvKFWb0P9xxUiW/phMJwIAFfKOhzWxaXuM88/TGVltN9qyj66RlMMcViYfbvfV1qOlgBYyFVDe9mt6Fqm8heSoHkzTEonDyZ9hi+b7JNOMZGKTSOn8pcL3KzLsRBO0kynCa8sQn3khSPSuZOzCwhUIfchzkh83DbBtqZvaIV+W/+bGFmfn8YpayljMRfq4EuizgS4VKM4PiLz7a/ShJNbZoLKRcFdfYYmr5upokf6J6biFxw/pNzQCzavLm5vUP/hw0FtcPNS4EEwiObskt8cZugUIJFDuelQLzfcq4rz7R2WTWCJRss0opd+wiFCC/Og75S7mLBDF8W/AXlEkH/PkVIqvtdN3W8GtqZNFUaVMc10cDii4yqHSTECof2/0shXbHUKEwrlxy9eKIFdldMdjy95Y5GKKpzocpgb08ECse4BvrpWWfk8bDTk+FiYzr19kOvqHW32JlQGbfXHYM5XWnIY3w6nYpcwaZe+WpdCBBR1yy6Uhp1lVmVaoGnjhoKmiGenOCYIIzYsdX47Eza1k9vPAhcz31SUaUTS/k357loXUHCRwWpSkuZrONePWOxLhpriXpgh/bBBw+j/5Hwn7fhrqrb8+wwSIFuXC0GnY3xiJEg3ULO5j7oGxnkkWUK1eF8woKQ4KAzG7gDeKIB/EV0hBt5fVPZClYMJCuh6kRm51ufdOo8E7l9fEkWFoyXCVJXr+RjeY9OnncGFEuHdZfmxo8e6xsiNYC/vxQTpHwSHXkoSuQI+eDhOZ9bwgf3RO63Frw4PmuB5pfQTCc5VguPhaASSJ3uSUKx9Yz9HKEcjRrCsidjdP4AyYFyi4+tdUT9KWdmY73bUMFnwwL7e+qN01Nb845yXG6uVyTjZuCHc8xuLTRkJ5uVO/KW5ak5lWTviUalVfFWbM5hjCaNGrzxJYPnkHKuKNDSqHW4RMLHcbH+r5cvGdg22jbfSjkhPd4B+LcjxCOjxhVnA9XbeNXMCdqj8+JT/X2YeF7WXiN9d759kmkz+dGNTK4dd4B77KtVv0G8dwBxaY9wLvQpnQ8ATLsWc59CcK9k6b/d1YhPLkyJaTMclSDcc2IBw1rptmRi92j5RNUKhcFfDThuxi5YwkGpTSSq1i1rkjT1PDmLYNIc9hww4u6Qz9sF4kh3ZQrJD7DOvxdGn5ueRRM7fwi+BZYJYmx0YgMRv+6aD8MJIGLOX02ywpBYJqUGO8xP4bCWh4ihhgHo5Qz85L4egRAJ1AjSfTXvO+M0IJHReZyrYMeRI9IioaDxyVSAV/8gGhNSXe48OiRkpiygqYf004f0p4OXDf8F6p0IfaN2bAm95+jFkTcOfg9naNi7B0rxrccq2PLowo+k4fzkcx0GfdAqR9PXSlrN9qtZereOMw61mHwCFHAQzSdzhU9RbhQIE7EtMDfPLU3YHGAjVaVQfGQcjIE6Ul+dSuJcR9JLx34WW4efEpRiLL4bJlhn7VC2i6GPWBE248twpzqcLuTYMuIsrLEoBluJJCzrm+NCwyVTRch3xdOtkNDOWlw8CAT5HitfxbyLEPxOc/zFEjyX8TYjqyUaUY2eV03jzim1+NWZcN3dNVWEbTbLDyRD3s14BnkgwPdFkmi1/BeRMKBOvGb0cBY4Mf9FcJvnD0u3i5hYpYUw16BNu5V/7TWd0VUrk31eQYOizK/qkGS/4WG2+QLZXqToO/5gw8Gbo6AjiblM4RzD22p6K8O2WVG0BRTasyKBG9ZTb33hjYjMOnPFn+84+VuLp6SKqAPHseeID/nrZqjxiuVV4Q3iLyk72ha6tZt0HzuNBXFnXZQm+yAIIuTXPpxG27u/Z1jam2z+50LiWYQLlV98FFWVhS4HeVnCBrRoYXkFLfPKHx/Lj6Id62WmW8a6suvCfdtIct8x7KfxghJJ9p4jKFmrTJdbZJuK7iVQ+XENwaSE918Tj4ZjyG7/LbRxHkNzBcXtxVBv8GGutiWWww/1ub532u4VxOaWu3GU9jfCQ9bWXph8oRE2PbUL+bXzsnfthk88e2qv4XyZGKIGUZU/qNaTSbLdnRQKelViEmYHKcbDad0mCHdRjhXCFjWAMA8De0hsLqixhwSB2RwS1OJRLnrljKWB8UAYQ2gNXDV/tjnUD9JBFvTCJDL3pg1RPVaHvBERXS0329oYyib55S22W5Rl8ezSke6UDNVhT3kSa/ICv2S25hnFUB8fck4MTs9yCkjTef/H7jehqJ2BpDuCRSpfc77X7PoWwuDal/l5hwE+Cw26KJ2Z+jdq3rr/MPkGD0hcAIHE8hIdIhqIzAsNG+m5H29rdWSBthxxgUWGTcw//uk5M96jpyFpLP9zMB09dsfJbmqg/4bCpKvW5MjDrG5hPF0u5lI9tj+RP7p8n1LegZX6i6awc2HbnLTAgEv0xndAP81W7elj+MB+2iy2LQitDG8GLpYemM/EMAQxs7I2iYXe8/8lqy0Ig43soE5u64023taB72h15KjVjVdpIGuaeBH2OsuFz+LnFV17GtRH4KqNSjB8kSfJXt2rOhVAePSWV3Ym2Z8qIcYUPfAyjQu7PV6c3Vv/27/dhdYU+0dEjB7BxlZyx4aIF7i41NFaq8AR4suGjdVUC4OJGGAU2Zo90HWSoM+y8wMXmbbgr5Qp9Izqhij/RmNqLwcWvmsP+T4oZ3TPFAO9EzvIRO/UM8hne66L7iPczfFDbBehB4gju33OmkrL4K3fN6LGFg0ywqnI747bDAQXAj6qyqagQUOq5Ge/O6kNvLDimqF7QAGjwt+VAwJ2SOh3LjZwIh1crWEA8jNNtA/6PNTsmp+BRrvViFVoiObr24V8wEUmq7Agvde/AiBAPYrBxiV3V+FUIPM90slAtx9xkiYuXM6gj8IXmLDdzksHwQ7pe9xoxq59aCI5M76ZgCz9ACQZN6jiaDOOABlubie1goJP1bCXvYaDITJcI71WXd6I2tsmXuCGlm0bEPkweAgDH/24cNbvrGbCx9T9h6XjTk2jLCz+rD8SK/U4pvjrBDzeYYYXTz4UwNVoJ/qCqQVuB/ZxT+9DSmOXr5PfzMlTy6Okvx+Ko3Mz5kHaEplih21a3AHfCabowJNm2P4HOz5zRGuLH1SYZ51Fc67+HLi3RUxfc439Gk27h+lub2+UTiSJJAbUo9Y2zRuXfw68Exz5EnzPQzErFcIc+Uvbw41r6goEDo5Sv6ZFW0PqnHvdFduurIPYW4iNKBb9kibaW730kAeN69nXEb2WQudsD2Khba9CMveFFELd5pKJrVXwEweYWZFbGeKOsWdhfJ8SHknTP3UYaT2ugd/pHZB16eS/IlzBwLS6IOZqiz7uuLeEkWicrNZ4Dktcdx0z9qXHJro0gOCx1KjBKb6/CcOtBt0XhDD1lIM7dw1thvqH25vl3MMUs+DHtZO7M+iED2xYbjqjjRvlw+8euEEuA2eH2H7GgNigZrpWM+VlbFkOSDIxsvT6I1VTC5AtwTfMTyfKlVScxMboxN7UaKFfNzQlMwIQO1A/5AMu0f7oXRP3Vff4tUDBJ9BlQQGl6tlXOLdv+p1nyk0wBgt8Jg0Ww1vM6X+rCffXX2U8Kg+bDa05WkXdHffEls6cv3BQbL3eBimsyyngRj7zzb78feibkVblou1NKVrhGxrT7exZ3YY+nVhqqlSrfDSDxTjG5gAatETBPQ/ig3vasMJZvu5X1udjJLJoQClx5QGJjSO+ePBgHyPPpKUruqXdeQdA/OcqgyOr1VVLr+BTUcCB+4jsDTuKYhzkF5fMdqTyux1YouAJsqlZlQJoDfUYGelYE8QOs1xm9YOblN5E8ti5tUgvbdFEEkfvUMJj0MwAlaY23ya23bki0ibDpMKPcj4dLnDCMK1ed7a+LgesvOeXSqba8zY4smmz9AkV87cfvqye5KTMRqAUNzTrHPttCVf/zXT2PKxbDroBNbFPM1O80yARHfQAL59piO35Thfv6+hzsMR4bJicEbAlEhqr7A+SL754f8jCI5Psc/wO/Yu/uxmxLTs91QBCIKF74eeoE0RdvAKMTEmNurD8TJUSFp7p3XZljvgWW+JthAJNxarVctcAJTtpibkBRngeJxKTcjmsuhOn93+C0aqf44iGih/2a+4+YiGwo7ZX//em/GZMf2GnywLxCoqJBwf3Kih/Yt00HZwE8R5Ne3DqPZXHNGBle5DKTY1vl+ImxNVhw4RpDVIvBo/5/W29DNA2Z3dFuod6tqSmeh16U823KeH6xIs/5AasLK9i87wKRLrK99w28lQS253dBdvDoEe1h//ptEdauLL61ophdaJhkqfr4vakx1hLTkvDR8cjVgfW1t8NE/qK258Btx9pqtav4D0hka0eh/xeoZ6VInYu8OZsCgmNiLPWeuFQi4pNX2dkPR51LRDoExp42JNEHQpWAPCf/PuRWupcwwTUMebgupFhvIBj5Mb5TCUyyjdh/9znJHr//AZ3cKUZqJX11XJKP65xshFC2KHyichOype/GC4tmA0ljI2JTgxAXl/gFGnNrzFVk6NfpGVNRGHu+sNxOISZn75ACQhYoY64Mp9fUloNg6Z1C0Aady+ZAcDTKBEW1VKgVyNMUHyaUH6t/hQpis0RcSVbLSa8cp4d8YFZQfFRd0moPvMynqcBA7/N5ZO4xblLCqLk1r3PgjaB7hoCHx1ElLohkh9PUpBLT4hH/Yy3NdqUOvy59NB0Pxq2dJ+v8iEHIrWY0KlwSGNalmrO5L2dNAvEt2e8FjpOvMk42rXWSqPuzNknDtMXzErYbRf0f5lmvgixePY10JkGRYDoI7jLnSZWt/T+9sql/1aotF+10nZZpFcxu1iysmQy2ofmtrG0hmGmRkEI20r3gaUVG3d098sjsVdCXhsUxHjwFx1hqMXkatho3PTiVBBhezQjXBzpULcQJL5qufAxodQaAmTrVivjx97Mgk8IlMh0UrTAdxeteGJWwp456OEa461J8RlOBiwPzOFL/7r6cTXAnHdw4n+7AmUFwyKKOif+YVXj/dKDeOYAw8lhrgsK19c9abXRHfAw/SKRY8yWweL0wftVzNIY3LQajVVdL4kGolfj5KHX9xSnaxDwVnwn0f9dXCe7pMszZbKwZSAIY/gmKGOVE5ybwR6gs5td0Ee57zqrWfieNeQnsfjH3IYKbx2YqnDWT2Xew08RoXXxdxwpA8lgHw6QzUAgl3xbiVM4lj2z+wZhI/DzhcpP4RhAiqBJg/vpGnwi1CizWCFgOAi+Cq6gHK2hQ2VnIM18QZ1eKAZ5rnVMfkXHlw7KUAFVfVMzJvj7iitzKXWbh4MPwsuGLkNj8m58g/yI4e1mfXoxQIhunCXn3pJ9whtwo4ZV7WR1sa9lsPEK0UdJnx+CSl8CZARdq+7BOMexiNm8FtTz45yp8Moskp8BWnhCZeD6cBF5gWjL6oIzev4qKoCQG7W6XU8W2q5KXpBUHGnt4GocIc2qoFeVC3jmB+7Bv/HCS28e8RW+kKHnS5EVcZxfn6wDD9Czzo6S7ilDEUmP3bzuRyA9HWZhyLINtjlLq6kI/gad4eYbYrFyUtdSk1uY7cpviNZ+t+kexUHnjEQHiE5vmJ/s38XwjS330fM3kW3X4niwgjFCdRg2lCi0YAJVlfAZHGx4DFvr5g0R1EXz1C8iA+nIXj1PmlWVa9rhBAGAo0ZIxw+vaen5am7bwRHEk+bp0C/nI5mKXuASPap/qag6DL2w4AvrzbPpM8ztSR92siI/Ew5kyoVSIrJQzpPhRlsQlX3Tiq3fmLb+9sPs4OJD14UzuN1MyRj1RSmPPGtYZM/S9wo+JHQiAaeMBMf14WWNdt70LovY/6VWUCg699iyMQSMfgOBha0wiRlIVYkAkj2TRXx2rgOuUYu26iZmuDD6CeShoIpbs53kLW+bX/mf2FIgW424oxFMyqpCol5t7fvUzryiNiM/FIevSi+k5sFPBup3AMInG0z6iBYYp4Ijd4NnHDEE2VAa9WkENKcjj6pMxC3S2L/2T4gpFRCvyMnHv//gKEe+qJHuB9ceJJlor8YHkjXT30KdsTFQPr/s9iRxFyDkQe9C2EAdIBfiJX6ntpO6+QWnoqN9GD6GfpcLPU45W7NByWG2z5BYlKKH2A7BU/X+GPTUs4CnhodVXrsoF55y3uwxQNbnqtPlcLwbR2RwXNa8myNSPCTnAd+VYVnLCrRmCr75ZlH2b8atX+e0Jkc9XQH+6bv9r5SH1gI8niWvGPj0dtgHQpia5Nmf5SyWzUfmIjN0xXxQ97yLeuehLBIrYwAwPLtC3PuiSEHgaK9bOH+erIFtZFx7NMmwpzwdWrDdRVKrT6CiA9FkgM6HtMub4mJau/ftfx4auUrBE/0JprgEB2oCVCpzjSnLLDuTqeMKEjJqXB0eCMjxY9hNBM0Bs+RKoNGDOogF3uiVir19lBQxZs+u7phY1L91ngRXH/XgYQZIYZgSaXAeYd2JTkF3mzYQn+luDcmVlzO2TlB2WvVcTlkEhpW27HWF0pY5o3Zya+/41oLtggH4CNWrZppJWlB17ob1QZvP+6UKEUM74ANDRTrxE/9YfiW13pAkcNUFhfgct82QjxtTgylpI1gpCFxLuQwjS1VSXqGwbSajnqV/bUI/XZbfcAG0GJN8OTy1oI9w/R1mT10EzS8AlEK7JvhuWWlS3OeiEwe3/69/0NZThYDZgn3Um1OHHYr6Wd3ZJEefi3oUXUHEcA/MZR4gpouU4TitYI3AJeB0RF7MzyB6rQzOd89Qnc4aOhmvSt8N43D2BhfGvn2yhAnEtn+3lAPGEvG+WjnkiH/btRetdFdkRo9ftab2k96+g35fGO3z0zYMhkJVGwc5FksfZsfQdPx/HvI+iawBac1CUaaNrXmFcIaYVjYuz8BampybGhbfYNqEYSatUHw3nAvg4hAffbCVwWg7dZQI5Xw16HMIRbbz1JprwkkpiYNSmpypZMHSiyCZ1pAu9dtCpCOvIK3Dr9HeyYCOSmpX9TT1mBhVy4HU8Q2I66sCHyBnpquycre6niQoDlqIJLTwCCLGHpSgkYjwpn9P8m5s9qL5VJo2vZHxl0fnEO8KLSgtdCU+G0QGmF+umBjw6DWDEo6XKYtOK3NLLrPHxe4tDfcVrTdIb9NS1X5LLPPkW3+i5gKlgJ13QQJa7OOgixbII1AqosifUMhsCIbodwcVFlveENtYkV8mORGsPFAKrZ9Rsmy5KXicVOakZn+hsVxfY86kadsmuFY4IgJ3kiOizHP6S6/gwGEdEL416cDta4ZJx7AJ/a8yqvHN1Za1gJUeQMvnBtT2WpnbwSS3O5fLL0ZNn8RbUIEbINEnQres1nbWWbNgpUll68vkfrPMWXH1smarGSgmA2c+VZ06E7kpPCLryuwDWr0mmazY4PC927HB1/eQ1HPJoGPzl4r+r0zlMe9aRMvYoFjJO8ty6Cgj/vLrJ7XtzwH9OrCP4vKVcO/45BTFWdWK8ks1xKWC6ROeqgKoLKt4DpUR/ze5hPxfS8rz2GV+slz01+jx/JwDcqKXz8d7UeT7VUf9DHrKYT78hdNYL9xPVLxm8p7uNuDEkKtZq1aDuFCJVrdU8A8tCcJEKXFqywy6gSB1ZCeVPtXy6TcrbuIeZvnWMKDNypswJYKLjhyw9H2GH2p4or5VYSA3ljZsxfeuuF+n1U+bqCVv7UqqVIA0gwwGjpHOKX8DRSVJTXj+f4sM71QWPpCNsG1QlNVddiOPcvSd5DCAXGD6Ugbm9uXtkC4bLSd/rmNRdpFgMviTuVW81VAIZdY/3HKsn87kWjdwD83/L/rZ6GGUI9UuP/6+ix6yz4/+OxJ8TRRCnrZOXx94ExmshaBvrfW9fU+Hhmmd71UMRH53JecdWQZrHYZEDntxyYzjOrEUPV29YBgXa6tvROik91IvTpxkPwk03ECByn/osh5x0iknDrZmjIgUn4bvX74lqsV5iUP0iv6WrNdXr/69+AjSyXbaAbkfCTgWp1OvIMEng/b/NqqqvegOR15dDPiTunNs7ymNrZ82r9x0t5uhHxVDYyXAKbuQ7OUnLqr2DvlaXfF/9LNPobhuBo9X1/jFUp2eXAg6xEBjPv0ePTcbfqTSLn6+P8c2T+52ENpLoWvUbryLFPqM33RTrdJWLD1mwMJ+VNf8caSz0AcsNnHD9n/bFyije5GKKTtRaRwz6XJxCXPtRo6DwdZk1lAIMdp2+YBp6wwE7SI75kgYQp/V0TL5T87fKhn/eaQCy8sCWNsNmIE99EljnYdEGIhSozHbq2AX39pMma5irQi6n+LgyPtY3SmLhVu9IIMOTxvbDsEcVCp01ZEwZu2Jtvpyoy9r1rLGBu1odaRR0O66TVC3mTX/vDxEO4+UUEBsKPhddJcrKy/5IeKQm7eQI2NkWwY8uYlFjlOU1WJzlxnIwh0e0LFMswSiN1AqiGV05FZH60uAovtHjH2L3Fm6sHU1/SPhAuXecKbLBf8sCIhr6iHn4aUz8vcO8cJpptk4gZzf2LhQexwVVFv6iBk4VxSOkqOAsNOqumgAz6BcpJjKYqXQSeS7H6l9siZ0KBoKT+hfICDsPcY5ZK51Yj5dQBIxWPzhF07rx4eAJ0AysJY6d7YMoScfda3VLSz9N/x4RomGu1/t8w3uA5mA+G7IeTYzoYiq/11KZ+XvbHbjxY1FYeqGSbhCIAO/bzx7NysnonFFWQOI8IvPexZhLrspuzzJaOCZN3/UX8q8zt+o62KGIcKhWgmmpGthHf+KgnWrY0lidNPxJB4PHoiT0JEhCgB99pQisVQWOeU/wSx9oSbKQv6a4zXk/rV98ELQbDvel9+mXVfmvvgQP9B6BOEagQxOrE2RpfvBhrl65ZhBePmEy6H1cOSKmaoDyuI/MdaFSGSIXTDzMXuMB80GE5I6mwb/gUPIH9zXobeGbW39K5pOdv0ayNEZse2c++ezHaFus6Tq77WEhhEslvL17S7cvfspTBB9e93P0bZPfT4BbfT9ZHmmqSRrifD7L96SlSrS2uchLX9UYL96fUFfoNYoNMrJ9siXnjGUz2sTZBXLDeNtVRz+g4B09bcLC0ElLaTNELkNHHvgXhEx37UZIGKm8DsqW6+l8BN1xa93K0QpRtOfTS19Lob5xtyRAbSIteKAp1+GQDqP/s2QCYG3hZQQRwEv05x35jymsK0f6mvadXb7WZ2ex8Y7l7Vwm6IzmcnjnYZWyBzBtR2FoxyRfKI2rS/huatxjHLPtpiKR45g52+KmpfFCBG7qWnrAeKSeT1N+/g3aFi11n/fSgph/Of25OQkxCJtVIHEzfxvDHkFu46S1S6RHZjbX3/xoNd1dcNgb4c2m2FqgayJhTQ6aTSpnPDGgEyhbUd6QGRf8+i55vyTUUxDMIvE2zaLwPzMg6uT6I3QfSt4rZxXQxLAk2FdUgFs1t36KkKqyDh7Q1NfFoRBS8dIvp4EQzMLrg36/zv/r9d3Ja900r0It2ZdYjKaKGuH63obYn+72X309M1zVFVfgwGwS65lZ/E8hAaO2z+vE06qTZ6F+8VKF8wn7rhHDxnA9Na4YAMB7Zf3/1D0fNWY5LyUTg/rd5WGYR7K8LISxaddxucCW2Wu0qC4XJpxV3N39MkkfkiJi4Vb7+TaWpvPZCBjTOepjWgmRwGBqo6BdepDFbjCGjdZD5I5rO77RfOFvZ1VlVfxMgv3O7+ttLQnVwx/q23Gw9gxs0YeXMkZP7uQMjvt28RDf5NOA3vkW5tpdaBIQ4Ug/N6cI6YKJBFek8m4zZtA3C0aZ6exwV8UPMJAPdkdNMX3X48OOsNwggI0oY16tQRwzIGQnpqQvSsfneMe/ENMrQ0BViXm9HE9BKFJfyVMQsFcVW/bcySJZYkgJKFxXTmeQSgkoxzBhFVVBzRfPUGPdvakhpiG96hJFokTImO3MrDjufipRWFdEaL1FYWqENGWpR3FRXwlpG0acaWxcxjNYTkFYWq3iGsv0Ay2M/OI9k19mLsEM4cvNltYWcXTIgmqMZK8HXC06qg5DlEnXK6957srXao25QKRgYgr1qc/Dn6zCSQ6okYjTajpibtCzZ0gxZ7Ch7CvRTnnzVdXBaSihEZwhZefhDFMOgIPMVY9L7IMSg1JsOulVc0Uk6zpjE/eykVbzV8Xhu4IHzcINd6zu84KfJlimZWn1VGa6B0lMY93RRqvkYoqwMqXAb/SyDg7DIOZztlXP5z6InzDr1YfzrFfb/O1SXD1uwAsyIUi8UB6BexHNFD1+UtTFCOAZIJJlB43VOyNxHTYfk2Da0CqTYSHqmPsZrc7I72ItO9mG5gH+TakOpCnfsQPmvSutIHIi4L6Sg++NJ05sxG/Wc1MZb3y8TCeueMopEiSFz2TDY+GkHfVyo6rBubWqr+FtKbWXC7vFKg+nSywMsPOp48+vQQHKUGyuwrXWJjajAEurlsFn1tXVeysbi4qzCvkyZ+Rz1115QQAdWZkM78jnhA9lseg04k9LRkoPJIuyx0eHTIPww4+ciCua83RNsimfbZP6wZa8djA0VtWljhJyx5XYJ37toA6U+qx3Vj2TAp0sEAjt5hnK0CZwmrYdbyRbYFPzJ6qDZhWa2A5CFMstYeIJzeKbVj5IowZWD+Qaf7jd6qI8HWboR0rXj8W9Ltm/I66vb6EUqb2kiTZwwOPh4kl8rZo3gCQIAfq/OsR/aDIofbMF6h7wZzhbVhzRnyjmrifEamF2LCNaC2nj9469J1EVe6JVUNadNgnkec0txVxHHMsA+90YcC7FdeN8+Z5voUNAr98c2vaEdvqpvkgGG8c6woi6p+FEKMTkJocn9DbqDRnKbbyMCi4W2dNr82Z/JwG8UF3SRv0iTGclOQ3m+SMXiA3k07MAsT7tc0WHdHyhpGxaq0TgAWmiv+r6WMW/JyxNsa+BJfE6Vhguo3ZNujK8mIDjq4A9ML4Lv/fO7V5sGRZRl01qO0yYVpKQtHvXZv+iBTIG4ALxlyzlJn+MGS70DVSzKBaQSlwb9y19AamF666U+D+QXWfxFMwZyue3mynE6LLi1tq6HX3HDg5yvEPldBj/FcUCsR/uLt5LUPB/NMc78Fd+VDY6wCdLHWWNZTHzgaR19Px3UzVHaAX+T9KWAeX/hXLlNEJAYcQJM/tUFnCOB2u10UTDlGX3pfvDDEEBEYTK8Lrs5ZbMVJYUcH4NsHsuNNwndCY8Pj+uM9x/QCyeQetLJNjZ2Txt6ZSp0lwGL9uF8E/YBLSeoWwdj+A211EWt3YJBCqsSThb15U8kmh3RtUvKKgaE+uPr0AbUrXasOxy8x9VQ6I8/qx9csZaBLNRmTDR/Z/3QcmKaIplCqg+e34VU6Qvi52R9XX4P2+6Vmy0Gdijwk4KMvovTiQ/nxbdX0fpfj8W1OIOb0euOx0lvfZszxrI3LZc5SrCiqVFW2CBR2ZooBNksHbnox7QNcNdHqZoTJ8CDLGs/8GK4ncF22cptEUoHjQwcx222rfsB7RB++oq3AD8pHajQDjrfE21HxJkHMqmNjISITBtuEdNZKRbMNfilcfXKdC0GN8TtJkKPKEtxKy5LUMbj4tIBQxS+4lnftPlEICsdhNgyOgDdRa7ucnKpB7qQngPfCZLdsSVfLzjmtOwTez+S4HYX745mvKOm8OdwalyibkRcjE8WFUx+o2F+ag0Dn9Bo7BJbsNG1koo+mSaNPq29hyY4USxh9TsybP43LEQQILLqX5JrLktavlOUp8Ax/GLFDvftQixGDVYx9YZcAsMyzz9GgEys//ZdPh0i7tDb9QrlCRIpmLmH7++Bx6tyGQpku6ckIXIP6cmlhYyrLmtS/fsiBusaRIPFprJZS/jGd6u+RLmT4hjYTKZEodd13hgVJTZWBnAlu3NABomQPNkE7vQYxnlSoGoEkh808xazD6ck31MLvMYik52/taaJolCQeraMZn0r97Q3AgKC9lgXKA9CEmlSD3KMhLywmFTl3a4MB2J/52BA0Gocbk5pMTbUrC7b2Fl6QG5aZSYIzF9T3+4uTzzw1j+HTRnjya2pOPdy4m2s3HCCtfAOgziWcBw8jMls9AYNC/KiZrsAMyx4x/wcLbIBZ4oJqSC4NUBpil+lpn7uG9yixBWIViVt7Zu0Nfwz9Bq1hecORMOjNq2x5Amh2qb5J3pnBLQ39bwdbY4583P8NAUr82Il6hqR3P+L+Ru58pFsbDZLj+pzlXJN/PI3A1NR2b+LBr/LgnYe/aHPQVs3ccXtber1l2qrEdEYTSJA23BvVU9ZXUCkzyfQ07+f85QsO5dnyUfkiVOsZW9dFwYm8QH5uD8PQBcp07t81++zhLMwH9LR+hI22YkV5lMZK61FCL0fhZu6sTp+mg6dCm0RNrtnD/D6x5JRYAV+m2iq5nuBvr//Vrfe12jldjxns8pY8s/LSfPY6dSlZyVV+wQgSN+2uvJVdGH6jCVUGFam/SY/HIsZzs00TMQNCjPpR3ofwdjgk1cfQJhD4tXxQ5GO6kzUoEhiA2oq+leMDS7E85OazlTnuxVg/rit+ZkUxwzGU25579xFkAvCjyi6Ie9nF1dO1ZG5q+FEt/lLF0NfXVbg9X1hOI/7v3QustCcY3mau1+tdsnO3Ts7n652w8xrc42K6b8CRwQiR1eRe3iOduDKsBvTLSNXo6AcE4jgRcY29ozTsLbcXqANFwGSPDrY+Uy11MlOGO7QPBqy4uq0WRJ+JW27cipVt0wLgmBls/egS54IJDVqwgh94AR4Dx4Qd/bxjvEloepydwfJyG1DFr0P2RlP7sF9Y8qIug5RejCIBmhU4Mim+e7jeYyzOBW84Ku+PUfJaoLN7NLy1WN7M5hNfOAVe5Rhzynpga4C70bdecGAqaEKHZCDH9fKipS3xPg04hoyfxULcqyNqWG6HhsZwZVIoSY3mu8fNzslzkmhSfdmzNq2DEA7wb8Y23ydwJFrxXO2MH/QDdt5kAky8bawGU6fWnk6y8/tt2ybSfBTPGwD+EAxtusOHs6WbtBjrK3MUr18uuRCnoqJ3SJB48LO8ITBNYX2NxSu6BGmxwBJ6exPJmNOFtUDZgDtg/F2nW3MaHkiYyouhd8YoWy/8Sd2WLzkGVkU3OOgo6fJxyt3JC+RSA70UrgtmQWfVbW9BEp8MMXCM3R6LX0DJipmYpTHqHfeJzrGlxFogxTjq77wuft6epYOuPnl66AecJAc4Vtjlu+eIrUNMOAbA6SyjO1j+gUqXyyZu5sRsiHel6bPnvJX1BpbCWpbFxKLPTrsKXStzgq2HFaozvuYaQ9Rlv2V127ol8vIvUFi+RWB17qV0kamwGAO0ariEhZuDdL9wENhNNCxLt0tWlvkCMIdExXFUk38Z+S93DGoZezFM51usCURLiMnSyfU4xt/EC+rQloezWEymonEDmIJqoEJndD8ojR3En0BN4u7oZNMeGlalyORPovmTcGLOKrZbgQdL/3LmA6o6v3+rSWDC+jtwf4x2Dd1aUGMVp3rBiZDnNflQCVvetKIZNCnLfsWsxDua3pFNGLY/CIAk0TtVdS/w7vcaI9SWOFofWhjoca9xvjqDLo7dl/SkpzRR0SN+4s+Sj7CRtjE8bW62zeI70CKW/sbCmrbw4pVWodbKm5HItpnVLcJls0l1f+Yfb+sj7Gs7S49MuF1RyA137a45a24kf611EtjHLmbpc82t6j4THvxLQ750dyBsZIDz6BA4zfKgwL0tmkKU5w1JJJwE2VIIuUygi2mnKyqAJ7Cl6Yk4hc6DfS8RxnWhCsj3Z+rs4nNmXTIaXjVfQKMriz22swi2UdQVD5rummcp2qSMMn7pvEPIgiZmeCbVSkfccnqDg6tPU9Sj6GzbRQjKoamfIphLkEAU4OQGSnFz5Gs8fq7PapW9vixDTvYDVhqdDlUZhiyZ2hmRkaukx2LETbcQj6im4nR+xifLqdE5Not25rrbxeu5pG71o7YcRAR8NjEwJ7VQjEq0D2Fn3bnZLUUyRZNHkzdxiLTt0p6f4UhM747DJbiPJ5Q6tWkBQAj4ap1/jsJvcIgKXdZtcEPklyr/NRChINDDqkPCY7mtd4unNl2p+L5sAaJiufKVuo1pIXde7BCqOX1l6iJV2pvsDd/07kGu3aPw2fOXt2B0Ne8AAG0YLyCaNO+hzYdgQYVUQSoy+YrWOLAByJVETHjkVV3wvnbcOhpfQJQPF9b9gZgbcKhfnW91bpvlp1CiS8xrDuzHYTyBHdEfsnfJ9NiMQnmdpY0MRz48ShCE/gp7PytXQGAeBUHKHfYazodRIiWKIWKN0DbbWYS+U19qivgANrHL5C9kqOh8U6APhl9SPVNIOV8LvmjJEonVgtsCcBshDHGnb3vj2dwmaB5x59QYTJC0+daDbKoyQyP7JvKypGsq/kDNmqHmWUivq2mVXGBkzu3+F6Y8qDzJpbZ7Kg3zy5nv7rg3xAqzPDI5p4P/aSeajtTCoaLlr63tqrGLtf3pbUOarofzeDT5B0OLN07EKmxxQFOdPGaA/8bJwxEsBay1/r+Zi8YTpRVaAYAn3waHErYM6SXAZoM5Pn8brQkEt9C3gdkD8PDzffAPJVLjFjhJ70yKK+FYQ5goLvcciB7Qf+EM6RI7MgfMqjNccIE9k+XPMwITJ6OplHdsBOAhfsIktQJrcN8ysoO0m3aQ7r1FPKywXTdoqVSzGO6RbtD1CvWtgwjzuTQoNeLbfmlRiPKC4wVjvIKAikV0SU7rLp2MlNZLTbVj1arUIstOoXCyT6r7OmxS3VMY3erl0dE/jllEFAxgWpd+osCS5Gy4/wqurn1P4Vu5tXk7r54x8LEh59v5ecCtoelWlPXSDMmeeER3NpRu5G65ULaLQYLMA0c379hCO1I2cEBDtJKrPcBEPgG8nvtgTWcfhHUmTlaF+INkW34M8bEPlEVeEYH45frXg1KEvciZe5iXITONRo48Y6CagyK38qaB07apf7buihpqFyzvSAQtfledFMeZ2y3p1Mz9JY+ridA2WRUYEWoZaLwFnDC7PBeYPm5uAmbwMRzkzPmvw0o778kqNqQrWW0tyyL1cn33MvvrbaydBk5CZwWziD63KQacnNrLYtgnGeEqfK6GGKAd1OQVjaUsdxU63CdHoTXq9iKawNmcl2ZDUosFZhTXXBc8rL92/rYbXJGuf2BQYQO7aTTgRFs7QFgisKpcPCeQkgVvVu1gzOjbCiEe8DMP0bHjpwDDcCKRYge3qNgr0cVnVrjF1TLNvQeaxPU7GQl/Li1f7icK9wrDBKFkj/IkkbNrdQA4wJYvI9i9qI1WOT+6GUYYh8TZ1MZIvBSg45aEnXcNxOsg3WnoZVDETalRhmXpjLfEobY9WuC2Oxi/F7hPCbwyYMYKBucOeQOz6So+VPxjyuU/awThg82mogHj24r+cK0SspzlLnjgGBEzdVGhWTJQ4DrFPp7II/9n9cJS1tzN7vtyqAk/iXv7tOjatikJQeRcMN6d1W8ojydKagk1iVoVWN/rc637wknSK3ahy3uUK1cSKQ/PstNyjZEBc85datE+MUi6tEk9e/TacT8QP34r0LVYWvrzE8wv63bUK4FAKN7UznZ3WQIJ/4cUz4Q6n47l/muVNSBWwyVZ//y5mpey2pfmQg573vRD9yr4yyed2hFxdHl5F64cSEitqXc+6MfHtbi7hg8kCrVC4pc+s9+fEFU1MlD5fd2kjB+udyBC/sdJUKqBwHlzXG1sGxeTaG7u6KHuhKI+hXni+4H/YDAI87uJS5WMdbdTqxYHsld+FuIZ5R3bHbrnsZd8vor1kcxbjE5x6BeSGvcd/oyzufXVgtvYWZoS8CC0mXIT7drBxAcHlMRQHKxidKKVel7l3cgp70RFkAsv+u/1e0yt9lszJCHiBJmVupNc5XQU/xPOkBaX58A5SbHQVEq8x3hFM9krYeIZ7Mcz9xa9uLGkShVIPxG2cjdjx/gef/ZRh1mguH2JSHZ24RVfUp0QQvNrYXCL2ad0A8obc21CWnZLs7A2ACJDgkFog7GWZvx2OxXfo/ZIOWr0hEUdeBFsUVVi+B1K82+xD4R6dS5Ahxv3abd4P3o+FnrY4hbUNIRnzMoxiHqS0pL85d1w/NZmrp8GzMRi9u9o79ozzcl6WJexLU/NvTOhi5TCKI2K8yXkJI28ej5n/B0sMmzIGMqiSVXBe/2h02/B+sufTr+XNei7jK2J9HZIPhV/uiK+Yqq4bRa6WeEy7aVh8WcSFukoEv910xfjqhxQnlqEdqXCnT7dkK6wurVb8X17dvGToBrms4v+3d/f+faaNPgym8YvxXsQaOtOuFQoEzDeqamTAFrcizukYjLW17yp1vYVtgDBZDsJQAmD2Mv3de4t+9xk3tEE3chyMiDmMWB4Jj1o01VxIwZHVfuwAxeFKGWFnh62QPy5cDNY6+Z6V2fWli7NZkR2DiCieRy4Q6dVcDwIpCHtkkSqFNSDIXeVkSVlvfTT5a2dvQi/6cuW7evg5434VNLZZQc7+PSC6g45Hac3lfnqfWTa4s4su+OVZqgTChxwSSdxyHb2E2jH4IXTIgsqGx89cQfGmIjUbRaDXp3lzu5vn5zP+2BZTQYU3V8pa3rgkEr+MQ7pZBkfXaxORMAdCJLjNUtQnd7gNGjZ+NdvfZc05HwY3ezHp8AcrXnSBMX6ik6RPUAk8lA2EmeRSrIQPMUomo9rrYubNgWN7BMGuAu5inrs7YaOwqj1dAHZ20ev9RyfD1x7qCsOsWp5HeK6o0sGJgZjzU5TzE1TV/ZehRp760jTsDbEfKysjrnW5UUH6oEw6Bm1UKCu+GZEzCDhFR0mVd1breTiUSKuNvNduzDOrvTpgY9IHIUNi308WEHtOEnwc/YFGEIcNYzCYpp6KnG2gQyEA3DzOSCnohBNNqJd0RE4c1VvJ2mBfEJGRqo+DiC6Xq5Lo40nXZiq6cAIvrAHSRyzB7syK2vd+9UqTcc74FbhWbhISsIw5YR7KoCyfIDKFesrAnHshqtKI1OSYRxoMX5UWR5DInqhTTNiCzo75nl9WOliK0kGBBuLPcUiFJtSQgXDEQiL0WBCnn734w8UKWI7e3sCFzwJKbi2GtiGOAkKw2AIipS68iIXWzZON0yNfqEuBjhpo7/x1THxjMnrdJ09NMDpKmFQItons/SgKug5i/EpRVvSFdHZ3/rbFn+14oOJfFXNZlP23DPkcOUb3tU6Jd89sirFVJJ8lOgNvl3mEtgACIc2iPJZgms8Xo3pOnVT3EsiMthCez7NI80gIax0t7MBnIzNWxTOxPjY5gFKZDWg6uCKtuj9qIxs9tfj7oLiSKCqCmPVVIpCFWB5PnhJKlatQIdNhJAJEt4CWyIz0n2C7sg06TbcKfXwzdtgogzEtITsgzDA/OWXLZrDlIDGCvYsh3Hf4cI73+08V/awhDuRYFApaAY/fHnd1eek1UnE87CNPNMQ/Pfbk1V4WKjgk8NCDhaapvXmGYkxCoCJLykNdoNKNxDtuVenIxr5vCJZzFaMuqvEoIdTj7D36nzoRQZV0vfE7x70XKA0dOBc1IFqdAvYLneyo/N7mYJirsj5EKBmPnrU31qXCUID41PaXpKcmyfMlwlk6GAlND+nSaL7k/6a6qbuGAeRc/0CPyAGwvCeP7USCXIS82A50GVqxho2fSDSZBvlfWhQOLnpB4ELpn4nuVvqH1Uz170RPxjbBtUoO3K0ywaIn+zpX8h7LSO27ouwQlQGk2CPIb4G29Rc3r9Qv/Zu1bHYOgu/UeiDr1EtAMXq4yrnnfLlN8v5VMitBmallIRwsvYtpAIDXepAWmZ1m5FN3voLV7UHxkNvxHjWskKEjtv6TIqW1Lhcn7k6Rr5UUAGhc2iixAvcWBDkTlh+6+92Wde7ENCeydBVfjTiZe6c4G7jtaH2SAfigUEKwMdSQYcSmnyze5gVrUv130sYIHri4rY7KbnI28slMx/ymIG6+2XGqmRx34SCURxGHktGz8Wze7ky8UIB+/jz+ctqPC+G2TG/n6T2wply9q7+8M7WXtUT6jIq92eW3vEPrQomh+5Lh8AKdBz0ZXTnrwrzlJuNKbV11MyDu1CDWGtFnsiwc4Wjb2n6aZQ8wpiZHO+oqsBkysNCW9EvgRtFrCGrgsPYK1eHWmxhB6qCWFTy9g3yrSxIbgB9FV5XlLy9EQFl5KJfwaabBXc+X6Bk+/ttdi7SlQxmdU6fmYEBgDcPxelqwYKUcmVw1cvQE9GNiz2lTnGpslfhuaWHyZiqLCJzvh/bM9+0w24Qe2Ml+3/TtIUhKejLxF2qMFFm49kMayjhVYFpzkr7oI2ey9LYHYlqVvz1kW2yaEm41X3bgDIV/vCKlQ1I97DmkJdTVUn3EenrKSLex7yjPTtvZUGAFL1dKOy3pt/iOV5yKu+hZxW+NAdxdWNmolMr+mtoM6CLMHKqcjSKXJ3ZK+SFPQbHk4J9pCq+QH6MUZpPhkXeNDPXSAbE+fb5C5ApOzqjAPEWjpQ7BgoXXhNqcHi2RkAG3c7gVkh2tWqdXu8UTo8MmGreCp1oARgOCd8K57vfXMM2AOKiagJxrJZtvydBNPLhMiGhOedGIhQnx1HbSwqhKGDe0l504MjbHM+yQAoj1/20z9GuYkX1XBnSMDYM7N+w8cTkNeFE4CCdD97aEzqvpCPdAM3Fa8oIIrymgJuhxf8SFFLDGka+oX7KlReqnlvrvdCYQnbxcPHXD5cytHdFwUm6jDtL3Q/nFAJI5BT/NXCKY5NnBWy5OtQ4zL+VDmSPI7X//WGrn4nvTQWq3T6n9S3+eGxGAb5idQAZCiImDe9m75QPgxGsgECyixNrkVt9Koh5+me4ZUjHrt26QjCV9WZTfAAYVUM1t8k7Xi9PQ/JKMgSibLkySCuKLzZOXpYS52+GJffmMYKFZZ2IYCo5xX0dJqPgvxu0gASk03/XPHzQ8t5gcQKYRQ2kSjwH6p9ayaJsgM4RroAMwz01YZa+XGV8oEeWNTX5rIWOOD9LP3/YOArUpuGAFeNKpXUqumExLsjeqXPiXZE9w2mD60fRSyVrMbCEkEsVxf5aIlK3W5IpT1qftxHXqlUKpl7aJ64pOw2ayHlb0NP29ivHMj/WvN96nKdmjLWV93Mc5zjZ4MoChqie8jni1uMoW8U4e3OEpB/O/HXlTgHf+qKNLcJ85Uo3lnEA76Fx0NsF4jMf9pF6M+pVI45Ntx2nqNmLEI4pI39aal6Xnf3Vom04II9mX+USuEQoMB87t1HbFHDMVlBJqXUUPd7T5zC0Xcvp0bxEJ4n0bKaaWdnXJrvhfG3h7EKVpGRNkUK4MioC/4KI8mXRAPSI5SvgfOTFw1GfE8YADbmBEN1AlpDCSXO4Smfx0nQygZ17/isBEQ/GhrFj8GzELTQE1mL3dzR57AbmzjJ4z9j/GhxdKJwhWxLNDY0lY1kYwi2VVbN4VeX/Nqq07c7hL1qFBRPhKHwTq69cvUX5Co/dOlXQ1j3DPjpRBpTQov2OYlU7kNhMSrYtFdiX1FYKSnt3AHv86R9TWTn2/Yeim/LxN2B4isA4zYS/0AjWmfWEwUajKJDYrCnsYsR85IZCww+gpaTpmjfqkd9vHixXP9/GjJgXgVQT15e1NAx+WFzrOEzKXuTmrvm/OLSLNjKwS8wj8omrM50YcC59vbKuh453UutEB1y9Yxq5NoV4F6DcBrdb6qg96d5ek7Jp9L+rIdBxvyu/tVs1VL/bEP0z3pUblWtV/XG5ABmnwOucF55KJ3RRgOiv5jeX+4jH0RmAOwnGrIKqXarJxoq8IW2giZ0SG1onkk32fuldcuUKVafS+92LvjDTONRNghhX1ZH2ObZxT/r1/AcbamcipDTxg6P//KU6ZjyPcOoGQ+CqgDqS7KA88cJ5BdbAxwryA1nl4p7r2+KbRBpc1Rpqv020qyobKmVF2J5JE/apKaam4S/2y59lGs8bddE6u/JqpW+Kvt1ibRJlWd0qsj1lOsOXxMAYwsJZG5TA2Wd/GaHEqBOrTCWN+MmQascq1h1goWU+4UgvSQ7zX2Cm7ovB1Q34cKNytTPSIwC2pkwXPjLsrIWzZ71XgTjY9I9DzR12VHKCEEwv1A8Al48V1L5PbTnkWFsQzM9ZruuR5BlBAdrhaKlS1ECyLaGMK8wW+QHRlJfgxqUc+Xy24MUhOBuYTEgp0+Ga0IJmID9NtAMb30gslxsWrG8lllEc+BmoDhbGhvJNfOxniq+HCX0v6u5+7fcYsi8mdK0XcTVAKQSqMucC3iI+hepMdT4rFbqxNUvFcRL6zbg/TSw6siHbhHc1cAp57yhe/sJGrYSs0cCqcpF+inbyzpJwMwgt2+SD4K0Fer8f/mswXFKhf6rLnq8J/yPdtn7QNNn/PC29Uh708eT4sMS+5HQJnTAkUuItgtLQhXSmGVJL7ClKHEziwA/Y8TIPr9KXqWaYBZlnDIP9zLcJDvI2qQu5VDdwKrKzwjRel28iwTyou7Aohb+9IUfxurz+dTrLreLS05IfKi+LoobGEZmLoWFLuyY7iogXWtT4gwRdcEKdvB8vvKUtqVGgMqMurYLA6fDG76a71ypH0ngxhZSPlD+mP5UxPfPcHx565m3zk+s7ioJbPNrvduOadQFbH3esO/i6uPZ5/s6ttZjk9FBZCJN1fOV2m1d8ZVgfQds8GGgsgDK6fPUkTFdbyU19OTT47rh7bAvKYFRHvRQb80HJY0jLBY5aH1Qox8E+BQEaMknnfL95jdJTM4h2W3z81pHwNx5/ribFKHsXHQ7dtSd7sSqwtHeAyULyrBOSB35TKcmeiQq+FAEOoUbDKT6cPM2FUgFyaao3fArSVWLAn/4zbcSMJOdJFXdmU/H5xxdof9ut2beuXGHIcLQ8AYdezY1+5RtIdN9V8CWng+F8/KIuWwNI5YuapwvYkRSgHudH+e26ifYjXCbcFyz7mJR2XKW8uZhAWEczt5G1cwKlhr4K9LwrHcgs1f/rdTcQC111rVQWuVEQfhG354mFX8/d06AHIkqkUqd9lpB7NIII+EQZfNTZMSfB13CIDALcl63gSpJmIhYwvOBrUF1SBLfJ7Pw3YUNkS7SxVJTHb8ng42E/p3vUmW1tZVYb685eRDnWChMFdmX5pcmnekrcXQJgIv83Ksh1zWL60vDhg5dxcfrCVWHmyoWcW1Nayoj+gNWkZiIAEGbhHgpqSce0KIbX04NqAGrGm0TXMq2hg7ZaYPYqoPooJ1HAmi7MRWzN+TNWqdWrEisPpSLDwQg01ENDwY2m54WBYoT0Wp6DRmlUGF9ngjqJ8zK6+o5W1lr7Ogx/8bn1rQ6f+RfYk7IgDPcq5gareKoggxlbd+shFiArUkGnndlXFrOHAjB8eptoHUI0RVIZekiQ6HDOiadv92+/5GGnzc6mVVHZxw5fMEr3A5ILlZFdNqlQzVadLYmPalTpP82ic4rQiZAABDqbpb7H2n8g0DT808AH/h786ogU57ap1DAXvkCFGnHjDehJD3znD8eDwO+RIV6keR7rUQl5ZrPpQ7Ht07xhpcFAsJCHx1QJ2oN1XM63Pa/VVT35HlA3WcKu3ZlJx11oEUqYOlT3xpIvJVQfLXaoFG/s7kf2qc9s1IzeqDodBKQ/x0R9aNbMOoTLrDzCTpjMOd6yGdZzAi/z1rwHtYbd6Z6SoQ4Mx2ovDhMF/LC5WdLTgr3df2w1O2P2Cd1O820lssf1bc/LGj+PbQKZACrhq/ijtKnNnk6/iwEs0p49qY4VFZn73AgGcQAncfPujQmoVmZEpxlQZWac1OIVc4a83r8BAi6E+HZOMqozxvTioiF05QzyRnYluDVyOrT0jAcHvxQ1SgIJoVidPS8p251UjxJKdpRnf8aQtnw5w2XnLwn1xJQoWQysUIm54F15lcZbQJjMn+tJm7GUlsMKgypflwE1QEvcilMrGvKv0ETjD7wqzrpSSlIQmbZzk6czVagoCl/NgKzmzC8Tv6KnOJqRqnR6f4HgIUhTIcXZ3osAYeHzqNq8uDWC2MCk7c/Bo+KuXv+smR3pZRH2MELLQVwd1/ic2y48eGPgOzZ670mdNNRAmaOLeB2Q1jxnI5vuohzPIQGDoWIj2a2wY6r8ASN+RTsnEXYaDlAG5zEENew31oSnYkv+u1tav8IoQYcT086bYNoGEk+4Ms/J3X5xC9zJk40EY+5BBYPe6eNGWOmhE6LmCR79bHU45Gf36NrG+A7gPifVT3tOxZZXznHhu0F9GSQvLO1OP18BU/YaQW6bTZfY3xzK5UgZ/ibQCHyuCh+wz074QOmSdavnp5TAZsG0og8iE8g9UuoqLMsmkBVyNXjxfexxC03nNt1sacfOB11a8VSyV3j4z6zVx6Bv/fG+hp4/jgZtsq20ocGqLwm0oLVL6mE/eD2fO7JsYo9yLVrdofY6crm+b0XUTD4a3Ye0ccv0il2o9mMipeZjgrWKZToGVS31aeGSR0szN5Gl4iA0+0dyJzcAudVuYV4UGtQ89K3PXQfiDsYuvKiRgpzARKB44YDr3GrrTEwLaSETYHJx+8Zg5G48NvC8rY+nygazTFypTqm6q7H90TilyQFZjQhLPO6iLcaQTgHNUFda7iNxq5EEwgpVznen23mrlG8IdqgHfZa5xIaDfbEd/RJEJUYQB86rw47eIwEaE/brZESNl7qNvtbHiqlBM+gXohOKTdMhfh6v4aKsK6fnht+ToLKienbG6FWY9GeYeH2/IOs78kW/CzErnKe2PbVvkoNCG6CzXlH1QVLyRmHH5f0MRWJbH9TTuOmrjjEvwCy7KtoxGeL0Dz1Q4cNoYjQFaN/nb9ytL0JfISoxFUZMOCZm2dXoPwwY+9yoEvHLYhx1mNQYPs1YsVhZ4n8nLP0uVakC5X87Cq4QoiYqSR3FP4YTDMnkSmmcKeCDMlQs/HRfUNb2xOqRf/erNA+ThG2AaXdreXj7huR3/e9EHWNHVPEJ1bIn7Ufn/tXMqeX3mlJoGl463rztRsdLOQmP6icIri8TS+u2bCwdK5ckaQMwkRzJME6cOo93FKvR+DshS19oAKTp16dpA5Q/bTRwRKjHajqb8tT+5EoPnasLatCoH06MHhWUQArZ9oZHA2Au2sPNKpUiuNAk33ELFPdIgmkPsBLt22Waj5KaK6ErbV9jrwJPcwYuTFtBpW76S0EjX3o6uCKXFkaL0nQsgYg5aBFIYxHGjAv0TOrc8xbSTU7gmVvgsrVzGY3bM1yLDGFLYVkcr3KIRiWn4hvgcx7KNqUZkToE+ZGTT7mNALCVo212O8MUKx8V3VjHU3TZaX/CIk10rjDbTFabbQEsRP63o+M5oIqTkaSuGF/Gn0Ge70aWpQSt7CYgqdwaIYNf83Iki2eyDRLhe3DQyGDbvgbEmL5uybI73N7NDtowA9Q7yTuPCvZebCH2z/SWiRPxqLi9iT9uFJNz/XgeDDHGhWzEEOkds9bZEaCgYgKUBf1cW89pZGNCMOKiQjNF1WKkppoUN5t7lY5gdRpv0CfvPCnAAC2xFIWUNzO83t9iASppsT6DotNomrjft9tg/guWUED41FF79mA9KDAnZSEhpbl3m4yZEzpgZPi13wPKTuoP+U71osAQWe16miIzuffmgW0DfWRcYT7ZcDuJ734M0A8nZ/WKhz6UGeJLwTjuioy+NfN1UItanjENiIhYGGpfLOQJZCyJJVdQQHxxN4GKnwBNj5x85Lxju4AUSb6cX0W7xU5RNh7l6uSRTdvDFq/J1iRS1MGGcEJKvzANYtK1oz8rsbJmhIuJ1u5nW/QGNNxtdoqWj7bC9XqSzmCKzDnSNiqouhPQzrm6PiJkMwFG+b2VQto0acTdpMODouHDgy+TcvK7tszUd4WRhkL6hHOgykVXQu+yi1wsJ/3mRRyzs27U/1zMSIAJYz8MC58PYDee/TulUMDbemlbVnlAkI6DUdkKlku/kUVbr7iD9n+j6NQRIwLsJD9mu5BLw3j8OdAmRaGVOJrZD1QfNxGzv3ZTWC85LhL8Fnc+VmslptGY6ZMm+gF/ivVeH959n3ncJP7LvrSE9bnHNaqxYIVyZ3c9d5i+sB9OFACAROYW6ufo2ofNWg0nV1T/K0PQdcLKB/hgwfA4WCDm+qtCqs1Oqqa01KG/Egv4KAdgCsNh+SbRuFAyoJSmYGNnxG8hRwGpcU0duQSYq+QTXCKFCV5bgUBYBYi+EWhlmWqVGtG5fTlK1CYzkXQdItJHCx/DDRtZXH01NnrZ3C6gXX1FXPiTL8UJt4e0NJT8e887gEuZib5jBFv+Cc4zQn7tJAAMj1jSz6ajUVtNGXbZa1oyvWGNdzXPTS2YKGxNhEQG7vTmKcORS2IjohAlE/blaMDshXnXNphvS1pCc36WMs/jkaMfj9DGOWCpJVNhlq3Jclhl4C62nrB3NomeM9viqQZWsMqX/TwZqjRV44jXy/MCja+YlVMEqD2yYAa0b5AaeZQ8nRpEE0fFeTWPWUvlCzgLuJLhF1R2EJF1JpsNEuKCZH3uCzocXpKF0TOdYFpVj69Px3pbF6fEoybYqidf/pbMqNx8S2LNgCqUS1uLEYZJF7+TS6womFw3ZE90lIWKoJJy5hQxnmzpaz6rSy2XUReNLjVG3TzExk56ptp1No8Sd1uBhlCnrpMJs62XWN/LS9k5xOrTMDDXLzQwKGjaLlSOk5N7Opqy9yDe4eUlCYpiMaJfQKgYvw/FPXBpRT8ODoT0MBBGqKKENcEGhBq+JnYOOCt5Zux33Zj2V6UYRUNTfGnY0nvrD/vQNhnMCFNPbsEimhrTEJnhGQeUGcE/0eCmIYHd7KIjDsQpkeDXpR2Ys1Pn27ZaUav91D2UIqxEd/h5jw2wrfRMTneFjbDLYyjNck+AQ6JkTT6qeFC+jVeEFFF3hlbW6n8D2xxVFgPYYEiAzp4rpq9GFGeCTzneNXcZcuUGlJyT/5ik1c3c6jUB3P+HUrivhTpgzQIesK3o9/h4kaRQ4F01mqGeVpJOKQExZaso/hOW/KW7SthE2KXDDZF9grjH4poNAovEPwlCPPB/VCsRu0/WBYvK4HhEPxMpsCoHErDk4BQ+1xcjW2Lq7ztUAQFm7xEL7O8Th+9h1TqnRLs+CcfKhyCkJJHt/ikpxwJsGsI/WxiMxILfEOV11u35891bMRYcw7Djqg0F9nxWR2Ddw66aw/oPWXXDg7s3AEyUVBihuv8FXtHrhFNZuiajnvf+tPijST84T2PTMWTa2gGlmFgWgSGAxgo0sImFLq68j4Y6v4tDYn+QNSQlv47UskwvLMuWstwq5xEHOCho5zJ2+ysSNXPkcDx5MIGuGquhBebmBJQW1srvvPIc6rn/NupmM8husWwoI9jt2CHAyRh7ifRSutkh7r3w4Lgh0Cskui8RLgUQON146Kx9S4NCr8BYlbtzAJfX0SSF87dj4pfNRgwrp0ygk4esgFWgD5Fjzh2qzS4cJR0XdI5h0AOtGw5puEdZM1IGoFQcfYUo5QqImSFWqZnLAqX/aq4ieATV5dhiinISxO7kQV/4joOJb33sh7QSCDZQlKQTeRBvRN89HBYAzNh8TdxsSoFMB5MCj/ceryZjgxfGexLRns9c8q34L+AvK0Q+dTyCiKCp7V4LyO4v44xTVuQdjkV7+AeIER/q6kn2/hXiD0cIVwFgxEbesb75j6mwSQtdJHg/U+8vfWSgB3V/9NDqBwD+qEFO4fqfKGyoM1HM6UgBYjMS1otFjFpSpBw9TO1Wc3+yo55hqhbNsuHAKdsYnk4zb39uf7lLZ2hdaGrh12GKpEX/sb5hBAY0VAlj37Y17bSC7+8anRIZLn8ivdfzGqTZaja0uOW4Z4mhMAaQ7k2Z66wylAlaUKnfbgiqKDu5iZE+monhIEql4j5nf1xloQUpzFgmnAxlMQtCYxV8wSb40w520DLkhl4EfFhNbop7H5M6djeqXQrdO77gj/yctV0RN/BXnmH7P9xCWlFr/5LXD8/XFTL0DcAmfUUS0vlN06Au20OISYahoYS9EF9E4uiimY4uyYwP24YP0+ys6ri9wD6VQo//9HtJO2InksCZhCAdWyYtTGvTO8d11+yoMdKeCLhx1czfWsEdW6LRZ2QqmZ207zdcRVt73dUM4eJuy7vlRGR6fLShR/eTka2MxbTY3vLsA4Gd84kXeh8K/OFGqi3aUHhkjw7f6YzaDvo0E4XkD1bPjJBVgfiTgfOBZ+jAlUmQ13W9WbxfgvJ7dS0/8aDH24qL3ZfXBsqcOxl5vIEhW6jcGabdMaQQWDjNLBo7BRh04o9Eq4Kz5mDIEMB/3z65/h9erI5rpfGY+ojciR1dBV7ZNxCHO6jT5oAh33eHyZRbue9c1LAE7AmHUj3uKL43zFlk85AGYXfnlezBSNUXkY3unksdlbc74RE1Thun6K4LwZlxxb9w8AQeBkaG1qSm5HpydAcZ7wLJrKZMYXGFNElfsFiRdmk90l0a7+MORXrIOUp2i24MDl0mv5y7pRPYiH15sP1g0HDC+AKxLx8jWnUPSALnB5QlzQh/mdy+fXZkhEeHyjICyvzZXagWCCpJc/fwywQiLamFVbHR7xrP9xmsURpm46ydAlwcHd/dyF7dakFDeKypJcyBYT5cm93jOVCyKTiTycRht07YZq5+z+E+o3VTnuw9M+2tPOq2MWFaII0k46p4N3T8Oe8rW/roY0IKBsy11QwMG+au24WJ+SY2FNjYQwKkLY2J1u+ituOQzl72c0buwlBHWJMGGqmGxjfil1qEUhcaiHh5psrtho2Z+4h1y7tr058O7ZA8doW0LNTmFoWGAHcRXMLiM6/OVvPp4OVaqWriaEdQGc25eOzESdU+hyJ4qG0lJ86cHprIZXq5qq5FOAxSOg33DWqxkjBcUUU+E0digTRqIvQUO9KrapP4sWsC7ihyCBQCs3f0lQ5YP3UgzHbqCkpBsa+qgX7FmZy7l5AQbR6MinJvfA1f8jKOUCfsiHwqnOfSGBMA/mCSsyzm2dYONeXJPsgnNJSxsrwpESefOPNUxLBuwp6Aqf2QMrpSzy5AY1U7a/fLUM4SBHu7gwG4tUfHcFsdebQL6Rf/BoHPSbs4gXMK/ScgHr9o5KZ2ACmKB8AR8V0KYf2lNEjWUh05hW9YYiZm3YFUMV2WyZqbksEtxxnp+kVFLv75ry/yVbPJAE/ctLL7CBdx9tbm/FvKVUQv6Ju/JFyHvt69PsaG0MhkeP3Os5koPO4XO796K2vGVvDVVAseWMMSKX+8HxiJcASh2AI4iTDnwP5+KLjeU/yNXSPZZxqcz/k2ClzK9yi3QE+w3Hn8IhIf6c/Q4xK2X3qgkdqZzHAGJvnYcMesnhBgMzv53ejK4W74HYWRBAC76Aa1usK7s6OJhoajfVUCG3XFb8dHafqDRv0FIWs2egXaf0ZB8AJP3d5W4A+QjGfFxHngzhgApuAFdVU20dzFtZxb5814p7WLgmetdJwpbzE5vpgishoR7fiO3NW0ki1XncR9Y5zfiiHAvUCOxGoI6tuWvTJ8ZspXJdImpc40ZIgGviQrzkQ7+KX7/keCs3KXFUgpy1Noqe8oCch4HcuEEdDqnhpGEN1eC4Ic/ppNDY1BVB7j4U30TI8s6Ag1gUYSGfMifvvLdVSKtRMyOLdE0m3QIOP984BgCMuZpFllLBbAqh4zEnG8r/pVhEv/3qjWVufBqr8jP3IgG6+gZOwzo5jXPniy8vdJg9/E9gI3XjFKVmqJ5S99MIrluusJ/Bh9vfzVcoR+uXmJ2TWQME5LCOBDemVGn5KtCaZganDqdvowCDdJLz/nv/sX6Igba1ieSKLb7W4Bgw0pv+aTtks2iBbqbURJObWUAxH8XeZIfJn+HoSoh6sLcRGOAYKlrrYKaKiz9mSWgXP2J0xiWr3+8DRn4VV90AoFQSyZFsiZYg96k89ElVFho9OCLeW1SgB5VTFxumb2DCbFBMduWuXpkjLtJcgO6I89XGZ/5iVSUFpE7jzvX093Jf3yORI4orHd3wKrX/LqS5UQ9gOijz64YCHL4o5LdbsfOdzFxqngjazmnWCJjrG9ZzCXD1qvckKZ/6F/zsLAaVKk13NwkStymKeDWnHPGNAEtHg+ZiCPhEzoECFwmg9O5y4W5FeZYubTTPjRL03X7Pza8ZzmH9CKCHLVXIOVQ9RND1KtZXBi3Ad8aCQhOit/Ur6UDoQnAKXY7GMyG5iAmXQR2kkKxfpqAD+mJaCojNzmqz7WZ51RjUIxXhCtaYOSBejTJGBE2S0OKHbfhXLGnQ0P5Ip8vu4JM7/WxgX8lakeltKc0muUJl6j8V6laS7YX08tXW7fAIj/Ri0J3FPxnQXW59UA4rOpCOxRqTVu5ARw9o/ZgTYSDOZ6pieaxxypDwtJHE8j4ZRKNOQHig4OAOVFLm4kq3wAt94C32SoXN4fpzoo4RRTO5/zIt4tg0aZ4O4gtxyvzZchvCAw/MF9PWwOrHpPwyvOMT1Tyc/Ii66H098FEd2FGCiQ6ohxOO4d1eSN1kfovyAjTfiYgyHdCmc8BA0S/cZQt6VroDj4ONo2hDx40vig/vAtdqu6irKjC+2RUrR/reVcl7JXsShjPGIdY3aAaDV11eVbCMMwihCSKlkNUZTr4H8pCPsUeMFkByQF1G44fbs5nqrZjdRf18eCZEqH9q8FBwNq0qSR6Sh5UdrFT4O0wmqn5hKITGvqujBFM378C8Wd1lk2KnyUIWrUMdpF95VoO8Jabwp93o6sYYc2HWZDEpWJiv08Besi8FN7LSkMfLCTx4rSl08zd5xQ3k5IPfR65o/Ty9/2nKVjiBSwa/+2ZXb2rmGiqxjfeHyyCT429b9e5UOs9UmhvHqp+X/QbcXLGyRJYc7zIbwCTL28zERPLlhMYGZFaM5Q8tX5ua1KBuTi9hIFhGNp03KwVnBy4LO1rIe3GDEcfnW3sIGaK++1G/Jcc2q6HkzCbpHDXh/cvNoGZBjTcmR0XDUBpxbEAebdiKK1JjyoNj+TlI5wRDH5YS/9ObYSEjgOD4eaOKthrOuiIAkUxUfdvW/mo5SXyVN73vajjr4myszuAKQvxXuFUgs/73iBgEsd/pSzjtcH7wJWjmBLPEwKixH7713OpezCqVTtQtCqBIpPLd26otQ82I5oHq4S6HfESb9bV3fhJVt77yzAgdZed/CfEli8QxmrdeIkP9jPh5+BlnxweHcp+PDkI8RCvGT36FW5ZmKLeOIPFnOQhtR4R+giMdpYAwvYnQgd1Xdf9yVIMw/VoigbaxjE1iFjDdI7h1f99zspHZNkUOz1mJujMMfVl52u/ctz9NS+j0VKyRrflAnw7SFb5bSOBcC4ZipXgwbookuj8BhF3QJf0XDXXqsl7n6PtB5bVL/SjrrQwdO52CLITfTrPgrhu3aWPWpoOnrH5qhInW0s5pmywq7FmzBHeh1UNwFDFkvOmoTG9mtYzXxwlrafmcnWOIBhS/c2Zk8vrGmuxqk943a5PCSpfLW2Xk8hNcz/DjYEmPRQhC76mu1MNRrWc44tia1/09x4+J6/DJFcjXVh7lRbVkUgLvTpO/1H8LxG74Au53nHjs2Jm7F0n576mWw7bSjGfp+isrDx2FDrrdrkcHRWmexQwGuWxd9QD20MPWix0Yr4XX2BabHEUU0Jf/MM4E04+xXDwjw7lxkI+FyW6gO5nLT/iNevePxBOHC6wgJYWRVedb+kUKKhp4F4W9FgGnpkORDjeepMXV/G2z2zhP3SqmIb9MWslWyo+1jFG3rtF274QXmTdXsayJqrJe1eWHJWbvBWJxVlzPRxYkHdGCbtIFFtJFnKFQ5ofHJmyuxnYV291WqsxGVEqLBJa3AFdFFpwOyJsif7LYwTmoAseHDSOP0jh7EbkCRm9MbT1BVSy7d1eLfq9jQcpRZX+Gf+2x+SiFhoyQ3xo/m5XkI0m1i4kPMtkjG6WGLUlcV3a9dP2+IJWTsGrtp3dzweADh+zjHEeZqKufxjAxl8hPWU9pd0ENsF1pdfxUjlIU0S1P7cqL6JA0Iv+8KfOKMP7pNfmbwacOna4/5EPmh7Y4wbr9reRp5SSE0ALuHJpp3DTfXnzoPjocK2pe1eyQnnlGlscJyJ4MZhKGqy/w05IUJmad7FLJTlSpRMfmv9W3kdgP2LXWkjXlRDeNBSF/zWiTDxsI2f11fMUEt3Rt/IFHpK/tuPmXCfApU7M+iGYxW8wJylSgc5037cFSejSHZaN8Fih8j2zzgWaLUmwOgib52kcBOOuCY+0M8+24oV5cJFo1wtqXkFCl5USRbizLaxuLLwnOAdTFEXBZqP5ucmhU7wSfiugiJgfe/bFjL7nyhYdpw5D1qJLNF4XNGUDEUImGamdABhSjOKA5auIGfGPpgH/lALhwQ8rVvIObEY9btytOAFAxTZjpGwrmdyaHxihHn4oIPJz1yV28N6B6IbEl7kcmbv+CzR7avR+Da6wrcsc47+RMe0q+c/Zckl+sb/dDhPsg1ozXj6LuWCgknoWCq8FH3++esZ2dSnxtuxNR6EhT9ZicG3GiAnwfB4btZyCe8GYKH6X+rL9V5VgQPayWWkRQYS9OxEjARy9EsdCnC3yagtOUvnJSF81UZUe78m71b0olAdkDDNe/8VY0FQXn3mfXwQy3rdSBhs4+OfR/29ckM9ffx3NgOa2E52tAN2pirnzqkiO1tYbKMSOqOLH9vdA+MrwaHlKfLgsLh5sZDu9kPQXW45F8q0W41lciOyrwlrCtHWdSI17ZuNCQ7CbIfP3fIXByNga3KMMly0TVeZhqWfDZCTZMPZgcIJH57S0IwvCSC0zveCsEx4xLZEpUN8CI/cjYqUKdiWDLWptObH3DIP8EhS4TI91pgbUz9Y2X5X8SnvrDTaAqgRPWrY4oy9Q7n9JoWeZ12RRY4Grn2KNxTWM7ny+9GJJ1EBqXWT1mOI+0pELNcxnLDxyZx8c41pyyk37o6fAWGgROfL2UHaZ5HSEzgTdPRKWPINAONuz966ncbf+//CXt+zp6kv2soASyRQlIDKg58GaO7t2vpaazND+FZP37aPWUa20Fu1dAXr4ucjRIxqmmN9/uudeosV6h4Jrn/QnbgsL4rTdtqEwMO+2FpBBX1PH2mQgV/SOTBRj2HRUeEtq3TzV5EDVSWIUmNJtb7ODnJvDo2Wu9zUqtMALU2SV04LTFNjG/OdhcTSTr58mec1jE9yUnEHmTF2yh8pyjXJFONHgKd/jdNdBpQHkEowvNlAX3TZm9vaui2Fr6w77yJ+KvWjAtqBytGBrzp0XpVscbMrEYjFBHJE+Npv4djN+AwM+6v5i9DQWp4u0a2nAL1Bi/4bNtx35TCkUkMz925h0epVw7WeKMJ2yGG/QE9Ggt0zZSgD5fOwYqVQI/WiLsvMl7Cf7zuEY8JD9pyPOy5zZ/3wCxUC01FaTavROyDpTQzeLNyrN3uXpsSChqV8wjPWPuu39zpp3ddge0owx8rCb3dcLmFkjs4sEBpRaDCqN2g+2CE78JZjTUf7j8sft6Cl4Hr9UHx0dBo12QrfEr1smuilM+cb6v6rDCnC8aonXZC4bFoLFa0I2JBjpJGAKNKltJb47v+Q6/ASyjXx0FXKWV9MJAeLXNXBa3Pm3qcbaDH4obVhTWDMinSkRjaeDndgAZkq4q5mtSnw9RuLmi0AUYcgM4YrQvt9JuBuVs35aEJoJs2V0eX0vYMywU5puRmGd2riZ207MZcf6SLiY4YU0nnU6q4r+4NUdu4XAZodgRKPCGQ4b5IOZCc2JNR9G6BbIPpUBCc5l3Z80oiPETBg7itgV4afCCIDLHsff7ME3wHuQ6G9MnUbFYqHxX0CA8//vtZu0fkEDqIJO3LvNNvsBGqX1WZx1ygefLjrBU/5Mkr7haM0IU+RkNSza3/NMCF0nO00DEbTmaz1SH93y47p3bs9UZnx6LyRMT31datasXrmKDGOE0hA6YCdC4BZLFq28/igUs98jr/dToHM6SP+hxi3LWB2gRhbW5khTC5G9l5VSPkGSPllguPCqTjAghhA7od2IHSFPRmPSGDVYxXEdO4P9Ot/4tLvGcq/WNOTGJ4Xo/iSa3cmyEkpsqj9KMAusYvhd3lN+IcfG7jHjRIR7E6P2qLc9PzF5ag1AQawLBgtXl1VYP6TEbc4if+21yyIqeh8qyBGIa9kkklalZmLsXpSXgcrcjwuPzN/Kur9TKjHvOK6vosG+2ugRNNPcbiZKSqpcANZkaqyRiFPGY6bFh8RRVOF9dfR8d13ZtlYffD70tG4pi75qnaOaCYR+dHMfbkoSyZDlsk56s59yG7j2pMr5c4eTA/ELFK+/NakRZAiDQSP9cEgWUoPGa3Uhz6hQO3yPy0fseBZn5i/kHIMMAkA3w+NVJe95lrHPXDyySI55dwDof+gb5na+uaugoLklsCHEQbVRITcIRlIojLA1Ei+kNq0uN3EgbEYM/5O2ofXHnwpG20V+IEiPgdctDHshiqDnzE2oM9vRO+/e/XtLjzGhPUTmUbu+zn25jS0owMqgvJWce+3qhgIvwKgEK3rz8xM97me6chfo8Ljm2fITmQD4ZTEnHoQS2edBMMRX0MexqXcbQBe/516VwbNYSqJTZgBSDUg/5b10lNy+EHCn6VRLBcGajlm1ullPLNo/PjZehSLLvjTC2Ty10WrU8qJHMY9dr8+6Nn5ApAUMbgZBm24kKpEVV4S1iTmqPVMQZmz8Z8u5/r3o9Ee1K0NX3QQ0kLDV8y9ccboDIXldj6bpAB459s2ky5mWHLfX1Jx4hPjaTbjw6Z6U6qVP4mj/1VLXWulTLI1Btk6ZsA/Cgm5IVjL30CHH+K+hVnIApsR21I9oF1oElncXOpMrI1OqheOgrrJ7gRFpicI0GHDV0P1M2Mo34ceMjxA5vP4KqVuWfd0fS/pTq3ULdIwjsEICHQ7PA51jkUXGGQFZjAM7g9yg1UU2/NDSnmZE6MVER2a8Tns8ACMB+F8eb/68JLwUTgW1AwlGrVM+ULY72KLUczwP6ajbC6wOzRrxSdNAjlzg4KcC8Mcopm7rbOwUyHi2iAk+XGE/vBUBK1cwvbp1/rAGW9whbfkGCGW/o5n122kqXNz6WWk0a8PlD0xakDhvEnOZtt5UwycHBCRCBafH+nNk+0f+9k8SDKtZYk1in0L0OtCtvNRa6oyhfZ8MSZDWk3Vw4EB1S6G2WYZ2HmXAh03Cr5QUhXAaxBD3Q1Si9oM3PWoRLQ1nL5aK+OZn9WFfG/J8/pxvcKeEpqL14ubCfyObdX+6Xqr5KhJupsGrfoegYKcHNumMjIhtZ7x12ldKafiK6Xo5O+hV/gEkX7RfzRsXWHamUehMnckKL5KM32o8VfdSyq85YrflkRCHjesRrCMoLAhuxpsBEZwmbfIwCZAJZlsoKRIPqXEc2Y5Y54RNqh9zrtnH1cRxzPQ/bNefhcLVxR09qnSJJEy94oRWxFp6F+FNGtbQdAptXvaLqaC/zo6YpoEy/9B9ismk42XpLKJ3woTQKshgDyk8uc89aVf/k2osC140Mn4hQvd3O0ZqWAyDpaKuX5CeuXuN46X0h6ZmUO6AB2DhRJ/Pm58YVdB0G8kjTyYWBXax3UIC6pdXV7cG94UWSjTXR/cbrduQa43bV/CsSxYZB4b4uiXYnmv+rYCkVSC0m+uTbwbcXpY24gE5yS65tfNskDNykbIozU9PYnXdotO+N3cqdtA1SO3jOw55TXlVRUmtb+7Ue+BsV0vxekiZZ4jbnTG88HrJdndNHgNwE0I19At8vWn/2sIHkhl8vqZY8lv8Kb9WEGh8qzUmecmTy+ecgOX9B2Pqmc3kfJdJ7zvTY+h3ZeHw+ljBodfz6WdNNbiVwltQbzqWqgE2BQ7K9IJZcmZ/fSOaMAXqBqahhicTUTOvRICtyIclbriCZ79dZMXmmw9d5qpf70t6XYu/FwR+R1aEd6USXDmFdudRF9se9Tju29GJRbrs0rN0Sf86C/hwpxlUZhyDeZr9cTLpkwkSQGLfpAlXqIzU1rQQkjANCyIZr8Y5gM7Qv2NnOl4ykFnNo+wY1oNA25UtkCA/SWjp9iFY0O+jDMYwtTCjdQEKw8uvLpERrEf7ewLd5/JATy+9lsT9SZDvWBFUhbih+5wJca+/vOsMZFq0F4m5SSbI9pQ/TJa7b6F/+nNVzZnVETwrAtkfIaRw+6p992kBSK9Is/EeiAgeCmcHYee2pKXE2bfLfTo9OyuC2WhYfk7fJZ5cbyKskdGXEtkDvVRtST/cmMEVcoPJvTtjt2U8JVht3dnxpSrjgUdLCt1R9O4hjF/eD5r+nypQeS09VjrzFC6L5bvvRO1zYL3zlSjEqsYGL6McCd69c7FVur9Q1zt72rFOcGrK0BIdOOUunonvuoiyJ9a9xEYhAN748LpwWbdgMSZlmIHvhW/MYUop05QfZnyfMSAj34JZp7FlEcfUJc0OVCXUCWVHmYe7VfYkTYfHsaXaRND0g2VAGLTNBCCyi1di6Sl0cIIZ0ifhj92UAt7VhdGycsyAIZg2MIiR+jLgZPD8l4yJ0T/+P5qkOhWBgP4tGTXrsap2jnSNpYLxTexATO1kw0L/4dCwVvxB4niam/d3bm/rkAcFfc0sboozDxQw6kf1DqUM16ezXqW0ecOHN0k6Tsc8kfrGq8NnZmIR2+7HPqbccpVReaXu5YoNEs8K+DbmeT/WJAsfbzsFTuq2tFSsxogJWPhYEW6OlySPfexFXDRdJd0xf39GoIiqi3craZmHDJ5DraFCjR2P+sTdbe4Uq/7WU9M4dx/jAapgea7ZKs67TpimdXo7Mj9A5wjRZJ/CYdGZLyhSKlfw8ra/satCVOOLFtWhz4zcHsYCAzBlK6RUetscp04fYf0AaJmvnievaxapORhUEOeLmWUnrXQ3Iv1KSHDoRO3k7fWq6Tme1kD9re1JlCmbWSBK3+0/bYb5AG+bss5vAgM/JiMhcOgNgZAoSfdVGmKxXgNKWdY4oqYJSpCrCDRFuAWtMm4KLiYQCRuGkXdyMurHG3ArstdgCJ+oq9K7sUI2qyXUt9S6iiNii9ZDCZHrevNuRZfHB7bhWNa9y3c4LyhEzcwgfAt8m/Av/+CnKzTAkPt84oMUv8o6ONQ3mB6TkTm/4w6zr+kOEVBT7eTNGJoJQz0zohxXA+z+WHaxlS34DGUguSBFJbi0mD5thIct34d1yXepwRw3l/hi3yArU9fKlCpD+7jyWqPRYKB5kXYHDTZKMR80ngRBW/xAV4g+9UPn71rxaL9rutwcHMrfj/niuP3NmZIP7nPghwbN+S4ZPLyu7unWy5GToSD5KAFYS5gEn7XT5vxlsiwIJtNWBghBRbCHB7gF+2RWENL5A+BkQA0CCsPQth17nntqTAdtHxQM55GYkdf2dL9X61PwQH1jaYYzXpahkMEbLQVXbm2OBx5pB5tj1THRgZIO5IblJXLeg8tdOUjm8YxKJlPPmFOJSom0XllWmKjSpmVz5GZxSfaI9VTfBNYU1t7fGywIX7yyB+4hJtMd7zemcd/VSeftmXSdxaH9P63LF2jlkUVrwnh8oqQBEZIfEF9Po7AJ3Sfls5LZ+qQ5SIjnNdAX7uYaheD/cQTyQe+FgyXs3M1bAxRWULbtvSI/G7ivqO+zgEiglR9FiZRAqG91IH5v91IGiyQkqd+Z84gPnX6tE57M75+UVWbtf+LSKckV1YUDPhQHy7NgttVqd9UXpsM3XNdvQQjIBbwT9/s7UPs9Jwdg0oPdRHThzNSH1Q5kc9G2uQwDFviK9267dmB3pm/7+hpwe/0LyNZPR6lGJLlnouSqd1e0HyTQaLclJLtHYyGY5d5VkVTWOJV/I4dVJ5dGjDvTkR5HNKkzIFlEo+v7k6hkYPiumJ+Lk7or0nRZ87ALhat1slpuwpROv65z90nI0LfClvI8nhk1V56TwMIVqZ+5NTRHkKIr7+GMOgBK26nyRxoi20DfpUUTdy6UmBfODTB9Q1eERVOd3tIJ51O3udq1YL7NWHO/eVeNu4y3+AT5x1gfPQENpAqwpGsNYwFV6BWdkRpusSOJVXiEyBAeqCK+Jn9zPJkqieYKrZrHQSICLjQjObz/UtLIb62bzMzXTMeH8V9Em7URScnEoKqA8u7bYE//QmvbvyMK0LMU5/Yy+yYrWlmpzTa9LIjxjkS4QAVAN2fj1vmxvRSavAz+E/OVWAjk3UnZHXeUZiSoieIeTk5drJXJINvwezc7gmqjpJeMSz/5pS4SO30GHni+rwkQVTI9XBUsunGEvBrvFzVgD5E2pIYPIyVMia6XbtXwppQovLHdrIGnhie7sstdp5GqbSArl+RDz7NdqBIqfyQUM+95hLkyaTHDF0BCmG0YGM6EHg4B/RUJX/CurZnmrQ4OPfLtjgXZj53+R0YxyaoivBv7U4X9w7Z1ssr7tO3IPer7H9h7mUnBLUSKOVAEH+Wd/NMZpIepcSSVxuYkv5HZQyknOxpIUGXMwp8PCfMYj6IdwSYJbzNpm4XbnFcPFuR4s/x8TJHVa6LF00CQyEzJvq1IRRVE4J5v5bYn1PjWoB31yFAdb5y3eLaoimOV7uozm/oG8tUgUgwWOc/g83mm7vfqAQxVq3S2PohgvBPhyn9Pz1aHVN6vOL6xIMRIweZLpjmtk9qnzPsLMV5MiGNUsCkXVdp2Gmww3ZQexk7zxc7ogOQ6d6p7Od26R25Pu1tlSk4IFrYn7f4mr+g6zsxIogYvYmORirIxe3M/mAlsVToL/BzQYFYn3UWcODVdJneOQb9m6lCwYbU7xV4nczRwWoRphOR5OHOo9rPZbvd5XXTtDbMa09YCliAD9ROjzWqXgtznonMFDpcee7Af+YMCb7Y/TjY61naxIyzjbvZKs+a0lf807zWs4aQAVVu412ZgJVWtp7s7x2aJ1nTqvG1cjH5qM5jpZXrENv2njzQ38uUwvU+EjMm86uRVWtAooLfr7a4Ih8KjmC1L72UvC4kLQdM0Jv4nS6n7zQkVwI/KY3rARsPostlpG4gLa3hN96zAnUMV4P0wpSj+omVshTf3Q67AAl44kzrjDZou1/U5CcOVHgfGTigr28eYmq78IMWKbxrNkooOpgWxqXCVSP4aK6S2XkJKbhz/7suEZ5L84/RWs0bPHpqtq9Uo2TAku32oe/ma32DaxjaA+Xfk4chcyuQZ/hauV+u0ZEMMzQRJ655zNk4V+WSYeAQDdzjWHwNP5+5oFzWXOe3hf6yJlc5DL4buoqI4KLVxWn+oBNuBc3DULrHST7mAoU2ZMBK0C+g7oZ98YnuijCRss1wMVgjyO+uFNR3LYEZkorq7fqytjlV7oZQ7DnaoGUALnW+wlo35smzqcV9AK/3UWu0AxFf9vSHP10vByO8TvPYA/kN/A6dLEv/RxgzvrqMmV5RrdFomJTHUwOGm4mEY3VYIPvhLG8x1ASupiEa3PEJUAbtP5Js0xGXb2gwyuJ3JW4Mzv3nre9MXLvYx2whJIjHACANShmrkoWdYQVoe1FU7JR7vvYBVCMWvHcZbHB8hBP8cBKWfzH84zrV1R+OEfzWayNBL23FMliANIoDjOOMBkzkLV6tb8kfLAgeAUwDbdXWvmkbf1QePIPKJUpKwfm8NJxtIkr9yKvSP5Nby4bJFQ4I/NZZ+RZHW6ZoJu8kuJzTx+85tQ4lYdefacWCf4cHCDI9yj6aeai9pQNfFlcW7x896Sh9PJlozD+EdGkHb30i5+1Tz3jZ4XWnSLo/CDW6QbJ9LmSirM7gaG51IMEJfthrvuaNkvBqCantb1XbNQhp5NtN9WoWC38sYWDBSmn2XmPX7C42NjAsG68yRJwc78YrqtMklL5fo/ljvbeWnfGdaCvgIvYXZj+KPewB7fdsWJBWoYstrrTbxxHvZtSf4y60ujwj1WIYy0FTqG5eHTItRmGPesdQ264WbwHeZASdyXU8bkLrv8KshYCrwwAy9GbX8Rjiqcu8Ise5D7w/lK3YYMK7nA0PJIV6AdXfwvVtLQkjMm91S9WK5RUOhlbj+KZ/y5lIj0IEqdl4xD+vZj/X9W56yyPmkTMHhmDXhnJ1TXj1TcJpm75Gp6gnHdvQ1V6xewRc3T3fWUvpkvoPGR67EmAzrqN4b3Zx2WrKNBppMcRAm1GS4+rOGKAIpuduoOhJC5t+pzJr3Mgk8WviYMY+a/hSzYW4ckKYXX33moDjRPJzwlvGUS2FHWKAc5UswTXl5fo9RhDhWvl4KQ2HoZbzfM+ohm9ptRUe90Ahcl2QES2DgupkeZEgeg+gyVPFFygdQGPas4OTsTtf7VlUW28OOZ2Y2Sjzzjs8Q0vL/SKTbWMGWEQjq45QfiXOkkNmqYafx4CW1mPXmYd5mpKiR7LY3PKqw9lh7gnWRCwVFsR8gqmAwcEiapTPDMKxadgVFVghVR+SdJmd2+Zpo9E1DIvD7PLsndoHtiKB77ED0Ee4VKQNVyHfRpWC+VqpDxr8kG1ryrlWhMCkUr/fM0Ta6js4ci9sdX5keh/iRvY9JK/oS2Ff136HQ2k+z2BIFFc9Q7tQhtWrcjV5cjCUZ/xSdjz37aq9PTK42F1aS09qkJN2HGdVOPHDLgj1iYzfxeuDRbysqs/l1vsJGmvdK01esHt63ioX/Fl/oyf6BEajmgkupqUbPUHx+4f1Cf+JQZeQkUXdcycjtXwn44BtMowE5g46CrGEcdQMPmPHSxI+o633qqtLssY//O9yGL6f+lFe0MVahl5X8wwBDWRahfhXjJN/WTnok5N8xqg8E7KPAtLUqbRywyEw8EpxDTk70Ub9lm1xbDLM0qlYmido5T3k4kxTBqC/G8ITzWewZfx69rhL8FOVRMqwTL2UQl1AxP4ncKtBN8eVn1G+o04avq7QYkDgSykBrehAgjWmUBgcKSgOEJKxRbcQNDHP3O4UBMM/K8gIj3sQ6mORiwCKkmT2BuT0GxpRcJdVf5NJAUTC+Y2je2crjJDjoRo6ox9YA/ndk6msT71uKRgucFksyBFvPaY7H535G4hv+qiqXVdT9sD886wlldphHvsBDZswTApUWvv9AuRIsluhaTaVIUwpkne1P4iftTYwmhhGus7xC+4/LDG0qJFzegcMDQqFnl0IWrXmcwtlNbEiMofXTqqr4RoPeMo/mPeiTKvtN/4G93PXxnlBbsVC0tX9Bqq4I9XMFhEbeyZt+z+PCpWLJTAPNIHKfVr0kjuxVkltVjOc3zswDmQkGX6p0t1WStABlsw0yleOrkFBoRqgasGjQ7HXxkHwo+FDQw/VSTyM13Wl7LhYAh35vBB2qGq09e8wVg1ulzKI2q+ekbRL3q9VzvKPencSWtPlUlytAm+vBA6lbSrxeOV7vIQyXwSats1GyTy6+freI/PqcbgAqmVGCy6R00lTRMuN5ZblnlFM1NPAWlThvHRObbzGUEMo3tYGQe4BSrYLnJJXKHZ7UoWoeeC8hbUrbjNi4zMuGxy/ftr16uo5D8sO5VWLyUr3G5QcEvMWe5cE38C5GVAnvne7J6mRCIEfN66ASUD79DGNMCF7bkR4EeHTrCbxgcKKwzg+SymZzQ56WzKXo6k490MDgg7dwdQVKt4FOg582rTzVk4lJUcDMAQ65g8M4dIyHS1DwdhsVuOYH3DlRl6MPs7oavjavHsfsW0ykiGmFkzdEqgdJ8Rwv47Zw/5s3pONGSvR+XJDUwjO0i/Q+VJWHcAngDoAaWuOi4JeDIPuN4G1BT6EfW9Y/Fpqvl1/mYthgIOAofhvhzCXCX8FwCBJidW/VEAeVORKVkoaBdqxpThp+zIDxP18cw43khvi7cBXGwM/pVKKvlkW51ZdNrYfa7bhxWpmH+FD1MkVhMEJI1fZ9Fwo/jwdhyNKy9OzC0m1Fdkt7CwqeCLetYhKaHquNbcaYTlCV/yIZbYTzBR5FKcGbfx1jxJYkmOQ/rFyHfvz8M2t/BVdI8YFc6mTwpLSARHBSLejYqgcTruaniuD0NYR5x2nYO1P8rn6OBZ/FtxyPVtCpFU84jE02XuTraG/Sgzs+lIRiWIGXe6F9BK58pLZH+6v6GdiGLzv0CHcFGlv9km1Cs+8D1XAqeH4T8bYytghvN7Bz0IkMbU5fXgM/26t4ZygBvw3ALHnV7RV2/Ty9daJA9cDtT7/H4mom6GmYEceMpP10H3Lm9XlZ7Tjjqwuy3CQNv4OsHYlqy2sBkge72g6K6SwOoKkhzu6cIPXysIS7TTSL2EOPW3rBso/+Oe0kwqzNe8seUhJFhf0KGIjPyjZldtJ4N+AK1u07pd2A8XySADDSRYF1Yszq5rztEPKye30a7L+A6T5sD4Vkhe1DqkrL4FPPuam3VCnXYk67A0kGEFsoVTyJzstNs1cLOvqbdCmUAzrtfN4mkthvFUgYi+9ZaI27f2NxjQEsMcUnlm2LzlQB3ONo5uzqq0P7hgbhC1wh9OwH/pZPtgG8oTUWcufzB3I+ROR4bMAFW8tVW4Z5+kC9KB80HawoOl6gkl7A1Z3rtc4Oj7kdYDqba27IZFxAnJaUSvL3KMZahqzvOkfiemDEBcIpzg4zbjn83w+gr0RU5e4zKNLGIZqHeczPFrlrgr2ZykM0/vlh/8rre+0Axk/BcQZMBdkcOJktf/qQRqj4Q29B2KRWLkEDI/9SQVnMi0qddAS0/0MOp+01QKTaVT+IDCQNpjQE3ay44k/PP3mv0F1ubH/uEh0K4T427eWLp8KhBQ0NJ0RRPblmbePIasRqXNMLx3tg/vang0wzgfUlWBQgtHh59GmUCwHr0q7qJ83QvCFNIA7glC+tmjzjVDUyNpcq2T4q9pyir1kTsJtgYG1oEfPd2jjWr9YDslzQzxj7gyIZAaMIQFh2WPPgiyQmbNcxK0+TlqpoW3CxTJVT1486xUEHa/tOidNm1alDWfUB71+FVrPIvmvQZtPL7D/UxPsiqRmvznJarxU/yrbR3b51Ka3hIoBfQ9YTUmqsElQvpYhS9dpDd5H68z6aGvSMMDCCMK3a4blFyYNyPkt59+gvS+rt62XB/ypFY5/r1c9a0OxWOwHfjxAurL/OrlkXPY+DfjCKoka0pvwiijtfRUcCJOmb1aCOtEBOzN220Y7ca2Jm6iHPA1UaXrs7Ph9UoNlA47YtbmcjHhKptq83xgEz5TkXihfKs5kvRX7A/+LdM56PWMrVj1lq0hdHrApVhtfTVzAsp8i4LeYmlqZXShyDUdc2uD8tUdAa44uA4EtwBZYsPvyLstQswJefKsSkZHnBQ+zv32cJ3KufS6HZDFOPl74Dr7P+wDBtOkUbBrbS8DfQ+p1G4a5WVvUsWgtjHbi7yQJDFuTyABhHD2HFzgPhuXyy5iP4WgXvcxL4sOeYG+PF3j4IlZDamzh8p37wYB0NTPt4TWpIV+xStRX1rB44V0sFAq7gybYNYIyWPfyY+urXOhdi9uy4qt8FsJKCGrKh025GW9aYvB4V4UPNDcQ5Dv5VtLglUHD33BAnnwvGVa79RY5VyC9kRZxL2EkhSKBBFtXGpcxSm2WNPF9+BW8thWIvRZQF4r0sfRXzos8nNVeXSnvLHglCk8U1TOMHdjd1s13z4DsFW5mfzbI7LxaFjYloPrXCUlcKTxjSqTniDZXvJp6glZ2nMZfobony+7wZkjT3Qn/dS40H/6Z3+qweqoVpZf8eCfhjuW8rJ1bYTkeXZJABQ3O0s0ZrlPkhlOyjBjUycaPKJaWvUaUUwddizxR1UDncwg54yt7TFUJDc7mgbIGQgzNtgzGq3A2KJPQktXOER9Owxs1BAT7dFMp8497DlqaVFyeuqAW/azTxzDnoErzsnrcKyOTFxy++pyKwjpbv3VKEAmexyIARbdJmQDCAQQ5g1BCEmK7u5iJzrwPsQWA2/WJFxjebJdILA3SFIE/NUDT5ZczUYx8qyTPzKBwx9B8pwCE8SLUm77DcBCz+HpEGGI8jWfKIQDZryUd/d7lblWKDK5BrEuNVbF8LkNi64PhYaT70U4XiZQTJG04935NTNVH2l5vAm55apagoYYDUGKoP5qhRRycJfBglp3Jg6iz7ytjPCKmD02N2nmvWd0k0DbSbreiDDCbC/eLypfrVl1MF0KwRW4iT8QvpfRPjaXe33LXbHbVdtZG1PZpOnr5VhskpHL0vfbz2GRaY6D9kJpgCikWF+vMxFeK0F6Wu+PGP1geXhnorOdWRcYITNjJqSaakDCUFa/GXpJJNW+VEsU8usiZ2jeJqGjSccKbxtWzjrHWh5adRcOCuEcPZ3l4VqvIRPNTfm8+MoDSpu/fcmAj6YEJI1JYK9SCRdKYE8T4kjw2NihrR4+FqYHA75VBPrGKzc1RCvV9p1C5sPON1WBKNPTqd4zqkJiBqUzHCPKpJQGvURYakGx8PnK07+wEWsb+V+6kzf0whvzlZB+rJV3qx2c60INUbVXx8JWGk08tP5gf0jkrb2cACxTPD4m/7o6UXgXJGM/UlxMVEBIZAM4tGb4+8qmj1vW9GYjsCBYw8Bd0wSwLcxgzaFQgKa543U5JAg1mZwEm0C/lSfT428oepcAuonRG7YutPYSQZLXjkf4qtqTXvLWCj2qhqYGaLpIl+HkbKviuWytKbOo7UPXoixul504XqOlRQbUkazfPbpKQwS5Kz+8ijS4ydc7lWokc43mD9eN5L7DvJAjElKi6jdpta6JkXU22e3S3+4xmETIa/R3Y3T0B8pOHjnXroq60BL8ks0nEurMZqdvyiHNp7FW0W+gPMLr1GKW1gcz7GtTOPwskOcvULOMNlM6IBBkkdRp/VOEOUIS0t4+D1c0qvePTSK+QXn7N9pKwPZczGR7v6Z+GIiislec69MvT9EKKQNWaXVw2NCGxXnYfBJUPBNZStdpW44dZ6EGNxINPCEi+Jaq8EuCqow+1tlQWz0QKlg/Pp8cet1zoWijCLFI5fI2oohZc7IGHpKTkyf6W0du5Uiwpe5K5geDe19wb67qzbFermOYhIUH2wTfINgOlbtzjtqf4jiu6xSK46OzokLt0IthBXBb08mv0Rt057gMnv/5x8+nCEFZCAj2FIE3PWNNqrtnhNHo+rcmiphcq1AvHd/XoHdOn40eq7MP/R9MKWiGe1hkFNrbEoZxzuoCu/hhUgOR+5K9kCxjyfJiM431f4f6Zzb82yM4X6NoB9OBIXy+tmAe8SXQCST16/x9/5IYVzWtbjlEbSQrBXXRopChz6m1zujmfMz6vWYxaAm2q3zoDr4UkVkWRedBXQeXQK59xJmE9717S/8tiYPFJicAVR5syEg3vAuiv4B5B1ncuBHnXpgd2UhAF00vrmHgHrrtGsiB2x9t95Jd8ykmILko1e/HZXJMm4GoWtZgcLEr6dTHA8+vznhDGnlpzuljn3zC03sLq8VM2NJpZ5tsVCMJKhZ+8MqG7766r+dKiUX8yftrTLe+r2G6j5wW2q1thcx2YK1Ir6+sbLU9a2tTPnQmLwSU7Z3Id5jNBL4J0ty/tz2bIpn+ytn91PWj8inffencDjK8p6RJ2SRxz6+mwV9ief0HjyPfx5Cnox3f7mG+VvS87ZZKwpfxj32KtZgfBkynqAha1u90pfhPMrlB6Y9uxTusJxg4cdo2WZTL3lt6TqinjoXki5ZAnfCKOWRY6C+3NrnxZeuoghHIEaLp1AYUsqgJefUaCBvOhtFG5W8vW9sIVWQQY6y1/WgJch8S1asOF2QJjUvgcXFAdXSRiTC2vsBLaKVTSRtv+uTQFYwyUqKHqJ6nwgThXowi5s4eB1sSHEizfogaKwzlPOfE8SSw1p3ssVISyuB2HtCr53a5gZqiuZHy9sr/NPMyse/0YYTn9QxOzf4BxNSXEDeKmP3ZGbTu3x1zodH3qkFYoaoYMoLc5XvN7rv/JmEAaQ5saYNYeDSYJYNtUTxlvPAb3vBGVIG9ZXuVtWLGF2gVFn4HIoqrVyExNnxSk9RsQVmWeBohDOm68wrR8TdTyd/fkvjeiDdmKoXLlO4vW1OFuLqf+RpK2BO1grKCz7BnrrWP4W7tgTZmE+4aTPXAF1hrW1lqZFh2l57NpxLimoapSMFrLDDrxOv+wLnm0YCpGF/HkmXo439XRujmWM5iBdys5g5Ip0DmQlZg1jcA7QW6QFW5gsPEdOcAcEdQeZLAUM1TPn8lllSYT0ndnyTukX3WEfVnn0YNyXM8Rpd7goyjL8XH4roZ11T7MHrrHmVxTnOdfWUlESvoCrPxj8RCVeAgir24jdsVVZAN7/vb3fKP7FkoFXxk4bIf3gZEmyvsSDMF3X5xVM06TQ+ms7Pble3FnxmPPaTG/QO6UQyKQxv4GaO1PphISkJkQidK1mhIJpmmrpyiVtbXwlHQ4E1jqNX+lWb/TjLYfckdXMR66CBu3T2fYPeSUcGynC0ox4letqpQHiATjq6DxsXSyYxeeEJL3jRIGHl2TKEn2XPJrhUyUkyK+B1iU18XO6US3aobNLDHv9wCPHRFcXuvlYrKdN7MZTcHGlj2L3livqZf2h0sUXLi3HnRALNc0G9FGFhbbKxRds0TIFguUTDiQaPd/TVwwvJpEhWdJlxa2FNU0Vr1LqCVH+tFLLgjcsOkrjfEy5kgEpA9MPkiSmzGQ0DsB+fEvqCnZbP5SSSuXpMrFXDlK3bvXABGe9jKtd3CqQ+VINbchVuw2FeDzlUSIbO03VYxmf1ENMDEHSlglrmbYAW/R8y1nG2Bhn/5Qb09y14oYj59NhiOGMRIZ9GM+prQw69FKpVy2xWuNZr/6AEhxIGV/s61p+RMsQUnxiEvq0sFdbqNC95LlgxFX5J9aCgSGcQE1IxtpGKNWEERVDbBobnsr2OdrwV5d0IIZ8ixBsax8VtXIl6ypdRH9y0dueY+ruxIqgQ4LKzriwHHMQZn8SRhaFZqH0doUAUaQlH4JzaGRs+q5qx4/Rr85z0+ep54KdOeqxXjmuGbUva83ZS+FgLswdlBtwcIU/GbxiH43Y1PreV5uRNq1ywRt7bTBj9o6DV5y8PLl03hWr9wr/siPWxaVgtJZZ9mEk7UKLZXsXNCMcrotyPUC45hMviRM+5TA3p8oE70x+/4YtylnY9iz0c3cfwxW/NKxSyx9qSeJQwl70sP5S9zUyRvrIJd6EYe04ikp1i+ScZVCHtqOeMXq/uOjlqJBitQe1Xxih6nCRg0ixOYzxuZe9jwotWcRmlZanv8q7qBNDmn0mEd8hnT/qw1CecKLzrtHK/+ymUwb2NiELZSHi4dKenQp9g2n9i6wI5A9xv2nyO1vnf5tnxrsc5koLENGSuhB5xX3+QkhI8Vp9ZPHxBIe9zUWqO+yCpaTKQQHUREYdOxiu6VRvzF8rdEMOKMOVO789zPpGP3+n9G1EeTSSfjUvtFW6r8uwb5ufspqwgbLa08JIXWnqWOyAdTXEDgAV2E797+oMhBMEUIlkHseC7gbtrH+RAGGPJ2Ye8KhRODdiRrZ08C6W9JHbZX8MFcA6FBM0RfMPrVJ0Z+o4myYJPRfZMT4d0YEVGcfAyvgzq4z8T6N866SWGJ5Xpq3GX2oqwJLRgCa8Twf6/2FzJ4uwTb1CHGplR6s+VXAjdiQVGVgrkRBdJ+7G0b4T23BwxUPSW4sRhzI0TCajoaJNp/pAOc1pr8wH7Wsl2Lg2Mz8fP/zgNktc6nSvcdfdIkKPzv82kZHS0/aIw2mtLNxVaW17TQyMcSjlJOm4xx8FmXZwHkCXVl7kRDXHAGsR4TmsE5FLf74qgwgYEW28tnZp7Tw0TGjE+ibVaml00aWmeeJRqZE3ssh1e4MprruDgpwrbnM0Rnq0UclXMfRXkqKEbxrmP2B8gGidszyHBnLFItcyXoc3E6gO/99mzuiKJTk9Txiuxm2GZR5DGZeyrGIGb8HQf9CYm1bRy708hS5Y1tFIPG7lGoOEpiC41Dd+vp+0o7Rq7MWf9A2rD2x2lGIDuNB1uc3GsqJmy6M3NH8Via7wmd+hSfVTkN7r35++wzCDyo6e+FuQrgr3KXEVqeWAIOgfv8rLDcj1D/TwxLyKjnqUL0BoX1ZzrH+FSjzU9wPufI1dKRL4cBd+ANS/dK6Gcs2oUbTiXiEbw76HROfpi6HMs0iPm1dpnOdCBVGFji6ySIzfrFrWK0Hw1ti25SkfHhBoFtHA0CrnkXJoAukLf69+tbySmpSDwMR4KUfSlqiGcbRtDvTPPZKXEU1iOiOxxKNpoVGcvaXh4mpLMNhGR4AaGbKxM8Y6eXwdD9UoiUu9HfagvO0TQ5aRrz/ZjCMKTiRdykpzkynMzyKDViDdBlESUN1XB2viklY35N8eL5Dq9lNB06ah1cRoQ2dP8vqYKv4X31xuXQZTaf51YbewLl6PDmCg991UAyGpJEgtpavzk97F5bzHpa5G/ySVtFl1mXQyrdYczbHi0dkB0E0O44XPI7pu8PDPM1Hohia6IJLUmj1asE7JFWozOiW1tbXOAwup/kT5q8/xPr76sroPk40zY9K6I/M+skTgYSB1tdXAe91k0rOKNqP8SaJV7KwNEJkWC4tQF0xzOyy3xPfQQIRWSihiY7teFY+XVirJexRqni+BWm4XT10tNrnXwi+ZLgp6noP7zfUnDbW45EuQOTekhSjqYebJ4tICFLwEOOrKdy/hrKJExF4ug7Hxr+sb1y9zKRjUVqgLx59Uaqev19vhR9/S08WkIzTjT5aB+LkDaTqtIZzAqF/zZj7F+hpmsm107OZ5SY621hoT6M2f4zGh9QkjUrGkY+dOHANwYT9r33jtpWqr+ueGAvPsQYFhtWczpvGY2nuTcNlY2l6ZxubDbnAgguisNqfFRYeXWe/iGAsdtDo/PBWYv/7fchnM0Uh2N+od4wGk/oNjpgTZVtWwEDhG/du0SrEYl2IXIRqycncbgPH/dhvbuaYJxgBgopZq+pBizZ37EmzUWfQLLfcBGXmhUT1sMVQ98cPfM3Tm1Da1TV+U72Sj9O82EiyD0f3Cw+P+Ajse7uplnBIOrLnZGBsTL7Eam4eRxcgwITokjQZ7wTx2Q8lEOZ71wf2RcvgHj/HwFgQbNcNdTYIVXUC3s6GauZsI33I1yisUM1yyB2g7boGNDsQkUiQMMn7vOpTqQ7g9pK4eTzq3FBYStiE9GEO+MSVey47APMnAh2c8upvhrBiD41voZYvUzNy7Q28Y7hSiFrzNgRgjTCxAFcvHwMRguVLob0tW65WRmNZSP1K/qUCApJdAnwqhZhIEFIurm/pv9M0sMiRuMwiQnLKAhX7onA1Bz9CGCDoruJ4kVqxCH6z/xeDR04uIXMBE9B1Fm5HGqZc+B+UuXyZn4w+mzjwrYWMeDqhjCe1XkqoYrw8In+cMQw9Z1M3Ish4+JbaJoBshnm7KUhhcg998SyFzuuZXDFCsFG70uMT0WdNcUA2BqrMmETS9pTQ7KN6zBl5dTtPc+IlIJhMTT8KZnmFsPQ7oL+91DW090ZNEmEYr2RTPuRMLpGE7zs5jdJr/cwWY1pP8uR4EtsYNcEc3OeqH3yvNvr/cXA87RBiN0WMKWl1mj8JDZhhy8km8Z5jusqCtnZqy3fbMvMKYG8iy9jgaOJyyv3yMntYVEbIe4CICTzxDRWgd6qz3czD2LNAEZHrr6vqQirEaaBQ88Q/hO70OY50M8sCoee+QHs2Wpjwvj8uihIcz3M302ZEoLWtYnZRWsGS/Hck3rSIfLLUP87uwTyioVJ8SuCS1mLlksBMQTFN36vWXkpd2UpcpqrbN34DMBWs0Dz1aWYpZaZsBZ9a/Ef/lWpgrVkYpA5LYR9LYlcQrtcVVYCiEV05htnqPTArMWrr59hn7GJBNfRAYUILuBLHiI8x9FrFk2IYyPHXmI6lO5RBuW3FnMwyJYR+CiezUU2QFzFUYx/miLLlSGEdjF/tt2v28j98j2+HVI9McV0j5yO7lbqXPfMtd+ZVGl+yoX0HjgEzS8opAEInhUkTeLMxVeygD/4e82vrOOa5w0zS7r+n0p1h7e9gyqfDu1t1AhlkawX+Ury9Ig+cJG7JFOVVmBVkYFJ+X/bvPb2nYwBe5v6Sp76mQxtmvIClTyNaWaq/ECq7lYFJ5bMZw+/k3tiBaTaUqcvKIJSbibAxGE32YCX/77tgjPDHSs1An/PiRYdNqA/pUEnh1afy4EzNJh/0AWzedk0CvVl1BWxostJDHLVSa5YCsJrsrbdLvL/6qe6EDW7fGR7SpbiNTitgtwVvwCrfjXJ9afj4ynmK1ZRzKTwTruFCXMGmGZE4WaR2ctQG4TUsCN8pJllGouGXwAEYMIRjPlRPVDzcBd7NZjzJqPknlRw7uEC3vytDbqzZRUodrNNyiTQV6ZnFmZobnt3CNKqYSZClaRRVdKM5P9W2FtlEGCtoui9IC9QnZDFjyjaDf47m03Vm+GTY9xinN2vl6efSiuAVdyr2M0DEAFPM5fN9PdY4FFkGlY26+HKw5ZgQLlOPSOuGqk8v3RrezrWkHFpopMNfDPvzYaTH6hGc88FLVt1J/pxFNGyxfzifCTaCK+6ZJIsonigl3kzw0SfzlBm7iDwWxbuDXrzTYphlqj2Uh2oOgPPsPtkFxAVWP1lBx1ExYZBbJsycYqjNdBxHH23ixTzjIjhbUjofgM79U0bclj8taca1f9WImTq9y6cEyekLHVg9pdVLgisiiuaXHy3BiE5m0fCZUc69r5dReenXKl00sNuVqIKizoJhcHDrvUr38KFgnE2AnSle6kh4FRLlmehfpU0mH48pQKIzEPUR8DR9EELJ4+6x1F8BZK5JHXguxxOBx68xyRbpZ8Z0wlrIo+g8/hkUDRU08w0pEa/7CgLeMmbIy2vLYqspNKUzMcaLOpe+6WeyXR8akCin6jbYejxmDpsQ9vEF0PLYbW0nCrjyX0jUsijIXgdaR6FaVRqXq/K4SgGEXGAjKZ30pP0eyo04/C+wlNSk5MF1bMZ9Znk9qVWbo+/56y2kG0igl6gP5AjthnhG3Y8YjS9iUIsDevddMOW7O/g5AMHYXsnVly/tbJu+b4M1gBe+M36xfFRubRB17OhtBjCQ9y1erzhCnxhP3qW5UkUYmJ41d3A9pcyROJqN4txlBKDh7TL5x6apJNOPe0VR7haEegEwkET6I6F5kuWz5Q7jtvc0dNcpdB2ariIF0GuqSZUyGLj+8cwrtYOjWYUU6A1694HDLFcYKi7z++tg38bRqoofnf8E+kr71gljjF+gkQuoURMR85QlT6yKhrcS+Jlm8feLjBhvADxAKtpMFesJVURiDi8jmXBt81ldOZg/niZF8CXS5PIx4ZspojVrbwfGwKqK3D46Fcv/w3Oq2F5j578KvgmJ9dbK2nlTw7i61604MkRtjBxl1/z0AyhDtG2Y0A7/F/ldccOPrOhMGV2tUp/6tpER9s8xZEJLIWQy2596Xf0OTw6PgbRov42Jx/9AgewGufczm+CUlefZg8pjJIY8lwQWeZspU2OvmyuU6dOUkyjefvQcI3GDFHrjcv4uXBDqjNwzTuWYUlIMS0pNrtairKr4URam2ebpas9gmsRMeyPUcODGsFkqStW86/Fg3WDfvPrJf4INdQlLE69JW986ZvkaIpXuTxfbM9OdpX1TU112LBiEpnrV/A6CkWWxp8uQ2y/uoluPeZVA2NCW8JQT82opwLEEHdkLg5hKWBuh5HpXUE7S6cezYoBJWiMIFNMhNJ/AQBsafL4LpyReZpTp5CT+EFwvZvOKEo+7sn147Q9+hPnnSg+ouvtFUK/dTnVKN2JO1mqMPzizh9XsmoBO3qaxlb7DM4L3+4NK5bzz86zCzsjkFL4W9XE77U4LrAYGe/OiBXlYdBV95Ngx4uVYE4IqwrcL5QBgzONesSvrafOM3h4qj6IWihkPkCChC/cnACH/hjt3MvSPf4I8Pz6cPxhKjdl+HIqSpwGVn67vG0c1ANPtDHiuTJIwzB+83ZxcfxpLfj0Rnrh4hZ3t1nrVv1prJGW2+wsJyRLIYF9jJdyuor0laiKYfukIlnGIi8U8alLLXkxq4rXnAt4QIWvHyOfRxrKC+8dA6F8znjJVURgfxwHcToSf+XFlRZyDtpxRtcqUTsg2c+DzJVLn/dzekC8/uLX8spowW0HB6N+Pwk7revoVLTmG3bNrcNm/QYMxXlHaghzP/jUbhHWDYNS9jOy55sGA2DRslhf9zRmzfsIv0m4Ajnnx3nht0fRB9qHLe+lfZDGWMteBNAGj/VV7pPqkP0myd4uW8w+biE9+5B7AFydshh0ZUWAdm3bGXhGX2dBMitF5eE5SLJyxXUlWflUIOMNY5ig7mhvyD6eOkRu8IEIkv9jK3uL4QbUk+mflwtS+CJUvY9oAglXABVZJNqwKuvKzfDr2IPNkVuKRZzScT4Ck7DSTelHzVLekZj8wIo5xmnzQb+5vnae+jswZ4z9XSm61b+07BV+QBZUBMWGIbphau/TkpakSMSTAVTXI9863XiwPeBMtRYSY6neGDTOAHcxY0YpG15HTdajzAT0w987aE1Ibv+WApngyrtgn5rYhVEK9HYH00xP/kp21FEyPoZoSit4guSx8lIvBgdGp/lJf1iTYkrOnHMqFnJSE4Oq1CAZF93jV8Ac0rbIjKxrpXj/drIWCTowly+0WRJiAKfkflkoO12CL4pN9PFBhg1o2CgZX3aDnKBCsKwfqWej42fQrW3EGM8O2WmIKsmgCMMOGqZ4aAF/mOEOFXEnxLVPQgfFCRjn7iuLFxj5Mn7Revm3K3qYp5E5LDFCqFXFupH35cD73ZaGTJlyP8iauoQyEXBZonrAzWFm2/XQLCy+e5NKzwAiOSxy1QQyBAmwi6iIwgPMV9ke8jvKIhxC8ZwKHqFfkBiLBRzwH9E225H47dIaoinuj1ZQ2X0ATPtP5R2nk6aapE+st2pxlkfUETmgnvGbokcdp/skwVwQu6/9OmIZ5rOS9VBzNAxxkh5yEHNylRePXwS5VpTUaBsvNCGvkXKbgDOjw72lEn0SPkvjbp2jIJG8mPFG0H9fjPB5Vr8TTH8L1od3Y5HbAXp/uyDDWyWwGR84WjSaRY0rnPgSCzrHzGhNEZNg/uK8gJsbYulIrU38i97hTVupa0Ruh/JzNzGif/ksgxzYixpLyATxJE1nGh+DWJzX8RIIv+S+61mFPwNDqulFy5c63gX3XYvahSpiK6Yr74U340GhQf7ItiWmkKOeeRFcXZqcZn9c3xUbCK1RDhBBvc/wR64B0l9q8nqQzrfQqmQWXLxTh6wu9OdSa+0OzVYHbCcanBHPWsh3YR0Z9QvqFh8UzRCRmZXfKnuhhYa5Ecet6K41jYOd4PXuvJWl+I1f5ssTDLScE/o+u/Qn2uDKkxzZfTWgzTH6DqNViq67/l+YYpmp0pj/IMBcKLfDHmbN7tnu1lNEcdYqYbalsE6936bPAtYK6bE7l4pacljgyYbCLHFNmBqVdPJ7bp4NTjMpQEs/f5VEBfy8+JAbampJOlPKvUSizg1XvLlpqdj/OTL7L/1F1GGDyvhMzvBS9YmoJxZdtuVNDRo6JP7b4AtEtQN5Xi3qRZF4PK7S8nEVbcUZQXxeFFU7B54qLGyrTDbX36f1dICTu951Q0e2/J7J4YJ65rfbOLOMOz9ItQ5EsioxT1RJ50WM66HlIXjnJ1U9yOrm7zn7gC+egR3MrBMMcXuP4oQjCZYr/tYh9wq4X48zJJsK2mE7COhz2YPetLsKM2VxMRVg+4sMTN3yZ90KbV5uQIZ8clMmKHC/a5EQThP6+wR3ASAuMngzJsTOGUPXNzXcEPtpyXOqDqAriVjC41Vaywc8p9ilviFb+NrsdGHbB12be+mNmwGKUQ7z2NaFtzZQXR31Jg53fh3JetU9jIL8OasGxRnGC91AHKgd+XfudJ4xwJD+2ZRr9h6BiEhggeaeeUKbf1dqYPnJ8PAjgbMFa5AH/53FFwbruI0rJvQJ/FUWSXl7rCMzZvKGDPYE/mGUqPKp2LQ6fYly/nHvuin5+8pFf2rT5d6xR28fZ7BBqTN+CPaCor5+eerhhjd+Z0DTUbmGHlc3TcNV83cCXj871v9ssJoozsXDMwE3m9LUF8RqTPfIiTh2ket6ws81pmrV/1/cKppD7/CH9X2rbwUyJ/lobY6mIWgCxK2RbdE2Z7Q8UV/hnQku3Nw8FJr0BLS9U6b4CGAQkTeJcHiuMkoWTekyQrp4amhbu+SzTAvJYwfndPDH0aC72x8DodjuVAUvMXhsJVH6PJx4onkzqvo3IGpSpnXDN1pTOEuDgFLxTzQTDZFVOmJWPibvPMAepoO/SH1PigN1Cf7IBbJQlbGoFmJMdG+7ZGDhAPx/Y7Cjn2xCO02o0O4EDvaxm12zR2PXwqVhj4mmhFErSRVEzzN6dvOJY3yw37bac2rCzBTruuylbKK+4XhmLFPy0QVqCTDadKGD3gwoAvudyrSpPTcqNInloP8DNo354IVQDPU4VauVrEl1PfQP6ArqIb3j/V/D0OttCJrUenpkaG+kK767ll9gCoRLkvJz18tBaJavBkjtvKgkSZQsnwYiHoYrKL/NmvChHjFFYOzQeaaJSs9nkDjqMXQdHCyCjQk+HHMJQBUHyGfMLzN4eH1eL0231A1Eo5NfYWhvpDtfvTD2E1hmp20guj5bIrb3PCLq7LNE+vypcS/TD/YT/tKaKHKrDHBCqXvjHvGAp3tGjH9echjnzM3h9Lh/QFbKluV7qn7hMImski24IFNmESP45jgwUc7l11wd5KRbX62R3Q8z8KZ9rwxzaH81+jbg7mxMnNugJTIUuPIy0YIGKIY6+hup5Te0vWtYM2zPO11M9vmFElyl9iTr23Qbo2KoxIcej1ZPcPQVftffdk9nAGS2Nj819LVQvXd32dZcejSWlIFoapdQ2TZlKIFXLdUtekG7LEhsAA9CSbzySWZFUr4jUMIDbZX+7g9yJ5NGB1WEMbaA4snaluvc6rqzmhr/Wrr0B96Raz5hmqeD5ljmyF2jWo31J3rgk052FqL5jz4LLg2xLufhQc1f0Be1mtEHxcX1RlFcSKsmyv0kXhX/65xlZdM7EaKvLp8eocfYkb1NregyY8yK4lZs+pLrVmIoYAG0KLUWkywvzo1KwpunOf1pRN6wKTuPRxP+xX2i6VL7gPNLRf53UBWFuhI6Jk3iPqeublBs0T9ZWgfnG3aKBJHdvBew6RU8jG9qFO/M4ZwxJSYm4mdxMtuHtDb2xJd3gph6VjM+LPFKpPhqEWpBhHyMJQ/qEby0rgIhzicgjUNgUKpgjRP1ZXBGk/5/SyCJA6YdE9nb7Ch0+gDkkYZdzdAfgOB466B5RUdtoYk9PCIFJ7A8tMz74pcqoIKCGdjg3+JrwG8vkByWE5oUVSBWq6R+jLyhwE44kDYgFJx5qFjCf4WVphcrG6lw3aSOi1NU69oGcW1Vi2IwQgyySW7BWOVgvGMtMeM565pJ2H2UGUuZQW9Ep9oqBWkoFBJ9Sf+jiV4hZx95zQ1wFlVdfuXxH0rp6dy9gA68G0h9S7SPjKuH8YGEIJkP/oAld1Z+qQZNBp7Y8Cr2E08KMmffmMDwB0wOSb/LZt9hGer1zDt2QqSXZ5RGdA8+3LoK1VEkgR7eKt3l32fI5C+21qrsoBFOBwgFTjvWJaXgpbu3iSOnMXDbAr4YlTm5YHgFkeZUb6rIYlIP57WLB8IDPK12sVtzmSnMYssuevWhqF8/fvkRZGcfNfwWFe3qMO8DwIJATSiCZkM2i5HMOOBOc+2Unj93Q0cyNaOumirAP1zHoroLjxyS//AarhYuM75OB4MuZinn/YZht9Av0c0P5PsLFgMABz5/yCos8lhhyahgnIdBs3bLPDbamcKAMRqPpKnsAJtDFPMR4bVpXo99n9JFfL7ICon3laGJMwCaHykJ0qvye3Nb20PdpGCxEbc3+hOYp61g8r4gpdnslsNr2ZhZhkmXqR2UPDDaVEwAAvUjIafAaTefMblou9n1gsWgolNBTVyZVUwmS6FZQ19NVOHOAWxhtV6xjBpRixPdkRk0Swm2oh+VFQ/2o5kvYEiyu5JhNi/OJrw6Nmbm6YANdJZX+fAoXboi6xomuL628BU5N4C2ImqPp5nDeiD8nHioM9zqdsIbogxzMfJM57/yBhmdeV/vTh+RtGv0Sp67i7kpVq8W7hXc0qnn5IQ93V2lYHJK98xo3fTlM6bpq+zW6fne58ArgN/ZarfYzBQuUgS9OUXrzHJMNTbL7peSPgMjjMUNReW6nNLw47fMvZCQg+f0LqgcKlYu+40n1/rhh43lgkWhhC4bDxVAHnAlnMCIfGIx3utr35GHWanTk9AdHBtYSGacWBvZvEoBI1xLecaX4r6pYpUCKU1ozJoWGAXpfZ+vYg52W6WY0BBq8H1CybcFkdrQ2qZkhKQQwDus8fwrQVWxyz3aCdvR43xv83E4fz4nJVLPvgtSlf1GzfrmFtlcUEIzZuALctUMWBFOd/D2BPe8hp9hkKUaDGa+bo1mIelu5yYNYuqIm6S0vUK7hlyt3TWyJSc/6FVAg37S9IbjULGLkU5OnUgYeNA2GdppMbDFLKblEg7/T9XN3a7DMtfR4N3MU9W3FgoaGEo6F76sgjgU+K5D8zG4AHYwiA6RzGA13zZYITMO9SJ4PVjYeVNvUaJBRrkvhVD0nrIUtj2u4E0rs0KWlZ0qxAdSTL4mfN6iIZtP87ob/zAN8zb3pAdLwW8GjkPRKF2yiihAd80rNTWT61l9zbc0/G+Usl0OMnuntk1d5CbfrFI7Y5FSgNyQlAvcUXFPKp7enbSNnDvUn6fVoEyYXmaiiLSNqS+ErRg359FNeW6cicMtgrRY/1F1gjshVFK6DIr6n4hmRFBniILBffC9jisERZgTr/eZsfR04RAiximMYQMjrgdZoJh6lvLHuOXlMZ8siQFHs8Ozael7uaJptdzczEc2PM/PwA1hd9EsbZLApltm2OmGEjuV4eW6dleikPye9ZGxqdc9/dangg47yLJt+xZsKEpSSKYA8rxXvgaFQ3I/IPmgekf8P2N5XXCOr6eUOlDcmJUbBa3O7gFLMrqS45FRRUxYfJ0aOpAgO94NGa+dC1kKKQ20emgKjuDlpDs6HvBKZBOe9BumHnKfSKUHD7kj57yXM1pdi5CnPUWyB/wdieEoNoOEzimg1PCCQWxR4RVVyUPsFxQBlXtYIqprWFIZmozTX0E2TgYva6PDrMDljo4CmSR61M7L4O1cIr4Nyy3iFIC9OoXLMX1MGLZ58R1adlDbCa64GAdW5p041r6gy7I0pLZGU8uxclKtUSVYng7fKBwmrC58Iwkw+EIf+QZDb+L8rXQAxrHevw/X9QWJcydT9fnkt1kgRpNn+MqUYUQye7B2JzP0raEeejU7bd+E+ibioPm6/v6pymC4VbOAZDxt1eJFdJhVYIpJRW9Hvi2WLhFw/fWILmV/qcIdRrvhGWeKLZ6fvviKT+ElOyldxbdkw8fC09/gfouywJXfykKFi8AHSOXt5ILjPsJNv5+f7CRvVyNbVUtNoM66KUK2CDvxEaIQVH3p2H1jyT7qNPHTpsxlB6xHLZ81CtQz9tiERcxGF8upzhjqNFllywI8zGH8i0fUM2VM/lLJ8xj1AKSkcu+BzNGaCNUdZjE9ydLQHjgEzYZnk5zuPqBYg+cunPHp1z6Z8P1I+xOB/FCjQ2ywEWA9xffME88QRIkax2QWSNmLBUNWEWVhecza8bYjrexYg9Ft2kOF1/56XVP3y/JUa1S1cFi2Ojj6xzFjudOHaqSxGqCXTU45l2FwOPMo9k6oW0A+KWLZsX5gk1irEerWihgfuyeu+caUAh1yVtOqKTHhX2rrUXFWjLLuveKg3ts9JeE4UwwQkRyXLBOkotSrjHpkvAH4NrMrYvhKHHwRHdD75E0B8uYX8WJTUEXsFC/dHkHRopUEpoz2sNhGotQQtHqUJ8N9MjGjMwT2NpFhjYMq2/viRS+ywMj+3gJTrLPaD5CSEMHX6vPAEb6snNjBx6VQhb6vcVrADwbiIu74VWFOit2IpPHZHk+8OkSswYKJoEp2tEBC8ewZrlwvZt+aisbjnCPnHTqyHFhpLA4Pl8fIJsRgcASp+Rm7ZT5szBmvpIDIjfQ6Bo1P/GgVPoZMdMyUHDy9agmugr/CsrSNbFsFg52txYElC44gO96GOR6Qa56/hTRRA47WRFPsZ928UWSraVrLnM0m3OqjrAun1nyrvg9tC/0rQ3onNp3DrAOSyV/fFnNEXLKYZrKXP2P0vskbefTa7O7vVLL3adARPzW5CBjlBx24t35w/5uMH2MYw4nxtRVtx0RcYBOXz6mYxZ7tndBU/+P+BKQL3jE0LBFGKzbbIRz+0VayZNy+J4F7IFAAoRl2yBWfJ465Ts97NXQqoyQk6m/9X1zr6n2wrjAZLGS0oEXin8HYuw9bTqTX/DW/+EOW95iFmA9wAwJIG2/bSSp8lAsK3fmtpFbd+wjj/uszAHswZrdnwHTXfivCK+LihEyOKBfXJnrp1KoRDnfgn1lnB1BcJB4G9AtcTeiBDOE1IM6sGa6yLL6NsfLPxWsMpqHtyAIYJk6iu1IP4ZCntOJXoeS2rlvOg7EuoRVp4DFY0T9Tlb1Eidp470kssgdfQeEyzQYVPTigOdaW0VkTMxBScLLSlqD6aY2DgCBWLx1rMTxuC4Ey62Sr/QrKVca3bQNWx932NNrDzGB9Iv85Bsjn0R8IBR42de0kXnottJlhKGwgNlGDaYL90JBGKGl1KiX/vupM0SOEI+nYEt6xiWRpwmLXoN/O0ZVwCL/IMJepT9Qp9lD2Gfogx7BCKmeXy6v+ylRcAD/cd3VgD+nD5BdDW1w6mSBXA2cgaoI53SD0CfeOXyGdnG9uJEe4ZHdIzLsnXtLnk9w092f6vh3HGCxaKjH3RkHCRup3ZTgXHTeE4YOXCw1VIaAUz6rgGwR+kZLpZfZ3Tmlj0CoCTDgf0HYTOiRXBv04mE/4bn/BxeJ/rdFGQOFxXbpJ71UqtMUGHSNHiOEoL+auJP0oadBgtCHbsSsl60sUZ3HzjJoS5QKaAOCsLfc+IMtEUktgWqSHwP/o0mY9tkHJGHSIgac9VIBoxg55wv7BHaMm3WUY8Sjo8i+aZPbuFMGwLI8+JiZ6qc5oiQ+XoRYFmXXO3g2rbYAieYD1L6IZDLZX0bqjnaB2U+i4sQrlm3b5QMc0TL1xnUDCr7iZ7qPPXNv2VpjulAqXTHUlBChJHho1wZQEKyYtnn8WuIOr3TM/sowlaR/rnNtLMLsF1XYNVq4/Perx1YtqJytxTnr233at66x2L/pw8a5z6CA9blaE96df0pgQR5YF2hLPlnQ3Ut5Umggj98iUE7Awr6pXP+2Y70oOTQAL1pNQoj5DzCkRCMbrHxYLoU3BKvGr4xIluT6WCRDmP6A2zznkhTY1ddzgMI5xNxmNq89MKOqwJToBl4cRHDsY9Pp+wQ4DWpSFHz/lIk6NT62Bsdqtt+aY8pG1+4cWCO7rn3eyttNZiP7mwiUMXEo2pUWb4T6GPn4qSlYl9ECnMloVvRNeQpz4uj+ckv4nrj38ENIFs2Szja/DbHAtdUi78bmYbeHLkIGgc5LQjl6bM/pEG7ddGf8N/TonePpqary480BxXcMVsRkj82nsC/AvYp/o9aMsNDcb2Knb8R6XWH/aWQrRhzVgurFWW/Pwv5ZvW9xlQy/Hr0PVWucWKLP25MVBTkwIk048RyTtQKWpZlUf1sQ4ukhTlO62pHnR761CSPfW6WRh8GKsvKPDq0jlz+jcm+pq5UBMrt2njeG5lVhJGeMSEc9jYA+lUPr0EcttuQapURfP9sF9+z9LCqSe3MQ1VpawPH1RwJjRakPhH9lbsnZ2Lb5ooT+qp7mi8FY4ntxyehvQEUX+mnPjtDibP1RysGzd3iF1jOe7m6beCEKmuTZSdw4sD0qm3ub3H10cW68fZcmKoJNBeUaSgtnyQ/YNYWhfURgWyefo9uFsVAuuz3jMq5EoHJTQgLla2kT0mGDaJcIotdQMmcYqZXE7FucMTalsQXXsV47qZkAJj40gozLZEV0l+Sj1KhWGooJYN7ml1JcMMak+88RCov+ETrY2mo10RNNIpaXF/oi52VMjfK8l8aPGLeBOb1uL7Qjobr0Rbzv/wCDHvKylSj6JLmB+K9rtnhztUpTresa9JJ5oWMwlGA0AddUAVJB1b/VUFliH/7uyNeIq+GhQV+UtXgB+cxSasmG1HT03lc+rK5qmtn0tIl4Bxf6xeJGhrvZZ99I84EPlLx0iNg08zrzdwvWq0h1mWv06J4W6Cs64Vk2yAloMv6grzH49o/z/0tOZ7rvZEhZs1VmXZkqCEqhxwUXwfAPOI3XO2sJRy9rS8aJpsP5HgDi/oD/Hapc+9pzVO0Lz+w5BePQlcTECgVWV8+rpeeys0R7yoGNK8QKRwwElh+TaWyC5T0IGRsLbgJ0aiIVMDePag5jAt6XMNFUzhb3I6sm9cutTkR1QgW4Ql54zy35ipWWUccOqgtCCQEjff2zIewdeXNMeuHBtHlSr7+8S0cZ2Ec2BdeAWQa2EJHY0EnvtLmgLqRRff3SSV9b2ExT2spqgpQM5VfOr0gRG8fLdZLC93pwGVymmnXLuCwYG+VJxOF3IKNSgiT2RfR09Zu0RhhBvhA/iq08Rg5PNZaeGdW0K0z6JyFsZqnR9yRPwvTjmVTj58n8SBR0Y2OSAnFEm0QUSQTkXKZE5hP7G9BMS5ZoJi/PBmWRx8JRBqF3YAOiYgN1vjVjyuW9yf2R/xuDOnAkKBx5G9rRmlQ0cuEKGU4Ln3dHbsLWfHQBGP0yKezeqtAaTy/cQguAVOEEQZZCYw/MQC2IQc6ckOywBwpwB7f3U+TwVvwLpS39ZxV+Pr1pyopG+oMdXuxk+Vba356HVAE8vFj8qjwOHyGY2WH7Sm4xvRqlPIihbHqNPTD9bkT/9qYzpIDntMeheInidapEHKIq0X1RkHTpx9ek4jg1HouLvWL7t88BgqsV0QxsrQnjAraG+a4nshSQhanemkjrxEuDCUIweDkPjn1pvEaVIVfQEJ92iR69BLmqDYyRtDojr8u2PW3IzqJqlOo4iSxFlGW/7ryYdlvu8en57L8cV0DSyqooP66erfOimwZ1k46IL5lDmgbbMldVhF3T7IoRcw07Rdz8gmgQLfNwXfeWiryrdOic9Ki2vRhrDifF5dr2tPGQQSQIFvErzAZw4vMPQrBRp8gQ7iBA/ZKVdrLE0KBeAfBgzSovNTGILR4J1DpmWTpOk9M9xsl+h0W6hZfxbjRejQu0t1rZifrBuVV6J6Wz4uai1WIgfYJ+XR7VJP1KZfAKtuGOL66X+4K1QtzbdzWfN7uS2MR95z7BNDxVNbxhcKAAA7qBlmCXEQ/Xvr7d5vvkopAaX74BAt/MmGbkBuvmrcghzCpKIVPfRPstYMce6F5gGUj5SmWNQd0VqLKE1zaQ2o8RPSgJuu5Pxu7rG22ZOTbFG+JrGufqhcPGMnR8F307q+6Vz06Y7fvTLPOWUGR88gbZEXVHSW5rUvUyLAg13ec2cKTI8HxdLEgIpQw7J8bbJhbDZ0LUxLErC4E+X9p8k7Zbg1YnJ1JiGZBUuRRGqKpWs1JwgtsicUOuLPKvh7Dr2190Na+d+tXbZ1Ee4baURbdoUx/iY8/+wVCDasPQf+qFbY5LvlA90EwnFqBMs5VfobhLrFHrXQS/aRcwVcAwEGuu9qHun9qpYdQ8L7KWt1rrzYT1MNxHVgnr0voHq0vdqnioza9uLFjze665gD34hQp/EM5DF8JjCEaDJggKOqM0jiexAik6UUaObQVHtT2E5GJB0jkvo9LB/rvSGRMl/stG5DwC5/RoEdDYmkIdlIU8BPzlPw4hq09lnFvrj7rSAOiKqBE1TDZY8CcXMEztD8Q6x0QFPFyrMGN3chNx3OcVlrxJo2FX1U3jCyKU/KHjN2bkVUOKV46vvAA2V3RuHvKCp3LuPsu5PLIX5bT119VC2t5Klogtr5GmlW/BR+xIJHpOqaRGYbHO1PhIvY7qRJHDS64rGKrNdzQUNTpYP4UJ6G0ttoi1b4c+uBPXfu9qfJQurZS0lmPI8ACf8x7AtAS4Qey0cNJgHq8dalLDaTYbvfTCrNHwoGdp9turEYA9TGZTZ783lPjGDeVZHJh2erCTw0/VUoy7eT7WoHoovLgPlMxyM8+L3mCn+H6HE/hhEKdnI93mgCymAsGlqUK3ipqQJkFfEF//h7lg/BvE7OjE0f0bvD2xvE9t71dGEltl5ti5rsRdSGzGyrl3iEsRaHYfkAN6fKaoE2BMmJPyhK7dVRYEzU/btaFty77lopaDxptC7kMmhOJBfmsHd/YKEcPUCXGKInOqdHI6AV3743+zZ7sg/JbiyUF4f89ldB+cenK+1obR3k0Ffql9wRqgcMBvHRWsI79/hn6nqhwVCvV9yyZ0HvU5j20D33/UhEt9ILMBPEVRjNtSkzP65pBuc18Sh3ipmp0ktXUM+uFoffnyLOCRgUj8rJ0O8KVXMZTQHQTOmpkJ57Df8TQ5F2z2IlRLhgO6VHDR9Q3KZyGIguJsGmIOhFlDYf7b92MMOZDRI/OpusMEnO1Mwzc+l7U+Bh2ZsX6Dwg9LFdlBI2ze8l6ABNuBaRtim5dtt0PT78OQeMkVTkdcNgV2gh9ZYFm2jGh9GHvy4pQX9hNFccpC8BX43aeSaJQuqJbEo2c6vKVYCicEn9P8/qITEAdjLTuiEYb2BnvaVGYxO1KaKX/AIwwYVwxu9p9fLS4sm6co/eyvEy2wRVru/LLyzhI16LtPpG8Opxa/RGWU2F80b9Ap9QhDqV1MCasA+y94oM0UfKjHzVOAeR0HTFVsvpPH6tjnc3Ccu5QrOSlDRBD/S8XyRD1f5vOkkX7Tmsy849NJmO6y/dVlzm9V6DXocERKkrv7YsvbNJNXu8NdYzF2idGL6WyBAJR68Bp+50oKEmsqUIVHyW/HT9BIwFd6J/VN5OzMMDptQmp7UEsE/FuPINLjJAOLbtt8fvw4BNhxg9vmltIFV9ZzfnQtvB/7gyAdNr13qhQkKt5nOePlDf8aNvG4ceBbUv1dlIr1wjIviYMJazIA8PJn7W4ppkChVgSLOS/ZjloWDjCS4uxm56rErJfnvMuqYmcWRhZ1mbhM3TO5m2Hvsc/eAF/gg9RcGgTrL1FvnV24XoLmGSZ9fy7BvJRZRLAncarNllUkDVyJ4GxPXsdix1zzf4MrklR2nDcfTdmZq2K25qQYUSYcB1kA1imK7OxpHhveZEJw1rQx1O6G3hHEUdVQKy0BY+TUO1cnoqIyQUf2zNFR0mbdMrB+az3fZ7LjKykNqwKXlqGUhfbGd508j+eXROnxP4o66S3YgWo4QcDd+7LC8BCMB9cHHO2TdjjI+U19i68nqlY4jeS7zHUBpnhu/joM4GPf8Ksxkx2zCtJj8mp8yj3cROwsKLbjrBGgWfdztmpxLoHYlqW4GFjiAusDrOkyKxC/uWj5GrllLoipxiNk2iCWk3jiQKT147u/LJavXEr0GfuQZHegIovAkzJl7HaxgTJhcVg9cVJJsL5K7dX4fRwCF61EwOSo6b+9Ux4R5J55BOkbhoztAzSy49BAleEbF3F1aJwGLi9G1CO2VNzhHWBR19IBIR8D6P7EPf+/I1nmumOZVThDnbKErQfcsBLBY6JVs9Q9ZoKUirucD+YXJY/cMsSkx7WwXHvSkBHGTBFFvHDvaehy+S8hPj0PKUIYH3t9hwyTyqjFmA/hW3qrwBtQbm9sYLZgH8r3HkVO+/CHyfOYNK2a3JkdBvb89b4Aef345/u09q1VMA5RIvl4cK/g3fQCoSbx1KmsH0jdiah7BqLA4hkIr92YUceCMzJkFJTd4ebIS0th6ZwS86Da9vEeYPRLAi+zscgUWxVIUORw/xXiCVJVzC0VdnSd6KkVXv5D4I3sk3JFBudSpRkzW9sPZij98QlokcIDlilhvIIETprxmqF3aQ7E3l6o6Pi9l/U3aV9kZ0DRkYdLJ7kmqXuWWjanifDw0Iulg2DyDflZFC+/kp5ZM6eeKJCaNRW/spTaVcRynigmM2rFhVC9rB6cnAXZiqwoakSVqooMz+TijxhcAl0I0Y8x/t9mfz5xriUxlGNwVeNw71MBKXqgKCKxrCZzB+ZUmjJFKBXPs7JGaRUOT+4URRO+Onok6xk/HS6RDs8DNIPQFnDlz6SozUF9C3m8XjUkj848QdhW0k+WEGd3DThWnLZsZ0qn8424UBYiUvIDrd20Za36kwi3mZMK33fxqGtKrrwOzOBNVyOmlxiDnbYVRpNnRUcJ37PCWP6fJyE4xCFgCFq5mHBJxFY3hEI9YNxhE0q0FzbFmb4qY0AIz7dwRy9LDAeetY6meyH5vXgtsG2Cs7oNRDm/h7XxwYrNCC8RDh5o+TYXZiUqMojlZuOB4NOmYZ5RRbj7K+PTlkSzYrIhjCOJ2AprFMcCC/9J8hUWve0/Z0tnCXZ8CkQC5dOTT7H2buAni6ZmmScEzKAtI6LVmY50gpDtcleOfpOh4tVZr+AUJnxecoRdQ52EKQasbrXqhOe+OESECKZtzgzGQIMOB8RgFp/OI/En30kbV9KzfdHNKHrOSbl1LlwxSQcq5Q0a4GDhBQEMNoNf3bZslDHKYZxJGrcQX2Ok5zAvwCQInXkh/A44z6fjDx+xxi0Qq9ZdwZ0/c8LawNYZG/6iirLk8swWp7SelkqSMPzUKmAw1qOFawXgY0OAj+/MyCyt6btXbsFdsOIiBcKRrbdw6i5TPOyO1QUPPgFkuIt4T1Q2g7CXQB1I5TtwPs/PEs2a7VyMMGG3n2VMDDu5/CBWgsWc883qRseijkFgSJqRuCx4cJkzYQvcK73QZHPGZ1NMmMjA55a4RiTWvUg/H63ZXV78VWPesBBqlYD/95zO8z4JhByySS3g4wTIJsxbKMoNonXZ+MPjcwOFhET4mCPoO56ieYIXPDSRF31iOQUDT5mhZMZVanHnDFhAFpLZWiXRHwhuapngXHV2h50rRvjsBSmLyGl8CLJn+aLJAbawWZc3W4cRxVvupvyop9cwY3702UjiHPDFAXcafSIpedVZqGY7VOMCRoo3DKzFC0dYCza3kttyt0GORrZJbG/DvVFfmUUb10tUfnHeHWfmVDdZ48MFUbfYpj9QChQCe0ip2REIvYfL0KNmZ1tg/dukO2u7gfSBdwO17V5B+nUr0LD6xxTfiuIHzeuHpxdAtSIO+iUmn338ftiiZfB/jAi9SilgELmli73HZTzwuKJwx10gvVDBZ03QW+vIDV+WUTs/lOUTQpbY5H2LiO3xMM2JLywjDgGxQWqBFRU7HF3okrrtAbOAbGeZaqj8fxwsrkKFddpXyC26YEeZHPYVCXTr2OCbsJsZ/sv/VSoYs3qRMpASoC3+s+GwAuxIB7qmc1EVNUotKLU52L9r2a+7Hire3kzHfQuWYM8yTXZqB08P1wUAk6K+Lk/sx2eDdqLqEd+nn49FkF70ZSAcdJqLspEaqv9QlJvRgNLTOfmJLrut/35TkXKLmOgHOC0R0qrnasxMtKgvvP4VkhiKZspy/1BNinnE/gGVNPK9/OkHHw43zGcUcqnUa6q1mVX9EfHaqB/cPKZ4pBDHz4nMm57CqiytEMQ+zvptIih4erCFQxopX4APjkUw32r+QGTFcfYxOGByvbwpSfn8XOGA2euYJbcaYr5ZstxyWVJaijq4yuv+hSjwCfyVABHVN3tZ2XnTzMRe2UoMm06UC8Kb2W4sv+lLF+QblJBr/nzM5K0GBnUdOfB61CbYpF1O42i8iE6nda2yMMiJmWD09RZVDlaD3rMEyo4HLDvpOHpzqu5x0M5Gvu1hI9/vTeXXKvEu0e4qh0r3vqeVoWtOQTTSY6EXXc7SCBUvGK1ID7m0hVuWFrDc+dZBebCiuM6Rbk865mUiXbu9Md3ZDnz/dbjDfEC/gu1K+bE8huflCQC8aoxR112UEO5VVVh+J7lHHSuMu4sGTs6LFtEkTq6a91e92EfDKoTHBp2+6lGdvy+FRmBooKAb++6oQoKsjtkYFWjLSQlgMTzZHP1+iptP5ZFuW2U/KDgTgD42sDFQpB5WOS6CeRkKiJoaFOz6O3mUsiNqw/wH8cOrCIPOSts9wU+ZWTJsmiqlFVBHTE2NeU20imKVkxtTHq/WpMXcml1zCzxd+u5M/tUdrRLkhnSWQWDl1S/xevLMT1FVKdeZ027YRTtXWhLWhqrlcikE/c+qmjVmcYex6ISbyKGQbBxcIpgTAT5quN1ppG8vyfLqYw7H7e3EyMiwRLYRxTRmhrxPfLC/moALK95Qhe14+mHHja03v4INo79xeFe0Q5M5COrUauY9zpiRy0C3HZAuXbSIJDWsxxZQPVbmY3RQ3nZbR8k4dEDY9mJ7yw06bbc94V4CXJ8+X0X22cb+3G3PPjPC5RVCGGD/x6S4rdBF5aggC9pr9I4RvmswpCZGYTa7aQtLm77q9eLj6ZA+EDxjLvVBYI3mzYNlpFscUo+QbB8MFimBfIpeXYmY8C44FRhHdvlehtcTZEvlnCKkWUwpI24+KqaeWnjLWLRoOgkQ5FG5X99mR6U3sb79cThgGn4LRBmAmmhyrR5ExguAXQVtwHYJaUiRL3ZvsJetKcbdoyYi4TvuAaexyiNCilPqa94mRKOfh/A6EHMmX2ORjm5BKcgxI6UL5ifcBWhf3ulCzJ+ht+UTpkIZCV44BOrrYzZzolILGqWWKKci2oaqlxMm8wcfb+QDYOYuXT+WMOaaO8YmUMPyJWt/RcH/d3YQdZ+yBMTCu+G3mlZsuMCKO7herZMFlqKWKF6QFpkZLrDM/b39KrR8ZhCJ/NsWilXfyQluLeBO2KQjIUifu1RlNAFOoqrOlsIaF9DjeqpdOUNlCfJH+d0VS2voj4/sYWpFvVpXpVjEmafTF1NmFv793dBIgvy0bssoV/r/OyzcLAC+26XlAn7yqVTIEo46RNFEvU3Q2LAjJUBmaSNkkjdtj0VsIodlb8bKE+qQxnCnrkr2U/igWq2eJrq61EG8EJgUMOFCk15cIcoTKFyRj2+mASwGVzw0uqxLngWhj62HrGbEtJGibm2RRiTQsfCfbmOibK4Ve0+zXiNsNDI/tRPrvqUelFp2xeptYUAB8wFOMLph63xclIZtm/0ZjizXZSsvDmlasAa3GdC9JBPo0YfJIQxtsBj3nkStXFxDll0qP84UdtxcTqG3yV+pfPl5L6lwickKEXcX6W3d/ksVxCMvcHzatTgr+ZNTScXqN73s1JerPE4X0P33bl/2HWDwTQ6Bviw1zVJ4FTOnhkaUhHy+mr/FHVjlrDUKy00ZPP9AYHkn3s7H2c8OjsZJdzk86MyqqcWTVXRMGaq6+hfd9ehjMhiQ4NrIfGy9o4BqIwL9YM58L+fMAIxzXkt4vuLwaIFP97HOWc0mT8gXbdyJjbUW4oF0cI1w/AV5zZlRirF0oWKu0vHnxmfjozTnqX6G6pI/UqRaUZPGxqNvg58pkP/BkoLK+Wp6N/9g/KzdZ99iIvyKanIu0aSL1RBbqxDOT0McGEz/qQGZL4eCFXC8NxO/+qYGFDwzZZ9j73rMZ5imDn0xulmH6JlTjH68INgiAJgDpqqwe3pHYvJfDYVLaw6kPse0DaPmMjuiiWl5W7GBrB1yHj3RVTSW6JD5gIHoATWx1dtlHYKAR8IhQbC8ct3Lq3vGK04DNrdmnmnkoT0YC6VYdOAbkhM7bqUs2I/XqsO5HpDDIubWOJYQzNhR0043ul1dpkQt0DE2joAQ6SZKDR13iM1KDcxCDJ8a02kqFNOmk2ge8YwScMTuSviEYN3hKrHEFBjNn2jx4l1/vNR4ebmHI6v/f8nFM17w0EbbMb4BJfYG/a24UxooRgb0b5MxzvbPjrzwjYwxDqasXAia5PVH5vDHGvSg35TG6XNacTa5RnAzQYCp8lw/kT/jy+vaSpEbYUePsQqXb/vsjf09rN/PGNyRx98gU4zni6vSn8iCcYzO3N9OSg6YpOH5XjDbK6cdT0g0pQdOhhe0t+Xef+oMaOT+ED/wz2yRCQ8wYz8vzXyHGOnqV9c83V3EjE0/KqXPN/lTJdkMwtdZ6wc8/7PwL4WPdnbJAHV9ORcKO5K1Pd584t5Lq1AWvhXtKyOH2hSZjDHYHdAuP/mOsC/lowCIY55d8Wnq0lig==" title="Mekko Graphics Chart">
            <a:extLst>
              <a:ext uri="{FF2B5EF4-FFF2-40B4-BE49-F238E27FC236}">
                <a16:creationId xmlns:a16="http://schemas.microsoft.com/office/drawing/2014/main" id="{5AB8A8CB-A07E-473D-B7BC-04E9B34894C8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3166" y="1768020"/>
            <a:ext cx="11523872" cy="445693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D1CE9A2-66B6-435E-B8F5-A4A264064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Awareness funnel</a:t>
            </a:r>
            <a:r>
              <a:rPr lang="en-GB"/>
              <a:t>: </a:t>
            </a:r>
            <a:r>
              <a:rPr lang="pl-PL"/>
              <a:t>X</a:t>
            </a:r>
            <a:r>
              <a:rPr lang="en-AU"/>
              <a:t> clear leader on brand awareness </a:t>
            </a:r>
            <a:r>
              <a:rPr lang="pl-PL"/>
              <a:t>and </a:t>
            </a:r>
            <a:r>
              <a:rPr lang="pl-PL" err="1"/>
              <a:t>usage</a:t>
            </a:r>
            <a:r>
              <a:rPr lang="pl-PL"/>
              <a:t> </a:t>
            </a:r>
            <a:r>
              <a:rPr lang="en-AU"/>
              <a:t>followed by </a:t>
            </a:r>
            <a:r>
              <a:rPr lang="pl-PL"/>
              <a:t>Y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13AAF37-6A8C-4D34-B3B8-1EBDBDA027C1}"/>
              </a:ext>
            </a:extLst>
          </p:cNvPr>
          <p:cNvSpPr/>
          <p:nvPr/>
        </p:nvSpPr>
        <p:spPr bwMode="gray">
          <a:xfrm>
            <a:off x="1610091" y="2188579"/>
            <a:ext cx="976010" cy="3805917"/>
          </a:xfrm>
          <a:prstGeom prst="rect">
            <a:avLst/>
          </a:prstGeom>
          <a:noFill/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btfpRunningAgenda1Level957375">
            <a:extLst>
              <a:ext uri="{FF2B5EF4-FFF2-40B4-BE49-F238E27FC236}">
                <a16:creationId xmlns:a16="http://schemas.microsoft.com/office/drawing/2014/main" id="{7BAC8C83-D6BC-45DB-8D15-E20F1E10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2283602" cy="257442"/>
            <a:chOff x="0" y="876300"/>
            <a:chExt cx="2283602" cy="257442"/>
          </a:xfrm>
        </p:grpSpPr>
        <p:sp>
          <p:nvSpPr>
            <p:cNvPr id="37" name="btfpRunningAgenda1LevelBarLeft957375">
              <a:extLst>
                <a:ext uri="{FF2B5EF4-FFF2-40B4-BE49-F238E27FC236}">
                  <a16:creationId xmlns:a16="http://schemas.microsoft.com/office/drawing/2014/main" id="{2FCCCE7E-7D8A-484E-9C12-8F6DDD76ECDD}"/>
                </a:ext>
              </a:extLst>
            </p:cNvPr>
            <p:cNvSpPr/>
            <p:nvPr/>
          </p:nvSpPr>
          <p:spPr bwMode="gray">
            <a:xfrm>
              <a:off x="0" y="876300"/>
              <a:ext cx="2283602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5"/>
                <a:gd name="connsiteY0" fmla="*/ 0 h 257442"/>
                <a:gd name="connsiteX1" fmla="*/ 888065 w 888065"/>
                <a:gd name="connsiteY1" fmla="*/ 257442 h 257442"/>
                <a:gd name="connsiteX2" fmla="*/ 0 w 888065"/>
                <a:gd name="connsiteY2" fmla="*/ 257442 h 257442"/>
                <a:gd name="connsiteX3" fmla="*/ 0 w 888065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1146368 w 1146368"/>
                <a:gd name="connsiteY0" fmla="*/ 0 h 257442"/>
                <a:gd name="connsiteX1" fmla="*/ 727829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99642 w 1399642"/>
                <a:gd name="connsiteY0" fmla="*/ 0 h 257442"/>
                <a:gd name="connsiteX1" fmla="*/ 1091647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399642 w 1399642"/>
                <a:gd name="connsiteY0" fmla="*/ 0 h 257442"/>
                <a:gd name="connsiteX1" fmla="*/ 1344921 w 1399642"/>
                <a:gd name="connsiteY1" fmla="*/ 257442 h 257442"/>
                <a:gd name="connsiteX2" fmla="*/ 0 w 1399642"/>
                <a:gd name="connsiteY2" fmla="*/ 257442 h 257442"/>
                <a:gd name="connsiteX3" fmla="*/ 0 w 1399642"/>
                <a:gd name="connsiteY3" fmla="*/ 0 h 257442"/>
                <a:gd name="connsiteX0" fmla="*/ 1567957 w 1567957"/>
                <a:gd name="connsiteY0" fmla="*/ 0 h 257442"/>
                <a:gd name="connsiteX1" fmla="*/ 134492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2005577 w 2005577"/>
                <a:gd name="connsiteY0" fmla="*/ 0 h 257442"/>
                <a:gd name="connsiteX1" fmla="*/ 1681552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005577 w 2005577"/>
                <a:gd name="connsiteY0" fmla="*/ 0 h 257442"/>
                <a:gd name="connsiteX1" fmla="*/ 1950856 w 2005577"/>
                <a:gd name="connsiteY1" fmla="*/ 257442 h 257442"/>
                <a:gd name="connsiteX2" fmla="*/ 0 w 2005577"/>
                <a:gd name="connsiteY2" fmla="*/ 257442 h 257442"/>
                <a:gd name="connsiteX3" fmla="*/ 0 w 2005577"/>
                <a:gd name="connsiteY3" fmla="*/ 0 h 257442"/>
                <a:gd name="connsiteX0" fmla="*/ 2183510 w 2183510"/>
                <a:gd name="connsiteY0" fmla="*/ 0 h 257442"/>
                <a:gd name="connsiteX1" fmla="*/ 1950856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0 w 2183510"/>
                <a:gd name="connsiteY0" fmla="*/ 0 h 257442"/>
                <a:gd name="connsiteX1" fmla="*/ 2128788 w 2183510"/>
                <a:gd name="connsiteY1" fmla="*/ 257442 h 257442"/>
                <a:gd name="connsiteX2" fmla="*/ 0 w 2183510"/>
                <a:gd name="connsiteY2" fmla="*/ 257442 h 257442"/>
                <a:gd name="connsiteX3" fmla="*/ 0 w 2183510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2183511 w 2183511"/>
                <a:gd name="connsiteY0" fmla="*/ 0 h 257442"/>
                <a:gd name="connsiteX1" fmla="*/ 2128789 w 2183511"/>
                <a:gd name="connsiteY1" fmla="*/ 257442 h 257442"/>
                <a:gd name="connsiteX2" fmla="*/ 0 w 2183511"/>
                <a:gd name="connsiteY2" fmla="*/ 257442 h 257442"/>
                <a:gd name="connsiteX3" fmla="*/ 1 w 2183511"/>
                <a:gd name="connsiteY3" fmla="*/ 0 h 257442"/>
                <a:gd name="connsiteX0" fmla="*/ 782551 w 2128789"/>
                <a:gd name="connsiteY0" fmla="*/ 0 h 257442"/>
                <a:gd name="connsiteX1" fmla="*/ 2128789 w 2128789"/>
                <a:gd name="connsiteY1" fmla="*/ 257442 h 257442"/>
                <a:gd name="connsiteX2" fmla="*/ 0 w 2128789"/>
                <a:gd name="connsiteY2" fmla="*/ 257442 h 257442"/>
                <a:gd name="connsiteX3" fmla="*/ 1 w 2128789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0 w 782551"/>
                <a:gd name="connsiteY2" fmla="*/ 257442 h 257442"/>
                <a:gd name="connsiteX3" fmla="*/ 1 w 782551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1 w 782551"/>
                <a:gd name="connsiteY0" fmla="*/ 0 h 257442"/>
                <a:gd name="connsiteX1" fmla="*/ 727830 w 782551"/>
                <a:gd name="connsiteY1" fmla="*/ 257442 h 257442"/>
                <a:gd name="connsiteX2" fmla="*/ 1 w 782551"/>
                <a:gd name="connsiteY2" fmla="*/ 257442 h 257442"/>
                <a:gd name="connsiteX3" fmla="*/ 0 w 782551"/>
                <a:gd name="connsiteY3" fmla="*/ 0 h 257442"/>
                <a:gd name="connsiteX0" fmla="*/ 950802 w 950802"/>
                <a:gd name="connsiteY0" fmla="*/ 0 h 257442"/>
                <a:gd name="connsiteX1" fmla="*/ 72783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0 w 950802"/>
                <a:gd name="connsiteY1" fmla="*/ 257442 h 257442"/>
                <a:gd name="connsiteX2" fmla="*/ 0 w 950802"/>
                <a:gd name="connsiteY2" fmla="*/ 257442 h 257442"/>
                <a:gd name="connsiteX3" fmla="*/ 0 w 950802"/>
                <a:gd name="connsiteY3" fmla="*/ 0 h 257442"/>
                <a:gd name="connsiteX0" fmla="*/ 1145918 w 1145918"/>
                <a:gd name="connsiteY0" fmla="*/ 0 h 257442"/>
                <a:gd name="connsiteX1" fmla="*/ 896080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145918 w 1145918"/>
                <a:gd name="connsiteY0" fmla="*/ 0 h 257442"/>
                <a:gd name="connsiteX1" fmla="*/ 1091197 w 1145918"/>
                <a:gd name="connsiteY1" fmla="*/ 257442 h 257442"/>
                <a:gd name="connsiteX2" fmla="*/ 0 w 1145918"/>
                <a:gd name="connsiteY2" fmla="*/ 257442 h 257442"/>
                <a:gd name="connsiteX3" fmla="*/ 0 w 1145918"/>
                <a:gd name="connsiteY3" fmla="*/ 0 h 257442"/>
                <a:gd name="connsiteX0" fmla="*/ 1474085 w 1474085"/>
                <a:gd name="connsiteY0" fmla="*/ 0 h 257442"/>
                <a:gd name="connsiteX1" fmla="*/ 1091197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474085 w 1474085"/>
                <a:gd name="connsiteY0" fmla="*/ 0 h 257442"/>
                <a:gd name="connsiteX1" fmla="*/ 1419364 w 1474085"/>
                <a:gd name="connsiteY1" fmla="*/ 257442 h 257442"/>
                <a:gd name="connsiteX2" fmla="*/ 0 w 1474085"/>
                <a:gd name="connsiteY2" fmla="*/ 257442 h 257442"/>
                <a:gd name="connsiteX3" fmla="*/ 0 w 1474085"/>
                <a:gd name="connsiteY3" fmla="*/ 0 h 257442"/>
                <a:gd name="connsiteX0" fmla="*/ 1634385 w 1634385"/>
                <a:gd name="connsiteY0" fmla="*/ 0 h 257442"/>
                <a:gd name="connsiteX1" fmla="*/ 14193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634385 w 1634385"/>
                <a:gd name="connsiteY0" fmla="*/ 0 h 257442"/>
                <a:gd name="connsiteX1" fmla="*/ 1579664 w 1634385"/>
                <a:gd name="connsiteY1" fmla="*/ 257442 h 257442"/>
                <a:gd name="connsiteX2" fmla="*/ 0 w 1634385"/>
                <a:gd name="connsiteY2" fmla="*/ 257442 h 257442"/>
                <a:gd name="connsiteX3" fmla="*/ 0 w 1634385"/>
                <a:gd name="connsiteY3" fmla="*/ 0 h 257442"/>
                <a:gd name="connsiteX0" fmla="*/ 1802701 w 1802701"/>
                <a:gd name="connsiteY0" fmla="*/ 0 h 257442"/>
                <a:gd name="connsiteX1" fmla="*/ 1579664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802701 w 1802701"/>
                <a:gd name="connsiteY0" fmla="*/ 0 h 257442"/>
                <a:gd name="connsiteX1" fmla="*/ 1747980 w 1802701"/>
                <a:gd name="connsiteY1" fmla="*/ 257442 h 257442"/>
                <a:gd name="connsiteX2" fmla="*/ 0 w 1802701"/>
                <a:gd name="connsiteY2" fmla="*/ 257442 h 257442"/>
                <a:gd name="connsiteX3" fmla="*/ 0 w 1802701"/>
                <a:gd name="connsiteY3" fmla="*/ 0 h 257442"/>
                <a:gd name="connsiteX0" fmla="*/ 1963001 w 1963001"/>
                <a:gd name="connsiteY0" fmla="*/ 0 h 257442"/>
                <a:gd name="connsiteX1" fmla="*/ 17479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2131316 w 2131316"/>
                <a:gd name="connsiteY0" fmla="*/ 0 h 257442"/>
                <a:gd name="connsiteX1" fmla="*/ 1908280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6 w 2131316"/>
                <a:gd name="connsiteY0" fmla="*/ 0 h 257442"/>
                <a:gd name="connsiteX1" fmla="*/ 2076594 w 2131316"/>
                <a:gd name="connsiteY1" fmla="*/ 257442 h 257442"/>
                <a:gd name="connsiteX2" fmla="*/ 0 w 2131316"/>
                <a:gd name="connsiteY2" fmla="*/ 257442 h 257442"/>
                <a:gd name="connsiteX3" fmla="*/ 0 w 2131316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131317 w 2131317"/>
                <a:gd name="connsiteY0" fmla="*/ 0 h 257442"/>
                <a:gd name="connsiteX1" fmla="*/ 2076595 w 2131317"/>
                <a:gd name="connsiteY1" fmla="*/ 257442 h 257442"/>
                <a:gd name="connsiteX2" fmla="*/ 0 w 2131317"/>
                <a:gd name="connsiteY2" fmla="*/ 257442 h 257442"/>
                <a:gd name="connsiteX3" fmla="*/ 1 w 2131317"/>
                <a:gd name="connsiteY3" fmla="*/ 0 h 257442"/>
                <a:gd name="connsiteX0" fmla="*/ 2299633 w 2299633"/>
                <a:gd name="connsiteY0" fmla="*/ 0 h 257442"/>
                <a:gd name="connsiteX1" fmla="*/ 2076595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0 w 2299633"/>
                <a:gd name="connsiteY2" fmla="*/ 257442 h 257442"/>
                <a:gd name="connsiteX3" fmla="*/ 1 w 2299633"/>
                <a:gd name="connsiteY3" fmla="*/ 0 h 257442"/>
                <a:gd name="connsiteX0" fmla="*/ 2299632 w 2299632"/>
                <a:gd name="connsiteY0" fmla="*/ 0 h 257442"/>
                <a:gd name="connsiteX1" fmla="*/ 2244911 w 2299632"/>
                <a:gd name="connsiteY1" fmla="*/ 257442 h 257442"/>
                <a:gd name="connsiteX2" fmla="*/ 0 w 2299632"/>
                <a:gd name="connsiteY2" fmla="*/ 257442 h 257442"/>
                <a:gd name="connsiteX3" fmla="*/ 0 w 2299632"/>
                <a:gd name="connsiteY3" fmla="*/ 0 h 257442"/>
                <a:gd name="connsiteX0" fmla="*/ 2299633 w 2299633"/>
                <a:gd name="connsiteY0" fmla="*/ 0 h 257442"/>
                <a:gd name="connsiteX1" fmla="*/ 2244912 w 2299633"/>
                <a:gd name="connsiteY1" fmla="*/ 257442 h 257442"/>
                <a:gd name="connsiteX2" fmla="*/ 1 w 2299633"/>
                <a:gd name="connsiteY2" fmla="*/ 257442 h 257442"/>
                <a:gd name="connsiteX3" fmla="*/ 0 w 2299633"/>
                <a:gd name="connsiteY3" fmla="*/ 0 h 257442"/>
                <a:gd name="connsiteX0" fmla="*/ 2131317 w 2244912"/>
                <a:gd name="connsiteY0" fmla="*/ 0 h 257442"/>
                <a:gd name="connsiteX1" fmla="*/ 2244912 w 2244912"/>
                <a:gd name="connsiteY1" fmla="*/ 257442 h 257442"/>
                <a:gd name="connsiteX2" fmla="*/ 1 w 2244912"/>
                <a:gd name="connsiteY2" fmla="*/ 257442 h 257442"/>
                <a:gd name="connsiteX3" fmla="*/ 0 w 2244912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1 w 2131317"/>
                <a:gd name="connsiteY2" fmla="*/ 257442 h 257442"/>
                <a:gd name="connsiteX3" fmla="*/ 0 w 2131317"/>
                <a:gd name="connsiteY3" fmla="*/ 0 h 257442"/>
                <a:gd name="connsiteX0" fmla="*/ 2131317 w 2131317"/>
                <a:gd name="connsiteY0" fmla="*/ 0 h 257442"/>
                <a:gd name="connsiteX1" fmla="*/ 2076596 w 2131317"/>
                <a:gd name="connsiteY1" fmla="*/ 257442 h 257442"/>
                <a:gd name="connsiteX2" fmla="*/ 2 w 2131317"/>
                <a:gd name="connsiteY2" fmla="*/ 257442 h 257442"/>
                <a:gd name="connsiteX3" fmla="*/ 0 w 2131317"/>
                <a:gd name="connsiteY3" fmla="*/ 0 h 257442"/>
                <a:gd name="connsiteX0" fmla="*/ 2131315 w 2131315"/>
                <a:gd name="connsiteY0" fmla="*/ 0 h 257442"/>
                <a:gd name="connsiteX1" fmla="*/ 2076594 w 2131315"/>
                <a:gd name="connsiteY1" fmla="*/ 257442 h 257442"/>
                <a:gd name="connsiteX2" fmla="*/ 0 w 2131315"/>
                <a:gd name="connsiteY2" fmla="*/ 257442 h 257442"/>
                <a:gd name="connsiteX3" fmla="*/ 0 w 2131315"/>
                <a:gd name="connsiteY3" fmla="*/ 0 h 257442"/>
                <a:gd name="connsiteX0" fmla="*/ 1963001 w 2076594"/>
                <a:gd name="connsiteY0" fmla="*/ 0 h 257442"/>
                <a:gd name="connsiteX1" fmla="*/ 2076594 w 2076594"/>
                <a:gd name="connsiteY1" fmla="*/ 257442 h 257442"/>
                <a:gd name="connsiteX2" fmla="*/ 0 w 2076594"/>
                <a:gd name="connsiteY2" fmla="*/ 257442 h 257442"/>
                <a:gd name="connsiteX3" fmla="*/ 0 w 2076594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0 w 1963001"/>
                <a:gd name="connsiteY2" fmla="*/ 257442 h 257442"/>
                <a:gd name="connsiteX3" fmla="*/ 0 w 1963001"/>
                <a:gd name="connsiteY3" fmla="*/ 0 h 257442"/>
                <a:gd name="connsiteX0" fmla="*/ 1963001 w 1963001"/>
                <a:gd name="connsiteY0" fmla="*/ 0 h 257442"/>
                <a:gd name="connsiteX1" fmla="*/ 1908280 w 1963001"/>
                <a:gd name="connsiteY1" fmla="*/ 257442 h 257442"/>
                <a:gd name="connsiteX2" fmla="*/ 1 w 1963001"/>
                <a:gd name="connsiteY2" fmla="*/ 257442 h 257442"/>
                <a:gd name="connsiteX3" fmla="*/ 0 w 1963001"/>
                <a:gd name="connsiteY3" fmla="*/ 0 h 257442"/>
                <a:gd name="connsiteX0" fmla="*/ 1963000 w 1963000"/>
                <a:gd name="connsiteY0" fmla="*/ 0 h 257442"/>
                <a:gd name="connsiteX1" fmla="*/ 1908279 w 1963000"/>
                <a:gd name="connsiteY1" fmla="*/ 257442 h 257442"/>
                <a:gd name="connsiteX2" fmla="*/ 0 w 1963000"/>
                <a:gd name="connsiteY2" fmla="*/ 257442 h 257442"/>
                <a:gd name="connsiteX3" fmla="*/ 0 w 1963000"/>
                <a:gd name="connsiteY3" fmla="*/ 0 h 257442"/>
                <a:gd name="connsiteX0" fmla="*/ 2123301 w 2123301"/>
                <a:gd name="connsiteY0" fmla="*/ 0 h 257442"/>
                <a:gd name="connsiteX1" fmla="*/ 1908279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1 w 2123301"/>
                <a:gd name="connsiteY0" fmla="*/ 0 h 257442"/>
                <a:gd name="connsiteX1" fmla="*/ 2068580 w 2123301"/>
                <a:gd name="connsiteY1" fmla="*/ 257442 h 257442"/>
                <a:gd name="connsiteX2" fmla="*/ 0 w 2123301"/>
                <a:gd name="connsiteY2" fmla="*/ 257442 h 257442"/>
                <a:gd name="connsiteX3" fmla="*/ 0 w 2123301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1 w 2123302"/>
                <a:gd name="connsiteY3" fmla="*/ 0 h 257442"/>
                <a:gd name="connsiteX0" fmla="*/ 2123302 w 2123302"/>
                <a:gd name="connsiteY0" fmla="*/ 0 h 257442"/>
                <a:gd name="connsiteX1" fmla="*/ 2068581 w 2123302"/>
                <a:gd name="connsiteY1" fmla="*/ 257442 h 257442"/>
                <a:gd name="connsiteX2" fmla="*/ 0 w 2123302"/>
                <a:gd name="connsiteY2" fmla="*/ 257442 h 257442"/>
                <a:gd name="connsiteX3" fmla="*/ 0 w 2123302"/>
                <a:gd name="connsiteY3" fmla="*/ 0 h 257442"/>
                <a:gd name="connsiteX0" fmla="*/ 2283602 w 2283602"/>
                <a:gd name="connsiteY0" fmla="*/ 0 h 257442"/>
                <a:gd name="connsiteX1" fmla="*/ 20685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  <a:gd name="connsiteX0" fmla="*/ 2283602 w 2283602"/>
                <a:gd name="connsiteY0" fmla="*/ 0 h 257442"/>
                <a:gd name="connsiteX1" fmla="*/ 2228881 w 2283602"/>
                <a:gd name="connsiteY1" fmla="*/ 257442 h 257442"/>
                <a:gd name="connsiteX2" fmla="*/ 0 w 2283602"/>
                <a:gd name="connsiteY2" fmla="*/ 257442 h 257442"/>
                <a:gd name="connsiteX3" fmla="*/ 0 w 228360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602" h="257442">
                  <a:moveTo>
                    <a:pt x="2283602" y="0"/>
                  </a:moveTo>
                  <a:lnTo>
                    <a:pt x="2228881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1LevelTextLeft957375">
              <a:extLst>
                <a:ext uri="{FF2B5EF4-FFF2-40B4-BE49-F238E27FC236}">
                  <a16:creationId xmlns:a16="http://schemas.microsoft.com/office/drawing/2014/main" id="{F1E276B5-1D3B-4ADE-8100-70CEDC8CC41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8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wareness</a:t>
              </a:r>
              <a:endParaRPr kumimoji="0" lang="en-GB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116886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btfpColumnIndicatorGroup2">
            <a:extLst>
              <a:ext uri="{FF2B5EF4-FFF2-40B4-BE49-F238E27FC236}">
                <a16:creationId xmlns:a16="http://schemas.microsoft.com/office/drawing/2014/main" id="{8A546247-FAE9-48D6-A12C-5ED84A8FB85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717942">
              <a:extLst>
                <a:ext uri="{FF2B5EF4-FFF2-40B4-BE49-F238E27FC236}">
                  <a16:creationId xmlns:a16="http://schemas.microsoft.com/office/drawing/2014/main" id="{FBBF987E-178B-4299-8D23-7A737E2196E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879323">
              <a:extLst>
                <a:ext uri="{FF2B5EF4-FFF2-40B4-BE49-F238E27FC236}">
                  <a16:creationId xmlns:a16="http://schemas.microsoft.com/office/drawing/2014/main" id="{CA3A522A-2A6B-42ED-9B2C-A61DD33D5A2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596148">
              <a:extLst>
                <a:ext uri="{FF2B5EF4-FFF2-40B4-BE49-F238E27FC236}">
                  <a16:creationId xmlns:a16="http://schemas.microsoft.com/office/drawing/2014/main" id="{D1651392-B460-4234-9053-E6241EBBE56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558622">
              <a:extLst>
                <a:ext uri="{FF2B5EF4-FFF2-40B4-BE49-F238E27FC236}">
                  <a16:creationId xmlns:a16="http://schemas.microsoft.com/office/drawing/2014/main" id="{F2847362-F443-4248-A748-1A628F8F3DC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ColumnIndicatorGroup1">
            <a:extLst>
              <a:ext uri="{FF2B5EF4-FFF2-40B4-BE49-F238E27FC236}">
                <a16:creationId xmlns:a16="http://schemas.microsoft.com/office/drawing/2014/main" id="{68CE209A-01B8-48C2-B40A-31D7FC6D36B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337366">
              <a:extLst>
                <a:ext uri="{FF2B5EF4-FFF2-40B4-BE49-F238E27FC236}">
                  <a16:creationId xmlns:a16="http://schemas.microsoft.com/office/drawing/2014/main" id="{4E85E93C-C3A5-4F70-9E61-DD5AFC26A8A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588751">
              <a:extLst>
                <a:ext uri="{FF2B5EF4-FFF2-40B4-BE49-F238E27FC236}">
                  <a16:creationId xmlns:a16="http://schemas.microsoft.com/office/drawing/2014/main" id="{7BB2EBD5-D3CF-4A6B-AD09-9FE23BE2AB1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905137">
              <a:extLst>
                <a:ext uri="{FF2B5EF4-FFF2-40B4-BE49-F238E27FC236}">
                  <a16:creationId xmlns:a16="http://schemas.microsoft.com/office/drawing/2014/main" id="{CFDA51AB-0C77-4FEF-AD01-39A4E9D1B42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86845">
              <a:extLst>
                <a:ext uri="{FF2B5EF4-FFF2-40B4-BE49-F238E27FC236}">
                  <a16:creationId xmlns:a16="http://schemas.microsoft.com/office/drawing/2014/main" id="{EBCC63FC-4CD4-43D9-BB3C-3D716120C09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BD05633-818A-4050-9F16-0E9919DF6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Use cases: </a:t>
            </a:r>
            <a:r>
              <a:rPr lang="en-GB"/>
              <a:t>Target used primarily for Channel XX and XX</a:t>
            </a:r>
          </a:p>
        </p:txBody>
      </p:sp>
      <p:graphicFrame>
        <p:nvGraphicFramePr>
          <p:cNvPr id="15" name="btfpTable516243">
            <a:extLst>
              <a:ext uri="{FF2B5EF4-FFF2-40B4-BE49-F238E27FC236}">
                <a16:creationId xmlns:a16="http://schemas.microsoft.com/office/drawing/2014/main" id="{ADC2572F-684B-46E1-9388-2C0379415A67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20674" y="1943930"/>
          <a:ext cx="11510597" cy="4167208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796947">
                  <a:extLst>
                    <a:ext uri="{9D8B030D-6E8A-4147-A177-3AD203B41FA5}">
                      <a16:colId xmlns:a16="http://schemas.microsoft.com/office/drawing/2014/main" val="3718533098"/>
                    </a:ext>
                  </a:extLst>
                </a:gridCol>
                <a:gridCol w="1491795">
                  <a:extLst>
                    <a:ext uri="{9D8B030D-6E8A-4147-A177-3AD203B41FA5}">
                      <a16:colId xmlns:a16="http://schemas.microsoft.com/office/drawing/2014/main" val="1495286223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503382743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1402709331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3438790920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1335461218"/>
                    </a:ext>
                  </a:extLst>
                </a:gridCol>
                <a:gridCol w="1644371">
                  <a:extLst>
                    <a:ext uri="{9D8B030D-6E8A-4147-A177-3AD203B41FA5}">
                      <a16:colId xmlns:a16="http://schemas.microsoft.com/office/drawing/2014/main" val="2148792749"/>
                    </a:ext>
                  </a:extLst>
                </a:gridCol>
              </a:tblGrid>
              <a:tr h="44310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Channels/source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1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2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4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5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or 6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 = XX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809163749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Channel 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005430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403837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8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015488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572931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 b="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50379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6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146510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7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125345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8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041605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9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895048"/>
                  </a:ext>
                </a:extLst>
              </a:tr>
              <a:tr h="37241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nnel 10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6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latin typeface="+mn-lt"/>
                        </a:rPr>
                        <a:t>8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7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latin typeface="+mn-lt"/>
                        </a:rPr>
                        <a:t>3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GB" sz="1100">
                          <a:solidFill>
                            <a:schemeClr val="bg1"/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994752"/>
                  </a:ext>
                </a:extLst>
              </a:tr>
            </a:tbl>
          </a:graphicData>
        </a:graphic>
      </p:graphicFrame>
      <p:sp>
        <p:nvSpPr>
          <p:cNvPr id="26" name="btfpNotesBox117783">
            <a:extLst>
              <a:ext uri="{FF2B5EF4-FFF2-40B4-BE49-F238E27FC236}">
                <a16:creationId xmlns:a16="http://schemas.microsoft.com/office/drawing/2014/main" id="{E32F397A-CC19-4E04-9145-132FCBD089F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Table values represent % of respondents selecting each channel option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7413267-3B0D-4BD6-A08B-F7580E6A6C6A}"/>
              </a:ext>
            </a:extLst>
          </p:cNvPr>
          <p:cNvSpPr/>
          <p:nvPr/>
        </p:nvSpPr>
        <p:spPr bwMode="gray">
          <a:xfrm>
            <a:off x="340699" y="1350954"/>
            <a:ext cx="11510599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each of your top (up to) 5 Programmatic Advertising managed services provider(s) by % of spend, can you please select the channels and capabilities that you are using them for?</a:t>
            </a:r>
            <a:endParaRPr kumimoji="0" lang="en-GB" sz="10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E388BC5-F8BC-4E50-A5DD-AC0B065D0346}"/>
              </a:ext>
            </a:extLst>
          </p:cNvPr>
          <p:cNvSpPr txBox="1"/>
          <p:nvPr/>
        </p:nvSpPr>
        <p:spPr bwMode="gray">
          <a:xfrm>
            <a:off x="8010252" y="6240610"/>
            <a:ext cx="486120" cy="195814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</a:t>
            </a:r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6F6356D9-7EE0-4195-B00C-473AD65E2BC1}"/>
              </a:ext>
            </a:extLst>
          </p:cNvPr>
          <p:cNvGraphicFramePr>
            <a:graphicFrameLocks noGrp="1"/>
          </p:cNvGraphicFramePr>
          <p:nvPr/>
        </p:nvGraphicFramePr>
        <p:xfrm>
          <a:off x="8496372" y="6241220"/>
          <a:ext cx="3360666" cy="2105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0111">
                  <a:extLst>
                    <a:ext uri="{9D8B030D-6E8A-4147-A177-3AD203B41FA5}">
                      <a16:colId xmlns:a16="http://schemas.microsoft.com/office/drawing/2014/main" val="3933447932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2817919543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1360854354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954812982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560111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210573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-20%</a:t>
                      </a:r>
                    </a:p>
                  </a:txBody>
                  <a:tcPr marL="7620" marR="7620" marT="7620" marB="0" anchor="ctr"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-40%</a:t>
                      </a:r>
                    </a:p>
                  </a:txBody>
                  <a:tcPr marL="7620" marR="7620" marT="7620" marB="0" anchor="ctr"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-60%</a:t>
                      </a:r>
                    </a:p>
                  </a:txBody>
                  <a:tcPr marL="7620" marR="7620" marT="7620" marB="0" anchor="ctr"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-70%</a:t>
                      </a: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1%-85%</a:t>
                      </a:r>
                    </a:p>
                  </a:txBody>
                  <a:tcPr marL="7620" marR="7620" marT="762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GB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6-100%</a:t>
                      </a: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grpSp>
        <p:nvGrpSpPr>
          <p:cNvPr id="7" name="btfpRunningAgenda2Level737640">
            <a:extLst>
              <a:ext uri="{FF2B5EF4-FFF2-40B4-BE49-F238E27FC236}">
                <a16:creationId xmlns:a16="http://schemas.microsoft.com/office/drawing/2014/main" id="{482642AA-A2A5-4818-B439-CD10F6D5DA3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579755" cy="257442"/>
            <a:chOff x="0" y="876300"/>
            <a:chExt cx="3579755" cy="257442"/>
          </a:xfrm>
        </p:grpSpPr>
        <p:sp>
          <p:nvSpPr>
            <p:cNvPr id="4" name="btfpRunningAgenda2LevelBarLeft737640">
              <a:extLst>
                <a:ext uri="{FF2B5EF4-FFF2-40B4-BE49-F238E27FC236}">
                  <a16:creationId xmlns:a16="http://schemas.microsoft.com/office/drawing/2014/main" id="{42C6623F-2DAF-4400-9A77-542EBF5B0321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" name="btfpRunningAgenda2LevelTextLeft737640">
              <a:extLst>
                <a:ext uri="{FF2B5EF4-FFF2-40B4-BE49-F238E27FC236}">
                  <a16:creationId xmlns:a16="http://schemas.microsoft.com/office/drawing/2014/main" id="{20E12829-F5CF-4ACA-A8C2-1004CC3EC5AB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</a:p>
          </p:txBody>
        </p:sp>
        <p:sp>
          <p:nvSpPr>
            <p:cNvPr id="6" name="btfpRunningAgenda2LevelBarRight737640">
              <a:extLst>
                <a:ext uri="{FF2B5EF4-FFF2-40B4-BE49-F238E27FC236}">
                  <a16:creationId xmlns:a16="http://schemas.microsoft.com/office/drawing/2014/main" id="{102282AE-A75E-433A-A956-5B76C8F3F799}"/>
                </a:ext>
              </a:extLst>
            </p:cNvPr>
            <p:cNvSpPr/>
            <p:nvPr/>
          </p:nvSpPr>
          <p:spPr bwMode="gray">
            <a:xfrm>
              <a:off x="1482807" y="876300"/>
              <a:ext cx="2096948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784364 w 1784364"/>
                <a:gd name="connsiteY0" fmla="*/ 0 h 257442"/>
                <a:gd name="connsiteX1" fmla="*/ 1569341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2 w 1784364"/>
                <a:gd name="connsiteY3" fmla="*/ 0 h 257442"/>
                <a:gd name="connsiteX0" fmla="*/ 1784364 w 1784364"/>
                <a:gd name="connsiteY0" fmla="*/ 0 h 257442"/>
                <a:gd name="connsiteX1" fmla="*/ 1729642 w 1784364"/>
                <a:gd name="connsiteY1" fmla="*/ 257442 h 257442"/>
                <a:gd name="connsiteX2" fmla="*/ 0 w 1784364"/>
                <a:gd name="connsiteY2" fmla="*/ 257442 h 257442"/>
                <a:gd name="connsiteX3" fmla="*/ 54721 w 1784364"/>
                <a:gd name="connsiteY3" fmla="*/ 0 h 257442"/>
                <a:gd name="connsiteX0" fmla="*/ 2096948 w 2096948"/>
                <a:gd name="connsiteY0" fmla="*/ 0 h 257442"/>
                <a:gd name="connsiteX1" fmla="*/ 1729642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  <a:gd name="connsiteX0" fmla="*/ 2096948 w 2096948"/>
                <a:gd name="connsiteY0" fmla="*/ 0 h 257442"/>
                <a:gd name="connsiteX1" fmla="*/ 2042227 w 2096948"/>
                <a:gd name="connsiteY1" fmla="*/ 257442 h 257442"/>
                <a:gd name="connsiteX2" fmla="*/ 0 w 2096948"/>
                <a:gd name="connsiteY2" fmla="*/ 257442 h 257442"/>
                <a:gd name="connsiteX3" fmla="*/ 54721 w 20969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6948" h="257442">
                  <a:moveTo>
                    <a:pt x="2096948" y="0"/>
                  </a:moveTo>
                  <a:lnTo>
                    <a:pt x="20422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btfpRunningAgenda2LevelTextRight737640">
              <a:extLst>
                <a:ext uri="{FF2B5EF4-FFF2-40B4-BE49-F238E27FC236}">
                  <a16:creationId xmlns:a16="http://schemas.microsoft.com/office/drawing/2014/main" id="{064A5C9F-DFA0-445D-9376-89C561157696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0422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nnels</a:t>
              </a:r>
            </a:p>
          </p:txBody>
        </p:sp>
      </p:grpSp>
      <p:grpSp>
        <p:nvGrpSpPr>
          <p:cNvPr id="44" name="btfpStatusSticker352718">
            <a:extLst>
              <a:ext uri="{FF2B5EF4-FFF2-40B4-BE49-F238E27FC236}">
                <a16:creationId xmlns:a16="http://schemas.microsoft.com/office/drawing/2014/main" id="{F7A61601-7150-4339-B32E-EB5FF657F6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45" name="btfpStatusStickerText352718">
              <a:extLst>
                <a:ext uri="{FF2B5EF4-FFF2-40B4-BE49-F238E27FC236}">
                  <a16:creationId xmlns:a16="http://schemas.microsoft.com/office/drawing/2014/main" id="{003EE87D-812A-4FBF-A32A-21EB68AEF996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46" name="btfpStatusStickerLine352718">
              <a:extLst>
                <a:ext uri="{FF2B5EF4-FFF2-40B4-BE49-F238E27FC236}">
                  <a16:creationId xmlns:a16="http://schemas.microsoft.com/office/drawing/2014/main" id="{5F1B0F64-93EA-4521-A1D9-87C8493634D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91846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75CEFDF-08A9-4859-B307-01BDBAE2DCB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971765">
              <a:extLst>
                <a:ext uri="{FF2B5EF4-FFF2-40B4-BE49-F238E27FC236}">
                  <a16:creationId xmlns:a16="http://schemas.microsoft.com/office/drawing/2014/main" id="{C650F062-D089-41FB-93DF-7408491B163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199611">
              <a:extLst>
                <a:ext uri="{FF2B5EF4-FFF2-40B4-BE49-F238E27FC236}">
                  <a16:creationId xmlns:a16="http://schemas.microsoft.com/office/drawing/2014/main" id="{3F30C665-F163-4343-923F-2FED63A806E4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376075">
              <a:extLst>
                <a:ext uri="{FF2B5EF4-FFF2-40B4-BE49-F238E27FC236}">
                  <a16:creationId xmlns:a16="http://schemas.microsoft.com/office/drawing/2014/main" id="{0B2EFC20-94B9-48CA-8053-6775756A1C4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67106">
              <a:extLst>
                <a:ext uri="{FF2B5EF4-FFF2-40B4-BE49-F238E27FC236}">
                  <a16:creationId xmlns:a16="http://schemas.microsoft.com/office/drawing/2014/main" id="{0041ACCC-02FF-4270-A737-3DCD9B38861B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762843">
              <a:extLst>
                <a:ext uri="{FF2B5EF4-FFF2-40B4-BE49-F238E27FC236}">
                  <a16:creationId xmlns:a16="http://schemas.microsoft.com/office/drawing/2014/main" id="{43D68376-7EFD-46F0-8EC3-D908C7CDFF9B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7078">
              <a:extLst>
                <a:ext uri="{FF2B5EF4-FFF2-40B4-BE49-F238E27FC236}">
                  <a16:creationId xmlns:a16="http://schemas.microsoft.com/office/drawing/2014/main" id="{199A6AED-2F79-477A-803F-CA4DAC31066C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154103">
              <a:extLst>
                <a:ext uri="{FF2B5EF4-FFF2-40B4-BE49-F238E27FC236}">
                  <a16:creationId xmlns:a16="http://schemas.microsoft.com/office/drawing/2014/main" id="{023D1356-267E-42D6-AB6F-D318F1EAEAF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323360">
              <a:extLst>
                <a:ext uri="{FF2B5EF4-FFF2-40B4-BE49-F238E27FC236}">
                  <a16:creationId xmlns:a16="http://schemas.microsoft.com/office/drawing/2014/main" id="{736A7C12-86D9-47B9-A8C7-9004CC4D700F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46428">
              <a:extLst>
                <a:ext uri="{FF2B5EF4-FFF2-40B4-BE49-F238E27FC236}">
                  <a16:creationId xmlns:a16="http://schemas.microsoft.com/office/drawing/2014/main" id="{86334880-3E83-414E-BDDA-32464301DF0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23253">
              <a:extLst>
                <a:ext uri="{FF2B5EF4-FFF2-40B4-BE49-F238E27FC236}">
                  <a16:creationId xmlns:a16="http://schemas.microsoft.com/office/drawing/2014/main" id="{03780B9E-52A9-446F-9D4F-273CD683B4E8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50123">
              <a:extLst>
                <a:ext uri="{FF2B5EF4-FFF2-40B4-BE49-F238E27FC236}">
                  <a16:creationId xmlns:a16="http://schemas.microsoft.com/office/drawing/2014/main" id="{CA5A85A5-BB38-4EB1-A507-2796E065FC6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34962">
              <a:extLst>
                <a:ext uri="{FF2B5EF4-FFF2-40B4-BE49-F238E27FC236}">
                  <a16:creationId xmlns:a16="http://schemas.microsoft.com/office/drawing/2014/main" id="{2FA3E5A4-FFE7-4415-AA79-CA22B6D4A07A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239655">
              <a:extLst>
                <a:ext uri="{FF2B5EF4-FFF2-40B4-BE49-F238E27FC236}">
                  <a16:creationId xmlns:a16="http://schemas.microsoft.com/office/drawing/2014/main" id="{1AB13A16-71A3-4044-92F9-C1AF2547F3A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329F5CC5-9DDE-4CBF-BEE2-658AA842565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591820">
              <a:extLst>
                <a:ext uri="{FF2B5EF4-FFF2-40B4-BE49-F238E27FC236}">
                  <a16:creationId xmlns:a16="http://schemas.microsoft.com/office/drawing/2014/main" id="{0E4FAA05-4C07-4830-9B32-3653822C0E86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3329">
              <a:extLst>
                <a:ext uri="{FF2B5EF4-FFF2-40B4-BE49-F238E27FC236}">
                  <a16:creationId xmlns:a16="http://schemas.microsoft.com/office/drawing/2014/main" id="{D6043464-93F7-4CF6-B15B-42E5D257728C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469542">
              <a:extLst>
                <a:ext uri="{FF2B5EF4-FFF2-40B4-BE49-F238E27FC236}">
                  <a16:creationId xmlns:a16="http://schemas.microsoft.com/office/drawing/2014/main" id="{0022EBA3-54BF-4021-AF4B-29495567538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383063">
              <a:extLst>
                <a:ext uri="{FF2B5EF4-FFF2-40B4-BE49-F238E27FC236}">
                  <a16:creationId xmlns:a16="http://schemas.microsoft.com/office/drawing/2014/main" id="{BECAB0AF-E348-4FDE-87D3-52F4F7407ED3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560748">
              <a:extLst>
                <a:ext uri="{FF2B5EF4-FFF2-40B4-BE49-F238E27FC236}">
                  <a16:creationId xmlns:a16="http://schemas.microsoft.com/office/drawing/2014/main" id="{36336573-26EF-4BF6-AF00-74FF2F2B8FED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623948">
              <a:extLst>
                <a:ext uri="{FF2B5EF4-FFF2-40B4-BE49-F238E27FC236}">
                  <a16:creationId xmlns:a16="http://schemas.microsoft.com/office/drawing/2014/main" id="{92067CAE-143A-410A-8CD5-DAA57A839930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08214">
              <a:extLst>
                <a:ext uri="{FF2B5EF4-FFF2-40B4-BE49-F238E27FC236}">
                  <a16:creationId xmlns:a16="http://schemas.microsoft.com/office/drawing/2014/main" id="{729F32CC-3CFD-4FB9-B6FD-F35FECC7DC4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958864">
              <a:extLst>
                <a:ext uri="{FF2B5EF4-FFF2-40B4-BE49-F238E27FC236}">
                  <a16:creationId xmlns:a16="http://schemas.microsoft.com/office/drawing/2014/main" id="{EE11FBD5-4D27-4C13-A677-13FC346C17DC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707099">
              <a:extLst>
                <a:ext uri="{FF2B5EF4-FFF2-40B4-BE49-F238E27FC236}">
                  <a16:creationId xmlns:a16="http://schemas.microsoft.com/office/drawing/2014/main" id="{C2C57F82-6AFF-43B9-8C57-040CF9A8202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555590">
              <a:extLst>
                <a:ext uri="{FF2B5EF4-FFF2-40B4-BE49-F238E27FC236}">
                  <a16:creationId xmlns:a16="http://schemas.microsoft.com/office/drawing/2014/main" id="{17992F4A-C25B-4856-87C5-CFDD63BFD1CB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873060">
              <a:extLst>
                <a:ext uri="{FF2B5EF4-FFF2-40B4-BE49-F238E27FC236}">
                  <a16:creationId xmlns:a16="http://schemas.microsoft.com/office/drawing/2014/main" id="{F234EA5C-9FE1-4FFE-910A-B3538899E4F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05053">
              <a:extLst>
                <a:ext uri="{FF2B5EF4-FFF2-40B4-BE49-F238E27FC236}">
                  <a16:creationId xmlns:a16="http://schemas.microsoft.com/office/drawing/2014/main" id="{D81364A9-0846-44BA-B819-3B7EA443B357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475930">
              <a:extLst>
                <a:ext uri="{FF2B5EF4-FFF2-40B4-BE49-F238E27FC236}">
                  <a16:creationId xmlns:a16="http://schemas.microsoft.com/office/drawing/2014/main" id="{B8D140F7-0547-445C-BF0C-83B52079E60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633B12-3CD4-41B3-8D42-7C174A57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Non-users: </a:t>
            </a:r>
            <a:r>
              <a:rPr lang="pl-PL"/>
              <a:t>x</a:t>
            </a:r>
            <a:r>
              <a:rPr lang="en-US"/>
              <a:t>% non-users likely to begin use </a:t>
            </a:r>
            <a:r>
              <a:rPr lang="pl-PL"/>
              <a:t>X</a:t>
            </a:r>
            <a:r>
              <a:rPr lang="en-US"/>
              <a:t> in 3 years; Non-</a:t>
            </a:r>
            <a:r>
              <a:rPr lang="pl-PL"/>
              <a:t>X</a:t>
            </a:r>
            <a:r>
              <a:rPr lang="en-US"/>
              <a:t> users cite </a:t>
            </a:r>
            <a:r>
              <a:rPr lang="pl-PL"/>
              <a:t>x </a:t>
            </a:r>
            <a:r>
              <a:rPr lang="en-US"/>
              <a:t>and </a:t>
            </a:r>
            <a:r>
              <a:rPr lang="pl-PL"/>
              <a:t>y </a:t>
            </a:r>
            <a:r>
              <a:rPr lang="en-US"/>
              <a:t>as the </a:t>
            </a:r>
            <a:r>
              <a:rPr lang="en-GB"/>
              <a:t>main</a:t>
            </a:r>
            <a:r>
              <a:rPr lang="pl-PL"/>
              <a:t> </a:t>
            </a:r>
            <a:r>
              <a:rPr lang="en-US"/>
              <a:t>reasons for non-usage</a:t>
            </a:r>
          </a:p>
        </p:txBody>
      </p:sp>
      <p:grpSp>
        <p:nvGrpSpPr>
          <p:cNvPr id="40" name="btfpRunningAgenda2Level128532">
            <a:extLst>
              <a:ext uri="{FF2B5EF4-FFF2-40B4-BE49-F238E27FC236}">
                <a16:creationId xmlns:a16="http://schemas.microsoft.com/office/drawing/2014/main" id="{B4C6E124-66D6-48A4-9423-1275C4EB516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944429"/>
            <a:ext cx="3706392" cy="257442"/>
            <a:chOff x="0" y="876300"/>
            <a:chExt cx="3706392" cy="257442"/>
          </a:xfrm>
        </p:grpSpPr>
        <p:sp>
          <p:nvSpPr>
            <p:cNvPr id="37" name="btfpRunningAgenda2LevelBarLeft128532">
              <a:extLst>
                <a:ext uri="{FF2B5EF4-FFF2-40B4-BE49-F238E27FC236}">
                  <a16:creationId xmlns:a16="http://schemas.microsoft.com/office/drawing/2014/main" id="{2A8590CB-4A95-4801-8826-DB1D4AEADA41}"/>
                </a:ext>
              </a:extLst>
            </p:cNvPr>
            <p:cNvSpPr/>
            <p:nvPr/>
          </p:nvSpPr>
          <p:spPr bwMode="gray">
            <a:xfrm>
              <a:off x="1" y="876300"/>
              <a:ext cx="1617650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44526 w 1444526"/>
                <a:gd name="connsiteY0" fmla="*/ 0 h 257442"/>
                <a:gd name="connsiteX1" fmla="*/ 1242329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612841 w 1612841"/>
                <a:gd name="connsiteY0" fmla="*/ 0 h 257442"/>
                <a:gd name="connsiteX1" fmla="*/ 1389805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612841 w 1612841"/>
                <a:gd name="connsiteY0" fmla="*/ 0 h 257442"/>
                <a:gd name="connsiteX1" fmla="*/ 1558120 w 1612841"/>
                <a:gd name="connsiteY1" fmla="*/ 257442 h 257442"/>
                <a:gd name="connsiteX2" fmla="*/ 0 w 1612841"/>
                <a:gd name="connsiteY2" fmla="*/ 257442 h 257442"/>
                <a:gd name="connsiteX3" fmla="*/ 0 w 1612841"/>
                <a:gd name="connsiteY3" fmla="*/ 0 h 257442"/>
                <a:gd name="connsiteX0" fmla="*/ 1444526 w 1558120"/>
                <a:gd name="connsiteY0" fmla="*/ 0 h 257442"/>
                <a:gd name="connsiteX1" fmla="*/ 1558120 w 1558120"/>
                <a:gd name="connsiteY1" fmla="*/ 257442 h 257442"/>
                <a:gd name="connsiteX2" fmla="*/ 0 w 1558120"/>
                <a:gd name="connsiteY2" fmla="*/ 257442 h 257442"/>
                <a:gd name="connsiteX3" fmla="*/ 0 w 1558120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444526 w 1444526"/>
                <a:gd name="connsiteY0" fmla="*/ 0 h 257442"/>
                <a:gd name="connsiteX1" fmla="*/ 1389805 w 1444526"/>
                <a:gd name="connsiteY1" fmla="*/ 257442 h 257442"/>
                <a:gd name="connsiteX2" fmla="*/ 0 w 1444526"/>
                <a:gd name="connsiteY2" fmla="*/ 257442 h 257442"/>
                <a:gd name="connsiteX3" fmla="*/ 0 w 1444526"/>
                <a:gd name="connsiteY3" fmla="*/ 0 h 257442"/>
                <a:gd name="connsiteX0" fmla="*/ 1297050 w 1389805"/>
                <a:gd name="connsiteY0" fmla="*/ 0 h 257442"/>
                <a:gd name="connsiteX1" fmla="*/ 1389805 w 1389805"/>
                <a:gd name="connsiteY1" fmla="*/ 257442 h 257442"/>
                <a:gd name="connsiteX2" fmla="*/ 0 w 1389805"/>
                <a:gd name="connsiteY2" fmla="*/ 257442 h 257442"/>
                <a:gd name="connsiteX3" fmla="*/ 0 w 1389805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30 w 1297050"/>
                <a:gd name="connsiteY1" fmla="*/ 257442 h 257442"/>
                <a:gd name="connsiteX2" fmla="*/ 1 w 1297050"/>
                <a:gd name="connsiteY2" fmla="*/ 257442 h 257442"/>
                <a:gd name="connsiteX3" fmla="*/ 0 w 1297050"/>
                <a:gd name="connsiteY3" fmla="*/ 0 h 257442"/>
                <a:gd name="connsiteX0" fmla="*/ 1297049 w 1297049"/>
                <a:gd name="connsiteY0" fmla="*/ 0 h 257442"/>
                <a:gd name="connsiteX1" fmla="*/ 1242329 w 1297049"/>
                <a:gd name="connsiteY1" fmla="*/ 257442 h 257442"/>
                <a:gd name="connsiteX2" fmla="*/ 0 w 1297049"/>
                <a:gd name="connsiteY2" fmla="*/ 257442 h 257442"/>
                <a:gd name="connsiteX3" fmla="*/ 0 w 1297049"/>
                <a:gd name="connsiteY3" fmla="*/ 0 h 257442"/>
                <a:gd name="connsiteX0" fmla="*/ 1406054 w 1406054"/>
                <a:gd name="connsiteY0" fmla="*/ 0 h 257442"/>
                <a:gd name="connsiteX1" fmla="*/ 1242329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4 w 1406054"/>
                <a:gd name="connsiteY0" fmla="*/ 0 h 257442"/>
                <a:gd name="connsiteX1" fmla="*/ 1351332 w 1406054"/>
                <a:gd name="connsiteY1" fmla="*/ 257442 h 257442"/>
                <a:gd name="connsiteX2" fmla="*/ 0 w 1406054"/>
                <a:gd name="connsiteY2" fmla="*/ 257442 h 257442"/>
                <a:gd name="connsiteX3" fmla="*/ 0 w 1406054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406055 w 1406055"/>
                <a:gd name="connsiteY0" fmla="*/ 0 h 257442"/>
                <a:gd name="connsiteX1" fmla="*/ 1351333 w 1406055"/>
                <a:gd name="connsiteY1" fmla="*/ 257442 h 257442"/>
                <a:gd name="connsiteX2" fmla="*/ 0 w 1406055"/>
                <a:gd name="connsiteY2" fmla="*/ 257442 h 257442"/>
                <a:gd name="connsiteX3" fmla="*/ 1 w 1406055"/>
                <a:gd name="connsiteY3" fmla="*/ 0 h 257442"/>
                <a:gd name="connsiteX0" fmla="*/ 1553531 w 1553531"/>
                <a:gd name="connsiteY0" fmla="*/ 0 h 257442"/>
                <a:gd name="connsiteX1" fmla="*/ 1351333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0 w 1553531"/>
                <a:gd name="connsiteY2" fmla="*/ 257442 h 257442"/>
                <a:gd name="connsiteX3" fmla="*/ 1 w 1553531"/>
                <a:gd name="connsiteY3" fmla="*/ 0 h 257442"/>
                <a:gd name="connsiteX0" fmla="*/ 1553530 w 1553530"/>
                <a:gd name="connsiteY0" fmla="*/ 0 h 257442"/>
                <a:gd name="connsiteX1" fmla="*/ 1498809 w 1553530"/>
                <a:gd name="connsiteY1" fmla="*/ 257442 h 257442"/>
                <a:gd name="connsiteX2" fmla="*/ 0 w 1553530"/>
                <a:gd name="connsiteY2" fmla="*/ 257442 h 257442"/>
                <a:gd name="connsiteX3" fmla="*/ 0 w 1553530"/>
                <a:gd name="connsiteY3" fmla="*/ 0 h 257442"/>
                <a:gd name="connsiteX0" fmla="*/ 1553531 w 1553531"/>
                <a:gd name="connsiteY0" fmla="*/ 0 h 257442"/>
                <a:gd name="connsiteX1" fmla="*/ 1498810 w 1553531"/>
                <a:gd name="connsiteY1" fmla="*/ 257442 h 257442"/>
                <a:gd name="connsiteX2" fmla="*/ 1 w 1553531"/>
                <a:gd name="connsiteY2" fmla="*/ 257442 h 257442"/>
                <a:gd name="connsiteX3" fmla="*/ 0 w 1553531"/>
                <a:gd name="connsiteY3" fmla="*/ 0 h 257442"/>
                <a:gd name="connsiteX0" fmla="*/ 1406055 w 1498810"/>
                <a:gd name="connsiteY0" fmla="*/ 0 h 257442"/>
                <a:gd name="connsiteX1" fmla="*/ 1498810 w 1498810"/>
                <a:gd name="connsiteY1" fmla="*/ 257442 h 257442"/>
                <a:gd name="connsiteX2" fmla="*/ 1 w 1498810"/>
                <a:gd name="connsiteY2" fmla="*/ 257442 h 257442"/>
                <a:gd name="connsiteX3" fmla="*/ 0 w 1498810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1 w 1406055"/>
                <a:gd name="connsiteY2" fmla="*/ 257442 h 257442"/>
                <a:gd name="connsiteX3" fmla="*/ 0 w 1406055"/>
                <a:gd name="connsiteY3" fmla="*/ 0 h 257442"/>
                <a:gd name="connsiteX0" fmla="*/ 1406055 w 1406055"/>
                <a:gd name="connsiteY0" fmla="*/ 0 h 257442"/>
                <a:gd name="connsiteX1" fmla="*/ 1351334 w 1406055"/>
                <a:gd name="connsiteY1" fmla="*/ 257442 h 257442"/>
                <a:gd name="connsiteX2" fmla="*/ 2 w 1406055"/>
                <a:gd name="connsiteY2" fmla="*/ 257442 h 257442"/>
                <a:gd name="connsiteX3" fmla="*/ 0 w 1406055"/>
                <a:gd name="connsiteY3" fmla="*/ 0 h 257442"/>
                <a:gd name="connsiteX0" fmla="*/ 1406053 w 1406053"/>
                <a:gd name="connsiteY0" fmla="*/ 0 h 257442"/>
                <a:gd name="connsiteX1" fmla="*/ 1351332 w 1406053"/>
                <a:gd name="connsiteY1" fmla="*/ 257442 h 257442"/>
                <a:gd name="connsiteX2" fmla="*/ 0 w 1406053"/>
                <a:gd name="connsiteY2" fmla="*/ 257442 h 257442"/>
                <a:gd name="connsiteX3" fmla="*/ 0 w 1406053"/>
                <a:gd name="connsiteY3" fmla="*/ 0 h 257442"/>
                <a:gd name="connsiteX0" fmla="*/ 1574369 w 1574369"/>
                <a:gd name="connsiteY0" fmla="*/ 0 h 257442"/>
                <a:gd name="connsiteX1" fmla="*/ 1351332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0 w 1574369"/>
                <a:gd name="connsiteY3" fmla="*/ 0 h 257442"/>
                <a:gd name="connsiteX0" fmla="*/ 1742685 w 1742685"/>
                <a:gd name="connsiteY0" fmla="*/ 0 h 257442"/>
                <a:gd name="connsiteX1" fmla="*/ 1519648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742685 w 1742685"/>
                <a:gd name="connsiteY0" fmla="*/ 0 h 257442"/>
                <a:gd name="connsiteX1" fmla="*/ 1687964 w 1742685"/>
                <a:gd name="connsiteY1" fmla="*/ 257442 h 257442"/>
                <a:gd name="connsiteX2" fmla="*/ 0 w 1742685"/>
                <a:gd name="connsiteY2" fmla="*/ 257442 h 257442"/>
                <a:gd name="connsiteX3" fmla="*/ 0 w 1742685"/>
                <a:gd name="connsiteY3" fmla="*/ 0 h 257442"/>
                <a:gd name="connsiteX0" fmla="*/ 1910999 w 1910999"/>
                <a:gd name="connsiteY0" fmla="*/ 0 h 257442"/>
                <a:gd name="connsiteX1" fmla="*/ 1687964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1910999 w 1910999"/>
                <a:gd name="connsiteY0" fmla="*/ 0 h 257442"/>
                <a:gd name="connsiteX1" fmla="*/ 1856278 w 1910999"/>
                <a:gd name="connsiteY1" fmla="*/ 257442 h 257442"/>
                <a:gd name="connsiteX2" fmla="*/ 0 w 1910999"/>
                <a:gd name="connsiteY2" fmla="*/ 257442 h 257442"/>
                <a:gd name="connsiteX3" fmla="*/ 0 w 1910999"/>
                <a:gd name="connsiteY3" fmla="*/ 0 h 257442"/>
                <a:gd name="connsiteX0" fmla="*/ 2011989 w 2011989"/>
                <a:gd name="connsiteY0" fmla="*/ 0 h 257442"/>
                <a:gd name="connsiteX1" fmla="*/ 185627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011989 w 2011989"/>
                <a:gd name="connsiteY0" fmla="*/ 0 h 257442"/>
                <a:gd name="connsiteX1" fmla="*/ 1957268 w 2011989"/>
                <a:gd name="connsiteY1" fmla="*/ 257442 h 257442"/>
                <a:gd name="connsiteX2" fmla="*/ 0 w 2011989"/>
                <a:gd name="connsiteY2" fmla="*/ 257442 h 257442"/>
                <a:gd name="connsiteX3" fmla="*/ 0 w 2011989"/>
                <a:gd name="connsiteY3" fmla="*/ 0 h 257442"/>
                <a:gd name="connsiteX0" fmla="*/ 2180304 w 2180304"/>
                <a:gd name="connsiteY0" fmla="*/ 0 h 257442"/>
                <a:gd name="connsiteX1" fmla="*/ 1957268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4 w 2180304"/>
                <a:gd name="connsiteY0" fmla="*/ 0 h 257442"/>
                <a:gd name="connsiteX1" fmla="*/ 2125582 w 2180304"/>
                <a:gd name="connsiteY1" fmla="*/ 257442 h 257442"/>
                <a:gd name="connsiteX2" fmla="*/ 0 w 2180304"/>
                <a:gd name="connsiteY2" fmla="*/ 257442 h 257442"/>
                <a:gd name="connsiteX3" fmla="*/ 0 w 2180304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180305 w 2180305"/>
                <a:gd name="connsiteY0" fmla="*/ 0 h 257442"/>
                <a:gd name="connsiteX1" fmla="*/ 2125583 w 2180305"/>
                <a:gd name="connsiteY1" fmla="*/ 257442 h 257442"/>
                <a:gd name="connsiteX2" fmla="*/ 0 w 2180305"/>
                <a:gd name="connsiteY2" fmla="*/ 257442 h 257442"/>
                <a:gd name="connsiteX3" fmla="*/ 1 w 2180305"/>
                <a:gd name="connsiteY3" fmla="*/ 0 h 257442"/>
                <a:gd name="connsiteX0" fmla="*/ 2340605 w 2340605"/>
                <a:gd name="connsiteY0" fmla="*/ 0 h 257442"/>
                <a:gd name="connsiteX1" fmla="*/ 2125583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0 w 2340605"/>
                <a:gd name="connsiteY2" fmla="*/ 257442 h 257442"/>
                <a:gd name="connsiteX3" fmla="*/ 1 w 2340605"/>
                <a:gd name="connsiteY3" fmla="*/ 0 h 257442"/>
                <a:gd name="connsiteX0" fmla="*/ 2340604 w 2340604"/>
                <a:gd name="connsiteY0" fmla="*/ 0 h 257442"/>
                <a:gd name="connsiteX1" fmla="*/ 2285883 w 2340604"/>
                <a:gd name="connsiteY1" fmla="*/ 257442 h 257442"/>
                <a:gd name="connsiteX2" fmla="*/ 0 w 2340604"/>
                <a:gd name="connsiteY2" fmla="*/ 257442 h 257442"/>
                <a:gd name="connsiteX3" fmla="*/ 0 w 2340604"/>
                <a:gd name="connsiteY3" fmla="*/ 0 h 257442"/>
                <a:gd name="connsiteX0" fmla="*/ 2340605 w 2340605"/>
                <a:gd name="connsiteY0" fmla="*/ 0 h 257442"/>
                <a:gd name="connsiteX1" fmla="*/ 2285884 w 2340605"/>
                <a:gd name="connsiteY1" fmla="*/ 257442 h 257442"/>
                <a:gd name="connsiteX2" fmla="*/ 1 w 2340605"/>
                <a:gd name="connsiteY2" fmla="*/ 257442 h 257442"/>
                <a:gd name="connsiteX3" fmla="*/ 0 w 2340605"/>
                <a:gd name="connsiteY3" fmla="*/ 0 h 257442"/>
                <a:gd name="connsiteX0" fmla="*/ 2500905 w 2500905"/>
                <a:gd name="connsiteY0" fmla="*/ 0 h 257442"/>
                <a:gd name="connsiteX1" fmla="*/ 22858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5 w 2500905"/>
                <a:gd name="connsiteY0" fmla="*/ 0 h 257442"/>
                <a:gd name="connsiteX1" fmla="*/ 2446184 w 2500905"/>
                <a:gd name="connsiteY1" fmla="*/ 257442 h 257442"/>
                <a:gd name="connsiteX2" fmla="*/ 1 w 2500905"/>
                <a:gd name="connsiteY2" fmla="*/ 257442 h 257442"/>
                <a:gd name="connsiteX3" fmla="*/ 0 w 2500905"/>
                <a:gd name="connsiteY3" fmla="*/ 0 h 257442"/>
                <a:gd name="connsiteX0" fmla="*/ 2500904 w 2500904"/>
                <a:gd name="connsiteY0" fmla="*/ 0 h 257442"/>
                <a:gd name="connsiteX1" fmla="*/ 2446183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669219 w 2669219"/>
                <a:gd name="connsiteY0" fmla="*/ 0 h 257442"/>
                <a:gd name="connsiteX1" fmla="*/ 2446183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19 w 2669219"/>
                <a:gd name="connsiteY0" fmla="*/ 0 h 257442"/>
                <a:gd name="connsiteX1" fmla="*/ 2614498 w 2669219"/>
                <a:gd name="connsiteY1" fmla="*/ 257442 h 257442"/>
                <a:gd name="connsiteX2" fmla="*/ 0 w 2669219"/>
                <a:gd name="connsiteY2" fmla="*/ 257442 h 257442"/>
                <a:gd name="connsiteX3" fmla="*/ 0 w 2669219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1 w 2669220"/>
                <a:gd name="connsiteY3" fmla="*/ 0 h 257442"/>
                <a:gd name="connsiteX0" fmla="*/ 2669220 w 2669220"/>
                <a:gd name="connsiteY0" fmla="*/ 0 h 257442"/>
                <a:gd name="connsiteX1" fmla="*/ 2614499 w 2669220"/>
                <a:gd name="connsiteY1" fmla="*/ 257442 h 257442"/>
                <a:gd name="connsiteX2" fmla="*/ 0 w 2669220"/>
                <a:gd name="connsiteY2" fmla="*/ 257442 h 257442"/>
                <a:gd name="connsiteX3" fmla="*/ 0 w 2669220"/>
                <a:gd name="connsiteY3" fmla="*/ 0 h 257442"/>
                <a:gd name="connsiteX0" fmla="*/ 2500904 w 2614499"/>
                <a:gd name="connsiteY0" fmla="*/ 0 h 257442"/>
                <a:gd name="connsiteX1" fmla="*/ 2614499 w 2614499"/>
                <a:gd name="connsiteY1" fmla="*/ 257442 h 257442"/>
                <a:gd name="connsiteX2" fmla="*/ 0 w 2614499"/>
                <a:gd name="connsiteY2" fmla="*/ 257442 h 257442"/>
                <a:gd name="connsiteX3" fmla="*/ 0 w 2614499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0 w 2500904"/>
                <a:gd name="connsiteY2" fmla="*/ 257442 h 257442"/>
                <a:gd name="connsiteX3" fmla="*/ 0 w 2500904"/>
                <a:gd name="connsiteY3" fmla="*/ 0 h 257442"/>
                <a:gd name="connsiteX0" fmla="*/ 2500904 w 2500904"/>
                <a:gd name="connsiteY0" fmla="*/ 0 h 257442"/>
                <a:gd name="connsiteX1" fmla="*/ 2446184 w 2500904"/>
                <a:gd name="connsiteY1" fmla="*/ 257442 h 257442"/>
                <a:gd name="connsiteX2" fmla="*/ 1 w 2500904"/>
                <a:gd name="connsiteY2" fmla="*/ 257442 h 257442"/>
                <a:gd name="connsiteX3" fmla="*/ 0 w 2500904"/>
                <a:gd name="connsiteY3" fmla="*/ 0 h 257442"/>
                <a:gd name="connsiteX0" fmla="*/ 2500903 w 2500903"/>
                <a:gd name="connsiteY0" fmla="*/ 0 h 257442"/>
                <a:gd name="connsiteX1" fmla="*/ 2446183 w 2500903"/>
                <a:gd name="connsiteY1" fmla="*/ 257442 h 257442"/>
                <a:gd name="connsiteX2" fmla="*/ 0 w 2500903"/>
                <a:gd name="connsiteY2" fmla="*/ 257442 h 257442"/>
                <a:gd name="connsiteX3" fmla="*/ 0 w 2500903"/>
                <a:gd name="connsiteY3" fmla="*/ 0 h 257442"/>
                <a:gd name="connsiteX0" fmla="*/ 2332590 w 2446183"/>
                <a:gd name="connsiteY0" fmla="*/ 0 h 257442"/>
                <a:gd name="connsiteX1" fmla="*/ 2446183 w 2446183"/>
                <a:gd name="connsiteY1" fmla="*/ 257442 h 257442"/>
                <a:gd name="connsiteX2" fmla="*/ 0 w 2446183"/>
                <a:gd name="connsiteY2" fmla="*/ 257442 h 257442"/>
                <a:gd name="connsiteX3" fmla="*/ 0 w 2446183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332590 w 2332590"/>
                <a:gd name="connsiteY0" fmla="*/ 0 h 257442"/>
                <a:gd name="connsiteX1" fmla="*/ 2277869 w 2332590"/>
                <a:gd name="connsiteY1" fmla="*/ 257442 h 257442"/>
                <a:gd name="connsiteX2" fmla="*/ 0 w 2332590"/>
                <a:gd name="connsiteY2" fmla="*/ 257442 h 257442"/>
                <a:gd name="connsiteX3" fmla="*/ 0 w 2332590"/>
                <a:gd name="connsiteY3" fmla="*/ 0 h 257442"/>
                <a:gd name="connsiteX0" fmla="*/ 2164274 w 2277869"/>
                <a:gd name="connsiteY0" fmla="*/ 0 h 257442"/>
                <a:gd name="connsiteX1" fmla="*/ 2277869 w 2277869"/>
                <a:gd name="connsiteY1" fmla="*/ 257442 h 257442"/>
                <a:gd name="connsiteX2" fmla="*/ 0 w 2277869"/>
                <a:gd name="connsiteY2" fmla="*/ 257442 h 257442"/>
                <a:gd name="connsiteX3" fmla="*/ 0 w 2277869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0 w 2164274"/>
                <a:gd name="connsiteY2" fmla="*/ 257442 h 257442"/>
                <a:gd name="connsiteX3" fmla="*/ 0 w 2164274"/>
                <a:gd name="connsiteY3" fmla="*/ 0 h 257442"/>
                <a:gd name="connsiteX0" fmla="*/ 2164274 w 2164274"/>
                <a:gd name="connsiteY0" fmla="*/ 0 h 257442"/>
                <a:gd name="connsiteX1" fmla="*/ 2109554 w 2164274"/>
                <a:gd name="connsiteY1" fmla="*/ 257442 h 257442"/>
                <a:gd name="connsiteX2" fmla="*/ 1 w 2164274"/>
                <a:gd name="connsiteY2" fmla="*/ 257442 h 257442"/>
                <a:gd name="connsiteX3" fmla="*/ 0 w 2164274"/>
                <a:gd name="connsiteY3" fmla="*/ 0 h 257442"/>
                <a:gd name="connsiteX0" fmla="*/ 2164273 w 2164273"/>
                <a:gd name="connsiteY0" fmla="*/ 0 h 257442"/>
                <a:gd name="connsiteX1" fmla="*/ 2109553 w 2164273"/>
                <a:gd name="connsiteY1" fmla="*/ 257442 h 257442"/>
                <a:gd name="connsiteX2" fmla="*/ 0 w 2164273"/>
                <a:gd name="connsiteY2" fmla="*/ 257442 h 257442"/>
                <a:gd name="connsiteX3" fmla="*/ 0 w 2164273"/>
                <a:gd name="connsiteY3" fmla="*/ 0 h 257442"/>
                <a:gd name="connsiteX0" fmla="*/ 2324574 w 2324574"/>
                <a:gd name="connsiteY0" fmla="*/ 0 h 257442"/>
                <a:gd name="connsiteX1" fmla="*/ 2109553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4 w 2324574"/>
                <a:gd name="connsiteY0" fmla="*/ 0 h 257442"/>
                <a:gd name="connsiteX1" fmla="*/ 2269852 w 2324574"/>
                <a:gd name="connsiteY1" fmla="*/ 257442 h 257442"/>
                <a:gd name="connsiteX2" fmla="*/ 0 w 2324574"/>
                <a:gd name="connsiteY2" fmla="*/ 257442 h 257442"/>
                <a:gd name="connsiteX3" fmla="*/ 0 w 2324574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2324575 w 2324575"/>
                <a:gd name="connsiteY0" fmla="*/ 0 h 257442"/>
                <a:gd name="connsiteX1" fmla="*/ 2269853 w 2324575"/>
                <a:gd name="connsiteY1" fmla="*/ 257442 h 257442"/>
                <a:gd name="connsiteX2" fmla="*/ 0 w 2324575"/>
                <a:gd name="connsiteY2" fmla="*/ 257442 h 257442"/>
                <a:gd name="connsiteX3" fmla="*/ 1 w 2324575"/>
                <a:gd name="connsiteY3" fmla="*/ 0 h 257442"/>
                <a:gd name="connsiteX0" fmla="*/ 950802 w 2269853"/>
                <a:gd name="connsiteY0" fmla="*/ 0 h 257442"/>
                <a:gd name="connsiteX1" fmla="*/ 2269853 w 2269853"/>
                <a:gd name="connsiteY1" fmla="*/ 257442 h 257442"/>
                <a:gd name="connsiteX2" fmla="*/ 0 w 2269853"/>
                <a:gd name="connsiteY2" fmla="*/ 257442 h 257442"/>
                <a:gd name="connsiteX3" fmla="*/ 1 w 2269853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0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1 w 1279417"/>
                <a:gd name="connsiteY3" fmla="*/ 0 h 257442"/>
                <a:gd name="connsiteX0" fmla="*/ 1457351 w 1457351"/>
                <a:gd name="connsiteY0" fmla="*/ 0 h 257442"/>
                <a:gd name="connsiteX1" fmla="*/ 1224695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617651 w 1617651"/>
                <a:gd name="connsiteY0" fmla="*/ 0 h 257442"/>
                <a:gd name="connsiteX1" fmla="*/ 14026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1 w 1617651"/>
                <a:gd name="connsiteY2" fmla="*/ 257442 h 257442"/>
                <a:gd name="connsiteX3" fmla="*/ 0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0 w 161765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7650" h="257442">
                  <a:moveTo>
                    <a:pt x="1617650" y="0"/>
                  </a:moveTo>
                  <a:lnTo>
                    <a:pt x="1562929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btfpRunningAgenda2LevelTextLeft128532">
              <a:extLst>
                <a:ext uri="{FF2B5EF4-FFF2-40B4-BE49-F238E27FC236}">
                  <a16:creationId xmlns:a16="http://schemas.microsoft.com/office/drawing/2014/main" id="{6B5BC11D-79CC-4DE8-9EFF-8628005F53D6}"/>
                </a:ext>
              </a:extLst>
            </p:cNvPr>
            <p:cNvSpPr txBox="1"/>
            <p:nvPr/>
          </p:nvSpPr>
          <p:spPr bwMode="gray">
            <a:xfrm>
              <a:off x="0" y="876300"/>
              <a:ext cx="1562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age</a:t>
              </a:r>
              <a:endParaRPr kumimoji="0" lang="en-US" sz="1200" b="1" i="0" u="none" strike="noStrike" kern="1200" cap="all" spc="4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tfpRunningAgenda2LevelBarRight128532">
              <a:extLst>
                <a:ext uri="{FF2B5EF4-FFF2-40B4-BE49-F238E27FC236}">
                  <a16:creationId xmlns:a16="http://schemas.microsoft.com/office/drawing/2014/main" id="{8A45DB5B-C81C-44E7-BA02-40081F6003FB}"/>
                </a:ext>
              </a:extLst>
            </p:cNvPr>
            <p:cNvSpPr/>
            <p:nvPr/>
          </p:nvSpPr>
          <p:spPr bwMode="gray">
            <a:xfrm>
              <a:off x="1482807" y="876300"/>
              <a:ext cx="2223585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1111100 w 1224695"/>
                <a:gd name="connsiteY0" fmla="*/ 0 h 257442"/>
                <a:gd name="connsiteX1" fmla="*/ 1224695 w 1224695"/>
                <a:gd name="connsiteY1" fmla="*/ 257442 h 257442"/>
                <a:gd name="connsiteX2" fmla="*/ 0 w 1224695"/>
                <a:gd name="connsiteY2" fmla="*/ 257442 h 257442"/>
                <a:gd name="connsiteX3" fmla="*/ 54720 w 1224695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950801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54721 w 1056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79"/>
                <a:gd name="connsiteY0" fmla="*/ 0 h 257442"/>
                <a:gd name="connsiteX1" fmla="*/ 896079 w 896079"/>
                <a:gd name="connsiteY1" fmla="*/ 257442 h 257442"/>
                <a:gd name="connsiteX2" fmla="*/ 0 w 896079"/>
                <a:gd name="connsiteY2" fmla="*/ 257442 h 257442"/>
                <a:gd name="connsiteX3" fmla="*/ 54720 w 89607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50801 w 950801"/>
                <a:gd name="connsiteY0" fmla="*/ 0 h 257442"/>
                <a:gd name="connsiteX1" fmla="*/ 727829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39718 w 1439718"/>
                <a:gd name="connsiteY0" fmla="*/ 0 h 257442"/>
                <a:gd name="connsiteX1" fmla="*/ 1224695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2 w 1439718"/>
                <a:gd name="connsiteY3" fmla="*/ 0 h 257442"/>
                <a:gd name="connsiteX0" fmla="*/ 1439718 w 1439718"/>
                <a:gd name="connsiteY0" fmla="*/ 0 h 257442"/>
                <a:gd name="connsiteX1" fmla="*/ 1384996 w 1439718"/>
                <a:gd name="connsiteY1" fmla="*/ 257442 h 257442"/>
                <a:gd name="connsiteX2" fmla="*/ 0 w 1439718"/>
                <a:gd name="connsiteY2" fmla="*/ 257442 h 257442"/>
                <a:gd name="connsiteX3" fmla="*/ 54721 w 1439718"/>
                <a:gd name="connsiteY3" fmla="*/ 0 h 257442"/>
                <a:gd name="connsiteX0" fmla="*/ 1617650 w 1617650"/>
                <a:gd name="connsiteY0" fmla="*/ 0 h 257442"/>
                <a:gd name="connsiteX1" fmla="*/ 1384996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785965 w 1785965"/>
                <a:gd name="connsiteY0" fmla="*/ 0 h 257442"/>
                <a:gd name="connsiteX1" fmla="*/ 1562929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2055270 w 2055270"/>
                <a:gd name="connsiteY0" fmla="*/ 0 h 257442"/>
                <a:gd name="connsiteX1" fmla="*/ 173124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2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54721 w 2233204"/>
                <a:gd name="connsiteY3" fmla="*/ 0 h 257442"/>
                <a:gd name="connsiteX0" fmla="*/ 950801 w 2178482"/>
                <a:gd name="connsiteY0" fmla="*/ 0 h 257442"/>
                <a:gd name="connsiteX1" fmla="*/ 2178482 w 2178482"/>
                <a:gd name="connsiteY1" fmla="*/ 257442 h 257442"/>
                <a:gd name="connsiteX2" fmla="*/ 0 w 2178482"/>
                <a:gd name="connsiteY2" fmla="*/ 257442 h 257442"/>
                <a:gd name="connsiteX3" fmla="*/ 54721 w 21784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74369 w 1574369"/>
                <a:gd name="connsiteY0" fmla="*/ 0 h 257442"/>
                <a:gd name="connsiteX1" fmla="*/ 1242329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574369 w 1574369"/>
                <a:gd name="connsiteY0" fmla="*/ 0 h 257442"/>
                <a:gd name="connsiteX1" fmla="*/ 1519648 w 1574369"/>
                <a:gd name="connsiteY1" fmla="*/ 257442 h 257442"/>
                <a:gd name="connsiteX2" fmla="*/ 0 w 1574369"/>
                <a:gd name="connsiteY2" fmla="*/ 257442 h 257442"/>
                <a:gd name="connsiteX3" fmla="*/ 54721 w 1574369"/>
                <a:gd name="connsiteY3" fmla="*/ 0 h 257442"/>
                <a:gd name="connsiteX0" fmla="*/ 1734669 w 1734669"/>
                <a:gd name="connsiteY0" fmla="*/ 0 h 257442"/>
                <a:gd name="connsiteX1" fmla="*/ 15196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734669 w 1734669"/>
                <a:gd name="connsiteY0" fmla="*/ 0 h 257442"/>
                <a:gd name="connsiteX1" fmla="*/ 1679948 w 1734669"/>
                <a:gd name="connsiteY1" fmla="*/ 257442 h 257442"/>
                <a:gd name="connsiteX2" fmla="*/ 0 w 1734669"/>
                <a:gd name="connsiteY2" fmla="*/ 257442 h 257442"/>
                <a:gd name="connsiteX3" fmla="*/ 54721 w 1734669"/>
                <a:gd name="connsiteY3" fmla="*/ 0 h 257442"/>
                <a:gd name="connsiteX0" fmla="*/ 1894969 w 1894969"/>
                <a:gd name="connsiteY0" fmla="*/ 0 h 257442"/>
                <a:gd name="connsiteX1" fmla="*/ 16799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2063285 w 2063285"/>
                <a:gd name="connsiteY0" fmla="*/ 0 h 257442"/>
                <a:gd name="connsiteX1" fmla="*/ 1840248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223585 w 2223585"/>
                <a:gd name="connsiteY0" fmla="*/ 0 h 257442"/>
                <a:gd name="connsiteX1" fmla="*/ 20085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  <a:gd name="connsiteX0" fmla="*/ 2223585 w 2223585"/>
                <a:gd name="connsiteY0" fmla="*/ 0 h 257442"/>
                <a:gd name="connsiteX1" fmla="*/ 2168864 w 2223585"/>
                <a:gd name="connsiteY1" fmla="*/ 257442 h 257442"/>
                <a:gd name="connsiteX2" fmla="*/ 0 w 2223585"/>
                <a:gd name="connsiteY2" fmla="*/ 257442 h 257442"/>
                <a:gd name="connsiteX3" fmla="*/ 54721 w 222358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3585" h="257442">
                  <a:moveTo>
                    <a:pt x="2223585" y="0"/>
                  </a:moveTo>
                  <a:lnTo>
                    <a:pt x="216886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btfpRunningAgenda2LevelTextRight128532">
              <a:extLst>
                <a:ext uri="{FF2B5EF4-FFF2-40B4-BE49-F238E27FC236}">
                  <a16:creationId xmlns:a16="http://schemas.microsoft.com/office/drawing/2014/main" id="{A25A8DB2-1C4D-4DA8-B02F-FCF8E1A49071}"/>
                </a:ext>
              </a:extLst>
            </p:cNvPr>
            <p:cNvSpPr txBox="1"/>
            <p:nvPr/>
          </p:nvSpPr>
          <p:spPr bwMode="gray">
            <a:xfrm>
              <a:off x="1482807" y="876300"/>
              <a:ext cx="21688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n-users</a:t>
              </a:r>
            </a:p>
          </p:txBody>
        </p:sp>
      </p:grpSp>
      <p:grpSp>
        <p:nvGrpSpPr>
          <p:cNvPr id="41" name="btfpStatusSticker631408">
            <a:extLst>
              <a:ext uri="{FF2B5EF4-FFF2-40B4-BE49-F238E27FC236}">
                <a16:creationId xmlns:a16="http://schemas.microsoft.com/office/drawing/2014/main" id="{6219C130-5ADB-4E36-9AD9-9B39AE15FC3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5" y="955344"/>
            <a:ext cx="1761445" cy="235611"/>
            <a:chOff x="-2280177" y="876300"/>
            <a:chExt cx="1761445" cy="235611"/>
          </a:xfrm>
        </p:grpSpPr>
        <p:sp>
          <p:nvSpPr>
            <p:cNvPr id="42" name="btfpStatusStickerText631408">
              <a:extLst>
                <a:ext uri="{FF2B5EF4-FFF2-40B4-BE49-F238E27FC236}">
                  <a16:creationId xmlns:a16="http://schemas.microsoft.com/office/drawing/2014/main" id="{4632AEF9-D74D-4145-A7CC-DB4F7EA4761B}"/>
                </a:ext>
              </a:extLst>
            </p:cNvPr>
            <p:cNvSpPr txBox="1"/>
            <p:nvPr/>
          </p:nvSpPr>
          <p:spPr bwMode="gray">
            <a:xfrm>
              <a:off x="-2280177" y="876300"/>
              <a:ext cx="17614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43" name="btfpStatusStickerLine631408">
              <a:extLst>
                <a:ext uri="{FF2B5EF4-FFF2-40B4-BE49-F238E27FC236}">
                  <a16:creationId xmlns:a16="http://schemas.microsoft.com/office/drawing/2014/main" id="{ADA486AE-51F2-46AD-9EAF-AE728DCC35A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StatusSticker538999">
            <a:extLst>
              <a:ext uri="{FF2B5EF4-FFF2-40B4-BE49-F238E27FC236}">
                <a16:creationId xmlns:a16="http://schemas.microsoft.com/office/drawing/2014/main" id="{E91B8DE0-92AF-4683-BA35-13DFF0BD74A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45" name="btfpStatusStickerText538999">
              <a:extLst>
                <a:ext uri="{FF2B5EF4-FFF2-40B4-BE49-F238E27FC236}">
                  <a16:creationId xmlns:a16="http://schemas.microsoft.com/office/drawing/2014/main" id="{50301B24-EFF6-4F54-B8AC-54160F3FAB8F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46" name="btfpStatusStickerLine538999">
              <a:extLst>
                <a:ext uri="{FF2B5EF4-FFF2-40B4-BE49-F238E27FC236}">
                  <a16:creationId xmlns:a16="http://schemas.microsoft.com/office/drawing/2014/main" id="{1D734B05-3429-4C93-925D-57CED99595D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btfpColumnHeaderBox311408">
            <a:extLst>
              <a:ext uri="{FF2B5EF4-FFF2-40B4-BE49-F238E27FC236}">
                <a16:creationId xmlns:a16="http://schemas.microsoft.com/office/drawing/2014/main" id="{BC1015F0-440B-4D19-9032-A4337AEE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384309" y="1270000"/>
            <a:ext cx="2477492" cy="318997"/>
            <a:chOff x="9987915" y="1270000"/>
            <a:chExt cx="1873885" cy="318997"/>
          </a:xfrm>
        </p:grpSpPr>
        <p:sp>
          <p:nvSpPr>
            <p:cNvPr id="81" name="btfpColumnHeaderBoxText311408">
              <a:extLst>
                <a:ext uri="{FF2B5EF4-FFF2-40B4-BE49-F238E27FC236}">
                  <a16:creationId xmlns:a16="http://schemas.microsoft.com/office/drawing/2014/main" id="{BF5D05C1-2DF5-421F-BD4D-85243A7DDEDC}"/>
                </a:ext>
              </a:extLst>
            </p:cNvPr>
            <p:cNvSpPr txBox="1"/>
            <p:nvPr/>
          </p:nvSpPr>
          <p:spPr bwMode="gray">
            <a:xfrm>
              <a:off x="9987915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ever adopt</a:t>
              </a:r>
            </a:p>
          </p:txBody>
        </p:sp>
        <p:cxnSp>
          <p:nvCxnSpPr>
            <p:cNvPr id="82" name="btfpColumnHeaderBoxLine311408">
              <a:extLst>
                <a:ext uri="{FF2B5EF4-FFF2-40B4-BE49-F238E27FC236}">
                  <a16:creationId xmlns:a16="http://schemas.microsoft.com/office/drawing/2014/main" id="{8B2E6CB0-26F9-44D9-BF6B-61ACC9B9D5E0}"/>
                </a:ext>
              </a:extLst>
            </p:cNvPr>
            <p:cNvCxnSpPr/>
            <p:nvPr/>
          </p:nvCxnSpPr>
          <p:spPr bwMode="gray">
            <a:xfrm>
              <a:off x="9987915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btfpColumnHeaderBox497268">
            <a:extLst>
              <a:ext uri="{FF2B5EF4-FFF2-40B4-BE49-F238E27FC236}">
                <a16:creationId xmlns:a16="http://schemas.microsoft.com/office/drawing/2014/main" id="{9049DBA9-5601-47CE-B505-500A42CBC80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48236" y="1270000"/>
            <a:ext cx="5495528" cy="318997"/>
            <a:chOff x="7573487" y="1270000"/>
            <a:chExt cx="1873885" cy="318997"/>
          </a:xfrm>
        </p:grpSpPr>
        <p:sp>
          <p:nvSpPr>
            <p:cNvPr id="84" name="btfpColumnHeaderBoxText497268">
              <a:extLst>
                <a:ext uri="{FF2B5EF4-FFF2-40B4-BE49-F238E27FC236}">
                  <a16:creationId xmlns:a16="http://schemas.microsoft.com/office/drawing/2014/main" id="{41E76E52-9E7A-400B-9177-3E6036DB88BC}"/>
                </a:ext>
              </a:extLst>
            </p:cNvPr>
            <p:cNvSpPr txBox="1"/>
            <p:nvPr/>
          </p:nvSpPr>
          <p:spPr bwMode="gray">
            <a:xfrm>
              <a:off x="7573487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lihood to use in the next 3 years</a:t>
              </a:r>
            </a:p>
          </p:txBody>
        </p:sp>
        <p:cxnSp>
          <p:nvCxnSpPr>
            <p:cNvPr id="85" name="btfpColumnHeaderBoxLine497268">
              <a:extLst>
                <a:ext uri="{FF2B5EF4-FFF2-40B4-BE49-F238E27FC236}">
                  <a16:creationId xmlns:a16="http://schemas.microsoft.com/office/drawing/2014/main" id="{EFF5A2B6-BB59-450D-92F4-64B17D096CF3}"/>
                </a:ext>
              </a:extLst>
            </p:cNvPr>
            <p:cNvCxnSpPr/>
            <p:nvPr/>
          </p:nvCxnSpPr>
          <p:spPr bwMode="gray">
            <a:xfrm>
              <a:off x="7573487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btfpColumnHeaderBox379382">
            <a:extLst>
              <a:ext uri="{FF2B5EF4-FFF2-40B4-BE49-F238E27FC236}">
                <a16:creationId xmlns:a16="http://schemas.microsoft.com/office/drawing/2014/main" id="{934BA53C-1087-4A2B-A747-1FCF834872D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200" y="1270000"/>
            <a:ext cx="2477492" cy="318997"/>
            <a:chOff x="330200" y="1270000"/>
            <a:chExt cx="1873885" cy="318997"/>
          </a:xfrm>
        </p:grpSpPr>
        <p:sp>
          <p:nvSpPr>
            <p:cNvPr id="93" name="btfpColumnHeaderBoxText379382">
              <a:extLst>
                <a:ext uri="{FF2B5EF4-FFF2-40B4-BE49-F238E27FC236}">
                  <a16:creationId xmlns:a16="http://schemas.microsoft.com/office/drawing/2014/main" id="{1E591EB1-0C53-48C1-8D7A-5203C10E9C2F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873885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son for not using</a:t>
              </a:r>
            </a:p>
          </p:txBody>
        </p:sp>
        <p:cxnSp>
          <p:nvCxnSpPr>
            <p:cNvPr id="94" name="btfpColumnHeaderBoxLine379382">
              <a:extLst>
                <a:ext uri="{FF2B5EF4-FFF2-40B4-BE49-F238E27FC236}">
                  <a16:creationId xmlns:a16="http://schemas.microsoft.com/office/drawing/2014/main" id="{4622C6E5-010A-4EA2-801D-A54379E5E03A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1B50C68-EF81-4309-B8E1-4A407A98359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30200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y does your company not currently use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? Select up to 3 options.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3ACE52A-29A5-4290-8D6F-11B75D34231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348235" y="1650634"/>
            <a:ext cx="5495519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en-GB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likely is your company to begin using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 in the next 3 years? Why likely? Why unlikely?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5E21F7C-C156-4DFD-98F7-5B17714F9EF2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9379546" y="1650634"/>
            <a:ext cx="2477492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likely is your company to ever adopt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lution?  </a:t>
            </a:r>
          </a:p>
        </p:txBody>
      </p:sp>
      <p:sp>
        <p:nvSpPr>
          <p:cNvPr id="127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7lWHAfspKy7SB3hEFo/xKzDLcBh7OuvkqLXgFDWQ0rB5QNd6uBcrPJdVWnu9zWXyLb/wq+G/JCd36mn8+iKCNG7OUG35ApA70k19CEh6uU65iNZz8TAR7u8x+NJ/T76hhV2UylAejJaFfLLRNIHSvfJW/Zfp/L6me5cUx2a63C8+oWj85BDCqn42Dd4jJbRWUjK8aRJ5eZNqbq7Ur6QlklTRm4wy31+VMW4JXrdg6Ig2JkxotVrOHfK9FXFTEdfg/t3SNHRL6yrj4Ym7cW9z8WAPC2SRkO/ljsEV6X84DzUDjdIVLSCBiiAW3lc/XziU+yUGwVzHcmbXHVbQHEJnJPSL+jevYUTC4/yIPstuQHteVXCaX3/5/jp8kXEkCzhrXq3SMkcsgcEh3sipViKjVV70/GE4I4zrSnXSbtko4Q8rKfR+DGktodAYgmsZRAYqH840EeelKhAzLtTLWntcVkoQeqzzdPaqea7yXZd+KyLjg1m/ULRHzhyLNvUZrFBzPiCIvm6VMB5TielaqMm5ZAOuBhg3X0BZRyYvOvG6iQrT5mRi8hU+FsdL+XCEFDpsru43fCNca2isRaivsluOCkB3jZLnl9SsOT9jBnFgXzHlyqUkLSuJmXk5bSfbLQoGhEERZGb6ySgiDuQ+D3sdwOcs+iUVwzcQEjvAyBBK/2NwIJHkKoPfS09AbdauyDjW39eapnHPVBlcD+YTJscmmPqfMTuGJswlR1wXuKWQMwHR4a3r07L0h/a0vTE2eH1aq9k2Nuj5qMoOD9sOOPuwbOMDCcaxqxVTa3cpvTyW9SVOKqN0zDHbL6UPDfe6HKL5Ld8qwEa29Re7Q30mnquSxtnWeGjAPygowaeLkQH/pdLOXkxGBX0j/GfWrzTd2PvlVEFfscOoO8nPEBIwoY8SGgilOMJbv2+BrV3NQMJdFNgm9maVSA2sFJPbOkYtfV/tXVVh+oZxUaN5mzaHa7n5M8B5dFLnQzfGJoU+zEKcqVmgLnOxRkDax10VYR0v9ZlSBhf1OLMB1aKUyVFIzqXjw9ESy7fi6elFb2dq/XIXXlHx9QS/+NuEMnPCFPHdJ/2jA9+FUWHgBlY4LU10hOwOZGotjJ6QOpCCQLMTFBcyYYIcqpqVmKuAK8WBBbwT8T9AqItsLaap5kIFOKxL4PFrJxupthf5/g6X3GOR34HsfxFySszvQ+Cl5MBAbSv31NgZUS/BATnpA7SW/S1hvyI7AFOOWygUPnn1Nrwg5mhuX1EVAhVxu46LPq3yikIiMZ7bXH71/HqrNN+w3LEAbzaa9ib+9+ijEV0J+UoRTe1uHi7V9UcbFgj45nWvUfXY+MtX/uavXZywcTLB2KtRTbdLim/jflRHYAShhbYRwK/2MZ30K5J8gvL9f69loXh8PCgt++Yks2vY6f4P9i+HRb0EbwAL0/AbKDKYh51aL95oYc38gQXqK6sICuekk3S93/eXpMrbtuQ7+g+f9D5A9NH2uKKVJWNAXJqLnHrteMhiAUt08c1BArOJyepW5oKTT6VJx21AEXydvCQuDdRlZJrTKuK3DpZtFSni3Oqif0iJfGLLP7xBKBC+wGTwrUEhQb4/+aSrNrNwTkmnKkUrJ+gU5hjdvOn/uASd15JkdoH/Luja0KfKd3GG7yFxmt7PSEacBcsBjzBCbmUtAdexbfCY0qFfaM/1H/ibrwVPieTdfQW0nProNP/skwVWhe7MV2USnenVpLmfKoIVrsvrRbjjUYZfPOj/t4Bv3hKHF/kLYx31P3W+bZE2EOUjaR6UUiU9flu59r1YKp3/GSV6QBjmnCOZ/H8ya3qhcZ9U6jGNUDHJ/jIQYnI6Ce3tqEXSvgq3tbeU2vY036XVv1BUEtN0u4BxpcUaFximJgKmHsyiDLPd70Bif7HCuMRse+bgxyQGPC9BOGEPI3dx7oseAqoZvERHlKsxx8gHnjPFFReLQ7R2HtpQBOTn+OYlWX8AmED+5QbKkacPDn/SNgMirbQrek3ohutxCBa2MnD+REJve6hFUap+gjPcGhSSgWFHN82QsKMwibL2a+cVNJ45pDKvqLBkO15jsbpEKQnPNbyJB8nTpBo6i1kJyrfBZrukC3nySIwASrdzyngnRLQnIQkeCzV7yTCeHaQc9C/FfRaF7Udn2LJ7wAoM6wegFP7liqNapX8OtqsvASv2ouUHvAUnt1A5gs8UzkZ1ykIHSFCfq7CSzALyHELRmNjpB04PDqPauCOdI5ujxn6JyDo+3V/mgRgyODBHCJiOLkgpQKi2GOyEf6e4cmKtWj5UFDhRSNK0XaSIFiUp6c0Sl+DqmYZcZ34t9qg171Lt5eTM3Ftkjrb4raRob8TGLgEMRFB0nPrD4JpS4pK1UeEyelWESRw9EGo4kgga2VbIAxelCJGg5F73N3JRT/Ncgx5+N+Es5S2OUNWnZUGnHqGSgMXSUPKdJ9zjQPPZAgUaTELF0DbZ7G71fWEEuQDsfm3cQF7a4nc1X9MeRVNtIeF6Nq2J2ROcwS4R96L1ZbMMKSpac9t4QtqUSW75agOGOHtKHxUQXvnvJ3ZKT5MtLV+SachXMQ/IYSu6Cgtj83XwSDtZohCtoQwkk1OsAjD+sHY5pX5LMeDq8qfJrifKumxCp4sBlz+XPjx6BXHAMFL0QurGIX+hnnOahd13mV/7/RywcAIxz7wSMqGTPDdEX80q7GBvfXbY6+z3c51LakUkkdEIwueRrqQYrYa0/jBQH0IPmguzVHakFcr46mQOV/jr8ohIwZyD7vRHxPpBMQUqOHJYiPJ7PpJCqG3CK+sBeQ9QrgCivLDmhE4/9BsCjXvqWftlF4u82Vi7UVlbwYY3xJkS74zcucqpVL4WofnJhb/jamYJHXRLJIDdTEmlypXbk7Ut4dIlP4dxORoDyQycXZEnXRnClVTnlnYJrRYEMSYtDo6CQrLQPtUJe0Bvt18I6vTr/tZvnwSml+FgZin2THCJyHjOPCrwNEJY/wpZBebOeIwGG+8ihaWxocq4Y3NB+moVhCLQ1rJ+IsuinMt08dC4yvDToAtjnGlW1ZSGiL8+WIPCT8zKwdFYM+yxI7looI1idCSIuGUPLGRe28fbexPo+83oa2Xe//xCGKT2rPBl1e+TyEUFi+8uasrqAIWWapYs8BHbMJWl3OPK78NylMc8gn+J828aiDs1mHuhaKjOWPOTgZlrolP1lKxUGxtTUY2c4zQl3EshRRv+Lx7f2CjOJUtB+mGVWDZjYw++DSi+Kq67ky6vHDa78eMWKiMw0IOae1UwrYHzURLfs2Qz9BN6kNPFOeXnRi4R4Y34W2mIUbXqPY+kXMsaIBD40csl3KqDDB01EZd/VOu+a3Z+mY/J1WRHvE9/E+1h4+rQp7+PyQFav1HdcdA1FemCXMTWhRu+VAtp53Iv8ZfedEeePpzAuA7mhoxTF7bMr5cjgCU+sNlGwp18DbolpMJGpKNLJlNw20bSahI5RTE6w+bVSLZo9XG94JgG0ls9h3AMOYbpuNrBZujxUynEdov6RVeuaqDDRuJ7ch6NFLmyXXiBFKh8FFMg2r40TM54LXL8p5oCO1HEtDl49tXi7en/cRMky9KaLr5Tgu6hFWhMB/lbNAiQwBaesA2WFZ0nW6JBnbFb9yIDDTtRX/zouBLMpkCJ4kxqUch6jIiDgyBP2yZjHorEVhXm0j4z6nlYwXhxsnGE/hhz8NLQFubGtK27oWZuUduNmyIKhduWbcP80srJHmCkLioqXWysG7fpRJLrOHyqnbFQ7e1JA3IRFgha2wtODGEVtwKeuWEIcfq5hF6dLCkgElti8wu4FxF9+YYmI1YPzd7HPa7CDP76TnAsdS8EiCm97dlOrmWNAEt5PwZ6r9czNdwLhUJu1T/8qbO9tu4k2nClar/EQdMgR0wrN7oCXYmfbiZWMbe2S1DHoi6jID9ZctJCpEmmMH8EumGRN6lmtvRMudjFAJIvfzKkFrHbvkZSbfdcpWh8xD3jeJYmcRqUZ3lTMrm7avOGm2CN8i+45U+w10sysmM3LWpctUn6Kit5SJEzGljSTNZftdV0WB48NwqNK1f50EB5Bd/hGsGuGz5miEgTdMUult6bdIeLEIzsGU83XH5D54uP9g9n21EP2qnx59yhRjoohqD5ZOygz3rdd7H7jquef3vn9/YP81LUYVUSZzUfklAjXsn6Zf1hI9BsOFJbn3cIE1ACIpVOSrcfmLD8r+eMdUCmJXAjlXA1NmHAoLuM4AQkUBgp47LW7sAplyBaaMRyd7jWlNa8398md6cIvPA5etKjIEDHFUVLCYDcVynbG1s0a8C/JwdGDTY/4ToFA9N+QGPQAaQoUlDTs9HVB6Oahw0KwUvRJ5gRG8OGRVNZVnhXclAvr8vtCwYsEJFytP+5hUcnpLwe+r4w3OOqSDTisD9nJJHDCXf32LZc7ivkwXJXnhXrrQ7dqqGFqaE/pyuuczgjVFpqJZ8bUI7fQ/mHNb5sdvjnvYzOEwf289PNV2XEMZryK3aIK/WdbHbhNrJq+aXt2Ozms2c1OXn5wIQmYphqaKNbgFFpEpc6vLEddBElcAhz7SFe7cRNWtQQ5gAUfh5zf1t0M5rxr6oRsGn9z5qW6lizs/dLmE3gF34GbJz+7mYYmnXqaLwO3Je6xMDxvRTNAxQVcTO4wAp30cKbbzakgyB6mB4kg3Pe494pNm++PtGaNi/NIEtNrws7Um0yzCO7m7UN8TkNTEmdcsT90EQqGkdAa6ggHvgGbeBF1hcP1TQvYCvnjdyvwhGeWf8sWuRDewwaxqmYLUeJKwlHDcP4erds2vtCU7/eVzAFESTQNVlRo1g9uZ+z0pSEMjcTio5uBjm52n+ifg5QgTxOtSxenOmEK7OZLqEf/HUnKONVC1KMM8dm3MYYPofADgz+lbEj/AxUBGaeO0N9BWLMeI/I1g61GZDu6iZ3K8gb//GvrLxXbS7KZv9URvIcyjx49uyd3hUMVGuzz4v6vPSlMRsGd3aEwriDF5Ja37KX2lwp/OknLFAH70347TUPBRVnqVLao6nON/opudAZTkwuUV+dSOjzael0fjlQDFyHlfZB1gWsBnJAanEnR9vr+Y0KXTqJwVTjzbcsHc88zzErS/5M4u97GRpiTda9F/dJxlOVkO79F2/Uvcez80o7qIEsJ0EeltsiIFQB8R5taCGrE70SVeM3q3Xi2+W0OdeNwgbNPEtrW3Neelr4MB0nWkCd0yBEh4I7D6Fq2AvtvRTf6rGE7hMlQKV/gXWv94rPE1iqcxfVnNmksK90fCYG3Kb/SfO7OIRVFviguvOmEqRmKvO3CbUez8rQdNXssUxNUW5KlMU+oSMilILOZz+We5n0OOeGRuaKcpYCKOl5Bw/TKGiVhqxNqFxydkBqeTwXizQYkUoHvogenyn09f2RLz5xSepSHIgjhHy3IZxfDfNbvc7fQyiXQ2yUQvfLiuhw9ffmIlV29YXL/LfgtLTlDzQKA3TkYtes51dUQQgbqe+bz1xb3cSN1T+CEy9uUq7NPMa8uhghdqUbaYK4WvabfYLjeEMFSP+izcwL5mxyleL1NRL4EzEhYyeVDUjZb42MvbHiKOKq7zXR3IjBcuH+h2PlYAvw6f2Nri0+807pVuyR2auoZQipytT38cve3DcC8MjSJWdJEbyLbrf2AoyktKc+DlkX4AgjAbGACS52s41FWGRLc5RiKtYsXYNiwxWHRbj6lGbzKE/8MAo7A7y31shaUMvIlUdvfLKvtsKu7ru7mB18iCoF6fNfry5EjOxvYqy/KoblqCiQMIQlfFNxICQdxrZq/lPlOWX8BZnPqt+2uX/NHBCmpk+LbTkOVpBjBtGuEIxXum3Q/aN9wv0+H9ZEkteDqTuB5aayD6rBJPkUXrVVRq18PbQszp6ZL/eyJxb5ZHb4YSbRtiUThWhMn5Wvu9KdW4R75ufpXf6X9HwPugkYL0M+eE5mEaki92eCobgq7Tczyr9uTY6d8xjHGn+4lDrFhD0LZzbrLVlo+rb+kdK02dBfeid8UGHsXXWrWEelITD1jh9O5bXVRMP5ClqSCWTEV23tw60rIMKUGu8j+zZfOy7wdaEadt3Ww9zD/O15KyWiVX1h39VCstEk3AmDklKJ6NYqLT9nbFDjdFhN7Z79KV33MHPgWjtb3adBhpH3ftoqVYGHfbEepIQnK6OBGECtNhk7elDF5YYVsBWay789lAppv03LKYo4YkPaMqAXag6tfwiGZFjPJsFN5GwuHfc+onfLaHoP/U12fH3+wDEK2rCuuhArVj+4kqBIqdHsug+IkofH57vQ6mMKhu+UuBPvSe8xKh+syiIomN5AUgQgYFvy/f7DmOYD/y8BQI1kYZvlXlT8d+8iAPuBKFim8+vgSfLLnDZNM/Hx0OXrMbxe58ioL7k5iQ3pAsDaaZrhYo735Tu/rkLhoIy+kzBSoVI2ZqdxJqHJIketzkKp9yse7IrtYT12HKaH5k5YPIw4RoLY+JP+iAXQCCS15QF1KdHzfLWT1/3Y/3vEl3wZP+YNWS9nPqRuK1Pwu5wYSJtcgjmp6Ccsp1qh9Ehpk7DzS4lpIPbWlKKXzYqMbWmZnPK0KAm2I7r/DrUqGkVEYE4KZywskW4F1li9f20vFlFhezewVL1+SgHP/2avnvBzI5+JuQAXy0K0vo46nVnjuBjZOizfttScjHqADToAjVWpG1DbO4gatI83s/ErBUeUaFWl32pVHZ50qSpxBMLS+0ttVkm8n8gxXD1z/VXoyGVnwSInfg+yiq+oZoUE//syQuzlV0klRE25AkRoLIFSYC7gAlLIECldIT8A3Ih6XrKGtin9WJzCxWp/aFcDcGvofvxrDWCrqcjT2IRdQiarAaOfGNsl4y+ySC13RM20XDCf1+yF6kphfOB2mDnBG7BCOdDlkCI7VTKew6+hU2dvPn4YxTEL32Ys1a0fyr0HUs2UarF3bxmGfe+GkPL1RmKQW978cTKJM+N25nX2vAdVHbinCijHgKDIWwvXGGFc+VplF+2vUZYh0ApJJUAIryWoT31tlDMA+U+cT5thXgD0kiq9VJz2tdDb96kiTqoYJeSztaCQ57zGnfcUNjd6QBAR6gI03QTatmBza2bkAVUTjK33vUD9S8PKbTsJVxt4jH8x5Vrx/yhMII2F34altfq5m2lxt9CbH5VkaVscjnfNDjFfRHsWJa5r1XucINlco84128jj9SnTxCZ2YlIDI3hMkmcuU3ucTdtGrAuxyToq8+4TIH/o+fUqfDujWgcqOH1Uml+W8GDR4TH1IDDffXbF8KnCsSkhoXM12W3dtDP7xDRsesvzU7dl/FCb9Z4k/d1Lj6zrLJDR1ipyefEcKc7RADzQdUSwn9FO7gmchLR7wzgyGwhqb6gz3a+BHMvq8LgKIpwx23v+DjJBjq0dMknBZTgSdK4mU4oPQllbnbxRc5+mMMo9E6HqRljFFeTi+sAetVNgO7wGAHJ+JrmZKDcnkvHAo5xgIOz7aCQg547Eju50TjM7Kz8Xxogb4bkRVDLBHniyweRBI6eOZCS7skHf3Nv2veixX+VICeSESlqZN3WUkpjFVyzGDYgfc3iYbQUpF90L3p/+mxwkDOG+Hlmqxbp0VlVgCN+MXJOaiQrJc2fv/9ySaDQwsFVsE2CxlcGu7HMC+1mHmStWECfRkPkjlPjDrOjftM2VpjPl2F+E08pxxUc2YPX2yE9avleW1DPAIJyHArk/yHi4revIaOLTJ/fFA+oiBgJMjidrpvkse8ELWxLskZ/z0cKhBBmRrJ5IFrMduQTgu7KRNaSIy8+lL3UFbd//ZkeT42SSRfUmgTD8UmIV3rbHYfYMlu6RYeIkKC7hc0MPuS9W0Ofwd/XvgZiCcOqeUK7Zn4ueN6DTVVbnPKUXuRli9Xq6/NRVrqViyLAOi7XhIejqFLx/srMcWSIjeSAuKNbi4wRz15eTj1gexxQrLFUn+pytak2wnZ+tamW/VKUfxqN70IXsHmR5SuQI88uhWP2uI2H8BqQ6bIuGqHbGQ4eYFW7MUvkXTsZKg7u4BxKLRbBKIOLbMNGbI+a3W5loO1LwwIbtPr3lqhBXkx1FvLIic0cc/zHQv+2by0Yk7jqy/OdI6hBwNqVwdt8t6hSOVsM94ILetJKfa22uAtOBTlC5CdTWEuGW9SdQKaCa21ZY68X3snrHhbKAMRigGxIgWS50C8B9vp6PvRoPmEKpbB5XMlPeaF12ToFSfsbHLHDuRxdnYwJ28a5d9W6CdhzAz/zM3lR+6Acagu51RV58gz60rerCLPxx5KOGGvOPYIZ1M4e879YumcM7kc2cEi3CjGvkd9XPM4yqH8ssEwSGsh0VzdShIpsalicxzZINHqc0etefs0cOkRjeaLH8EevL+Jje7JpFqH7WHXmkROt0uWTmo+6K3tVHzutHKo6TaN+QrtD2jdLZ3icv7aeDjVVByBD8eQd95HC/zQDObxtZ9whVrOon7KVhfKBFRQ02cGPPkRT+ZZUq8g2GYIBZRGr7eE8O6sZa2+xGcq1dIKf4gjtplaqWgSa0Y8Sv/BS5CT+nZ2MZN8xZByBphc63KmleB9dr9dPUbUc8TdGVLWSkVDI2IiLhfXW/OSAXfSMOFPytjg+MbZiwykK2k/y+loGyNUXeW3BS/kiLBA4epmbYTUOdHeUv+jxr7kxKPleeDccVlkpUs8ELHcp8amgeO05Z6XDCssTnNJ2VCBmT/crRfQzgRcsNFdYHjDNfolXH1qIT7BxgG80QnFRtmKHpfHXzMuo8zpqLDVBmjVbERlhmA6/3N4uLE6rybh2+Pmfwa9GAv2N76f79NigAw2M8o9Fv5coo67XVdQ2ylVss+xSgqRa8YtLQ10xfCuCCfYTTc/GTGbeRZdCD3qxHfqhtTqFyCp4Y5EB0VQ2OzFu9UJLDNiyxtlmz2x8CrjFrDY7XD3XmRI4oJ5yrwVW6MWkLG1hqgBLeibWMWblpOA1cJ0BabJGHpAyiDc/5ghAi2SRXkKWpk0jJJef+iBTPi94Ax+uEDH1Znqe18CRwDS/KLiZjobUnX6lPxxfQ0EbWuNYhV4+bVxA/4g3ao+oSVkvt34l2oUFZVkfo0KkIbkIsBpiLi+2Sdm6+Gk6xVm5EpG4V+HPVgFneBsZ3otXkVJ4YjiWfnG52X7HZ64DhmLaul9LDSIbFTV7pXzozzC+5fpvaxi94Uz4w5vO9NaVN2td5+bMkU09BUbF4Q9MdWGsifhcxMUFHoNKtDBEWeEO8SspOOIqIo2v3p1HkZWgftLpb27i3tLhQK4xPKxgaToUH+PfuUqthBeUNvrc72hHXuZKI6JOxPzDaUxro7mJS4xHlxxcpARMv8rafgoHvWTbcTlMfN2BpWkHEJvdjd66xTNd3IlO6WiAE5bQIGbvIPD+JwPOIZqK1IsE/34WGJKqQvmocYgLCBBoKg/7rmSUV8bEL124E/M41deuUtDcP6qMIrBbyQhL028fAmM9P4j2ZKR6k4yg8uEIb66i1xxhd4POKF8fdbp6mSOk2sd/LAhq4iA65QGSDGXrSTLeiQGsHDveso/xVafp6f4v/siY9TjDY3tCU5PYZVriL6yAVYDIkx0h8UwLvMZvrTjeMQk+wmwle2WJV6qs9PSTJtCdlsLj4Q5O8bw0o7Q8atD9t/TyEznPJXHUoV5sH/aA8LR/XwMSG5NBRP0B1/FEl2FeHSib5Kuir+svSChAW2/nVZjT3yShE0QPq/ARiapucG2eqVknDre7YhRR80/6ZwgiKh/XKyBvwI9G+7aROh3xZUFFY8LVfYt1lZD+5Nm+v4ZQwpZt2/Rw2iRqcr9yAQfiCi1lzAW/pfYXd9VdjZx9I8ht5dv9vTPEDdlt1GrgGRdQ+gTSe4/so84t9XIxFIgChNcCk7xtS8hRCwrvOZgC5Unvo+Ep36MOaO0P3ztlBQGKGOGZSVmc+bCf0DugOQyJSyR8lDAZsMarfhgGVTs0AAhy00NAadxGZpk7xTRjb0/cu1/15YyZrOnFfkVP58oFjwGJa/Xrc9K8euZed6jiPgWFloiCrieewJ9P+V2PyG98rrIrGyu7GS/xqD2JR7nNVjmVoST0VKo6bRdTvrm4mlcbYxcVBJG0FTCu2sXjgjFD3KpHviHdwz9dqdMIMaSV+ymdchPReJXKOQBiz/bmngOktVqFO5eapdiXfnLEfG+BYxEdohcEk1WKjCc4wmogZbFxewAsfpldtlFFqG8CerURsL4gGVGVeLffBDg3LJ3FzsJQy0Y3nihQk27IsB/bA3pdtMb/QryZyZcWPewIHmPCL3qfXepeNu6DYDRkE8Jj3DMwalM42qkO/vewyPZUj2Ru4bj5U847KcLInpc0yQUTJMBkMUppSG1G3hDBC29/UETYvvm6Rkf8SRjvEC3TCfrFh96bCbywhqzSjJ4cQUdQ4ITkWtbfEOBk1fVD3DEpNSj6tlNi6EYa8X80DcF2JLqsHEOeleNWsVL1mtYSXDUWH0gaGBw0tcaHaHAb2wWuJSRtcEuYyxgUcYf7cjnMS2NMyLtkqIiJ3zbHpV2eob60NsiS6q8LDltPugaQ2n+wrLXkg0aKSafzFEBm3a55P1LqdZtwxycyfpf2Cho3PYVLovt2tTUbB+PtPerHYjM2LoF2tszmrcLlmmB5jkugLaHjMxbimWRsz32fpQ6u8h5Q0Y+2alJOVaZDuxd7JUYmcwIVLOeasslMb+3/yi0Ojk+RhGJe1JVUdJKheI9DbfHLRucA0YyyzYz9wok/j5Gz5x3+uyfIynFrHTu0ZHKq5aperkXcVR1zM5TkjHX8Cw4vzo9akDu4aiE93V2CqmTBf3h7G1gk8rVL/PF5wSL8j+GA+RprmoKOKvIUmM9edoVI2WCaL9UWQZxYjunlo4/saMcpCvRlZJwd+3ZKW/qV0VevmWFOlq7BojRZMJn7SDsm7YOCQ+C1qdRltjtykPQNJyfb06g1cSAY+ayLMu3lfWdvY6RYXnoKS0/K02WNJjuLo/d7xGCxQPiH2uRoXnr7tzboPxmekhnYpOTlClr4eiOBrmffiYPgR6Jxa+23WTQbnS4M9yEY0jcvcs3fWLmgUcIFyqkXsScCNx6dQ88cN2pTbKmUSDg4i3WucyAvqbQvs4T8sA2wHdjcI/MHJGZRTyReW0EwE2xDsS6dcDDxlvD3jXjhocsvHf1dOkyscv9qiatrBEyN8/SkH34Zu9N5gIU2sl/DgvFbQ7PrrbIM0xzO6iipwZRvWnncIO/kgVQGvXtFl/7HBtelOV/mTnAH1Izp5mFimQoQz8EDuVEl67AukVGxeALt+5jXZ6BCPX3VTAkmB31uwQRakjdqVQuq/Tw4LsaVH8XJ6hKM3BHoA6bs+nXwv7g4Q2v4WaesuvdmL3rpkFzsPbNml9Z9vSpDRxEhOgwh23aRWl4fjz3GNk0JZxml/1c+85EKPKtClO9Y58v7fTz/rBE2CNZzFT/Ibpt2+8t5SntRorew9EvRnp+c5ErQTKxWTNvoJyLBJD/X8KWKIg0ab7DwcCNYnJ+Y2hT6EVKNo0p/jua9vZasNht6RAoTyVJ7VPFJO2MTmNq7rSnKRe4smX+Gt0UCdusLwTXRX2ZGJ4rNPzOz6U5kc8GKsk3FGITjpo8r8hRkzix/Oso+yL7GLvyfp0kk+cwWXdfXf/WYtKcP8R701LCNOJXy6HdTXwxJtQi1IHfbKWd86cjW0OXKUetVRhZ/kEuqZSJ6gXC4cLiHhKv0ngob3TtrNQRXnYu3Quvm2xEos3lWkt/9zISVCQkg47kLHLCvyEQ3zThagE3nAMOT45n/tdRt+UeXF8/EeNXAq8B4NG6zD0F+U6ACK5GtWRVUzxe1I7FG1nm2RFRc170uBTcuyxCHdyL4A4B0eN55P8CdO5IiCw2KNvKKFicZlt81ei6bOmrijCz2RWgnxZUqi5DCfuG8xUMqFpyuzytkmS4sHugu7IbvS90XabKQzjA7Lb/JzEeRif+A+26HYZAwmySZynffbp7QY6M3m18BeiyYr5I3D/phEBLUyuVZgWQ/joq74pg91XVKaJxfHFblMefuDXUtJzelNxT4seVzyPVMtlhxOrauHZOknRRM23yA9IYe7C0VgrGnXM3ofQwInqK3n5vrCabSL1vdnJeoMdW7F5P2p598hKnjyLl8E1veSb98IYYPRBuR55bgn/mHn39tA9iHa7nBQIch+vT34ShRWfkBvp4Na7SFvwpYSx4KKWxsfigHf+A4A+4fmUIMbFMA9vuiYGtKX0HC35e58FT3tFZQu/R1d1IGEhZmyTnR7zaDOUBlp9gNJTJu/Qx6fpYCuoBU/Il+RbORRE9F8aHl0gS2eTCPuTCBZzSRqHRPzYIxX7OpXwOUb4Mr1oGG+k8/ShRauqMQdfu/sNcAmAoRxRzAkpNQnJBmlzXOQKl9vH3aKqS0tpIiwBTqiaP7plfno50iZWHmbUtJX3d/Lcm8TkmzcQM88KhAXTwQknAgsCM1Oqi2YDl1q7b5a3/aFD57pFReM7pajywMw3AJ+Y0L7IKQa6/sNNojh0Y6CLNPe529vljGP1Ds25X0NvZwSihBSwBYzphM67zJ07hsRyHnDe+4Rw+IbrdtAObm4eYzldAj1nkJ8m3Dae0iqzUIR8oknhStQRVkEBl69Z7fjSdaA7QBLKDFE3ZPRpY+oaPnCVttNb3/1lL6nVmebAaBzwwphat1uTViOHg33KUVuzmwIOXOjSYQNA4FIY067zNT5m/gJESOGn10hMNxohbKu73GT27ZrMlXoqvqCGyoV0U/DKWXkF33TbLlJ6aLBLYgqOqXAfN5aMbEtxDbMKFL9YR8r5XwF1VtDm7Q9XwZjwfZN5aU8PWjFEGpw/+djEaCDTbg15e2dRYR2feEEipB6rEiKPS8aDC1XTgnrmkm9OPhVlAD4PuSGdgsaw4WGL9dTINwTCnZniBEtPTaiYYX4TCUwlrqwWQOqrrScCE8r+RqJZAvj8PtvVMv7X8NcImlb3UCdoW4td4iTZe9yQS5oKcx63tnFCClkYdr93IoxUWDupVUhxjZNrbJVPm1NkwYatiJrIxIhKkSECae3MGSsxl6RATMI99Itmoj1exZ9sU281sdgLdSvcwQnKfOUivwvYzU6buFjMrWdZ2oDAVkHpCZSFCjmZu2Qn9gK8Qixmsqi2XKngwnzZXJ/iFCYgxw0Jestqjeow7fBgJqhX7Q2XSkRmYJjbyBJHztUOQEHiY5y8p+alqmyJnCnWEteqAjmThgIw4+oGgo1TEpqPsuZXDJ/MQCJp8JPilKvkoecvo1o0enpmpxLpK+nUCuoSlVWp6o3yZdWS5pqVm+nmsWSoDbytWTVHrd+Zw1DXw4e9g34GO8hF+50olhbkzbyV/29zziDJHjf4WwoDONLL442Uyj4GYAMHuUgaCJ3aflyRvbpFHkof8q/fC/2lL237oq4JuQUtDz7AYFC/nlrHlcMXCPP6YOZxOzZsdJP9iJLT/MhoKy4wfSoL7lxsG1xCCLfh+X9YgROHQx9ale1T3xP45XzuLzMY6QkH5W2Mor9ZIbKAgoFaCrLxXl4UajaS9IS12L3g7MjzIgOYNNZ4vEFyVEZuIAcjbl+j94/ZusUTwUnyFWKurX46+jHQ5Sj9i05cEqovtWroF3XZ+5TAHiQwUjgz3l95UlRL2sl31OuxeizCHjpEdKV4Ca3HMYJXhEf6BWBpFwC6Wi/tAT42ARbGHoJ1OoI8fwVxxfDYRcro90PoYhWMuWKONJxlDbFuyDKYfqzHP+hxJRjNdD2G0+uAyAxblFUc1DMn4Mzl/khC299ecexidP500KvduqcwhwrsUEvKiOAU2VeIJXlQGR9m7yHeivviW+DZ+kuvpNtL/Cwa5Z21KKCBSlyJ3veCibWob1YOr3zVmCdE+2LHW2fVYdMbew1/WmHbHY/s3QE3i0kjGgXKbgW6jWVkJGyDjaYPNXalkdq7wrYJQSlhPZWqI6Z77f6kPYfV8V8uS1T7A8p6W+fbgl/lia8MLAwqjOhjkHNs/FmjpKO5uwxEbMTeCaf5uztKj5DiJPtBkCoReJh4aBGnl3BCG2bobqiPJK0WdeBElO9w9055YuW7U9h8cOrTe3rfC6f3/6oQgAmnjAYWMmIWFZph0STak5EWrwWwYyW5PPHJuD4p1v4aeVxR87xM2hrZ+XJVKXQmpm8fp7Q9ppPZY7ilxB0zJQegKFr+ff3AWTnIrIN2lzLH0qEC46hlnTb8VKEtEQRJIyNbdA00A8hOkwmKQzSbAg6royCetPwNiNYHFe8UBQuHLeozm19cxECAxhHzWSj0qfqZoJtkRX7mrdFlfaWnguvQTNtLDE/O5/ChGWk8NnaMFUbZqs7bXMRSQu0ZuHTbYiBUdwmHGZlMfjdsJ26zoiE4sRRkW0KQuDDN9kuQrQz/zi5G1J7Pb8wG3IHUp7e6S0zektJ0rqYitVX+jntScsxkO1o+EJ3BA4xDjqb+bZjV8SZ6Wbn1VGydPoIgNrav2s78yD69qXXasrWfc9rCiTxw2fbBiAlL7YewbH56r7cmX5vSWohmx4qcHbn9E5OZe487QD+sXMJZxT7VkVYI2Qc0qKANAMEM2n/9qIrbTWT0/l2939MPueDXZrivcJwW7RGBC8EP7TIkquIAH9QMJfV1yUU/p6RFqnmCA9fDB/6ZWPZxJQ23GJlCxjtZCQL7DefJHrqjKc6rbYJfNwtlD89jsyXqdgXkMF0SDODtxK9bMA1BRCowWAwgKuXqx5EOJTGLOgcCZy0Ycq7SAFM+Lohff47Nz1GBgy3lNgbtp1zebvv7wnoCVAHBuQaT+XSVoFltgDbylbjLTCWhkhoy0mFkbzfiLPHvtl4A8MK2x9mSTzGZWYe7VNVDtWj9m/bWncs2Pv4TLffvMG/6Dsd+j22MAADnMYLklQVdaGB1q+oySgXLkoJiCmnDoSIJOx1V05aA6cExgv3FnTa3KKm4a3zUG1tFf1nMgtpaRvJkYAL3Pxzfft3OzIuV0vSbUt6PjJuRnjMeIUr2ZTLD8UtO5UDdZs1z05kGkD4TLk9IrBk+Y562pzwMbk2WwSKEq9fFLEUcsq2aXY+/q17iPLHC6DGtl29WCyDGasyXDKF+k4UxMFiL12kEocDrGdVhWtZ78Qz24u9aGWjynIx/1VUjWEP3OFu2F27mm3ltZdn7vpDGfLPki5J1TZNy4gj4HfDVvbMbcqusbifgkkj5ic4YNXJtsrb9KAy/GFhQNpOGn1bBXmn4/G87p8cITROstSG+N37Jk6erenN+H231h6CO3KdwZVKUY9UH8znZHC1Gv/5LMG0IyJILiaXH4TD1bIwVHNq9afuIwcAZeSqjHNqCMtYmqMW9+ZKxjCZdHgv9C6K7wGR8AcbJkzjKVba2L0jCMrWkADFZHLk/UofwHQEIIugUYbP0zUwWMLmmKgbeBhIsweSTCPw+rxJeMeSU5E6Q8fixAnqzP/mEclG529o8e6MM/Eogha1WxXQMWtQbLQbwUzHO1uvrBLkjQdvOcK+4jeg+M1OXvwobmGi74T6AZqHHZC2eHqOZ7qbQTIFhIQXJ6Mv+QWak6i/lLaSJqL1JxJ+8F73GYGNjcLwy+dTEr450FPflyfihUvRRsBdaZhzeT7SKjEbHibi63rHwFnSx/tG5TBL1Bg8SKzzbXsdYllNEGpxj1ac8F+cx1jWdwzocTTHgAQtvcJj8Vc5hQu17q+m7jiuE6ewaAIIjGlAoHXFxoXaGgrYUaOkkeyZwPGt0FsvDMQ5zBvED0NibvmSVkj3zOJnAzOHZSEpCQR2fV/fxcyQGWAoGcEphRO8RgAlwkpIVILktrSAtL5WZpNMSvt2iYVtaHf3smt0e7zm1f3MxuhDnkXLktyaXGu+sKU98s0BxcFVSFpCM1NKKgQ9BY8vLmcU5SgRevONDjK0c1tAsImxHkCzdb6RMPqsRkhnt7PcCUCDrIfY4vsAWiHUaQ6FoGfwetI+lvHU2uunO5XzJfxbjTmmG9bD/KE4dph5kgF/BUeUiSfhk7Gpqlfp6UutUnU7kaaAgFK99LrNpm2oe8zLQe9bFldFOvVVEW0VxciMTA6RVCFcHe6erf9Y0WC5pO4StWGrS0qjmFR/S/D7niQu8X9KzW4rCk/IyuhkjA2AHZ4Gb0EYdVyBUb5zZyO484pEtCFSGPOUblXcGG/fDkVVpJ05fMtKOldZkMHRm8juiLV6svf/tLAZmB0+zfxzwTHoAEP2FrqFor3Z8/v1ieqHOzzgK+7l/ZMNVhnF6WSQ5SIcsdDvgYBB9Tl+DgcTC9G7lJNxw78bbTHSv89FXv30XcEZwTS/K7IRSW9t7iqeLeuqqPcIl+wEXtPbi3FudWfwH4UAlQqOwWJ0Tjcib9+b3wz0RkU0wj1xQ1JC2I7gOkQy5aWpnvpAJk8iLV7942fczQlDgz90BBlezjRUNLxpGVns8tLAGGDyrDLLOX6GHhIANrdftR0aFpyEYyEaN00e/XK/FPBgbxOPChiv5TRuTBMo1N174reAgulahIV4L+gqlVVvXsEJ6IXyiBr4FrtsdifnL30TxR2GvXaOVMjuyX6alj8B4fILorD8dP408u/36zT0A6ssi7sMbv9zgvfIGWr236YXgtoL3LBos8pS2zk0uLbsc5OXPx3EUyGUVU6mdPsno4u66w5nnzcZDpDEMLDIwjmPKbMwX4W/yuM7wDWBlhpI4rzC3YTdsxtgwhirfJJGrWwPHTHJVvA/6HP4d1Mjc8WRM5H7MYA40OfST2HKrPNv4xZunRF3AuB6kKv53IDBadVL98TZtj0nkjwU58cvojIYJopvvNkrmEs/BN1gr2ZpQouvkyv6M1MNiekU1KN+QXoy9b3Z9fPkrOKiZrU842kOgrl0ltV6c8aqNp3AKbdsAb7CxFdBhUGSr/xYQQ2tjie4AS6FNpK2ATT7hHr9M6tkEiMfJqLYEQYcZszhRRpC9uzsiHaAYbgJAOJV35biSyrQpbW6RD+P1iEIZyFtMHoEh4EqU5Qc52VgBSQs+ozBa6BqhXhGNUJuklDY5/BjSPFM7isyj8tMH269o8oAgXOU3BT1LTK3zKQ6s0Zx9TnY0BB7TQpwOQNLuXCuRR+VWEwsv+oNwC5q9ebP4RH023a4nMvWR4LKYx4bcXy71VNX+vVQcpyMfdWqL2O4dknk7ETeLr5deTRdboC55YDkBpbHG8TsKULwwMnKGqSkW9/ThKYgNoxdsl+LM/NJrRp+pDdaZKGCOqHAOwKXiRjuRswCR/QlyrwwTYmxQT/02SZHsGjAlnE3mO3gVJAg++pd8dbOPenKq3PH5/uBe244r89qXef5eCy693Jo9xBGSMxdfDCVGyzM2k36vRXQa2uRJGjpwEZmP3UMX8vs8x0+R0Zq0wSw0q/42xi5fZfpTUhq7qnTus7JWs8AQKeUVgAsrqm41eOKxG4fzNN8Zu3qjY0cUwLmWXRVVVu9wyr2/x2OhbXfS27RQ5EM6nbkgwI4rQYtdZAuK2BatR6u0hoMXZy2LDCCb4x7OH3SHVw+F9gqLED5Ow5AAlre1koPHnxWhXmR2SroFBGbP7YUVmlkPLqBn7UaYD/Id6kAc9dmMwoIqmAY7kJnYLLLx19/1aRZNkkQnS024lzpmsuppDUMMOw6gVe0lc1fNGetrEpDReqr8iTEqohDsGxUBX8FHnBhX3lBt199xdiSXwMg2lWEHyt4DRn+sDM3YzRv5Ps3rbspL9ssglw+1wXVEi7im39rPHwzcvLPYiRgNKjfs86Pe43fFNGvDhWT493gRSPh18HTFa19hnBE9HMOd1b+gcQxjsA4akEX/gtU/rJ5KfVOCVb6XX3BMVM8OxXpuvVVGUqmHNbVAzsAoNVHUczMacywOhWONNII48V/ASY6mWUv3//2/7kgnuRvmeEgyaYMQ0AC/ckSSoj2QmclJ8BSMNRD1EUAFgZmyhBHufEb4mXvX2VBXgJqpntSHHlt5KjdPhF9zqZzqgBViMDHV8VXBRo23cfdmUOVhfZ2t+vMrhcOcD+2DPwEAG+gA8nJeocidtUL17h7Qzz19oGHr/VtrCJyf1fyLkGHBbqTQW47K/Ir+e2SyCIZcE9ZkeMmZjha8KeNbS2OCCPQiL6G1SiNwPs7sOO4ZVSa+n7TptBPE/szNczHepjk2KP0S9KN0B6eQ3do7K74fMsDB6kjC+MZi17y5PtWvkKRrqOnUEC38HqWuJcsxwT3GBK9++Pk9kSe3QxxsfB/1fkPFY2/JipxntFv8/xQs7f4DrXMp/rkVK35S/MQNIuI40yUfFqJ5a6ApgDAsWXn1N91RY43qgQIW2Hl3/65QT/p/PhZM8GgYER8vejkPEQlS9Pd1qt0w3hoDWIyapiS8EP1zw+MYuWrhZR3U+SCe+aZEVCUHyChL1/Tplj/qkL78zc8tMyeYYBDiXQ6h3ZhWKkMO8n7n/+sURdhatWw8WMvtcEco62j0eVi16iIfcE6ACr4yTA2X2El837n9OdlIpR1VAu5OUn+k9sNhoBxa9jgXOeWjZEuwbQI1AhWPNzDYo7mLrS1jl8FDgYpaSCZj/t+sxkBkvBALwFdutJ2xTsk+0WeUg0cpCLMpBqjmyRLv3DYv0vKDyWm1vnNrWyKQFiUxAvHqtBJUwXOD5JR6Hg2FSGbgZYi6lz7mW5ntciYRd7kc2+L/dQuS7mV5wyUVrc4PMO8b+qWa9JwL74++LF2otHKZwaSEPnEhE1X+If0n06kn7LOKGZQYHpXaEgYVxXv6CX5JZERH/NdjuvRYaOge0sCs7xFDVKPUMGkVoxG/6WTGRoEM3O0l1UtsFmcU26FtbJ5Wc08r5uXNysUndLUcbOn2SZffMSShIZD2fT+TV33pVZ7hSBnwxXEarQJpbLZ42T0bQ0zoCudToooQCk0R838Jdsl41XD/AMgPdBXoCtvaqHkvqd7ZBi88DHnMbu3zx5RR8QNkStemhU5Xxo3XfveO3zSePatOWhLyCQ2RzYIrEH5OPiiy1fsOJns7/8EWserzHL1ibeqhewdgwrXLB5rRvUN83fKoq3TExIbQZpP9ia4gGRZRbQegAzQt7rXjABbvyTXnZS1ijFXBXbbvgYnWzX1ZW1DgNqEhFRZ1ccSW0OoPdS3OBn2QMEBct/wsqKf3GUSrmkFov2FzRM1uLHOQErlS4mu91upKTCV/YBUL4zjCbEfEErJf7AwjWkF0GZXC0utD0EnG9e/ncWoHdh/yCaCQs5kOJrF/ivTtWsHUdrl/JYtKJmYc91f6s3wGoBq9B2ejQ+D6Hmmly2La3m9gTrXtjIQHegDFvtCue6z/y61L0aqQDQ0oQNYBr1IzI4XuWSz3BeLp+YoBjxaR/J6ZCejbO+JsyKZCFiDCZj3K3vvRt20NQFgF+9qx+NJjEW8LgoNg8zWPzd65C9qqApLJYfKM1afzKujLIz9P2n3Y3n6gCEPZl6DZsq95dbFnh5BPf3pkMMr8Jr5MjBFlXqpHcOEMdTXdXH2MF3T4hvBNOuI98h6T+P6LrrLk5yiw7irdy1LaBkR9zpILYFzt13KlHJuhOR0RE8o7+nm5hVkK5Fk+ZUXOZkM5bOwkwrx5bqgFSivWNrCnr+iTBm7jpelYal1Y2GdyjDng9JVgWujhSZc2twgNcA7F/jeVHL+m2QGWCUi4Kw2Y9AnjmCbrF0KO+sG49ieacUZO1Vr277lviT+1kFEvwj5PhyZf5Opwv29b1hgy+E182Bns3OnF2icpikR4N3WgIYuSoFI183vLHNRJ9BLqtI3TiIwVXZINxqQD1pF2pm5vNgGJ4zA9n7TvTC7MOwb5wuV/YHYr01OAnPov1SCrwwqvmjRxxW6jr0KTFxrD8zRkE6hJkmhYa2N+0jdJ9gL1++fbY29QojgFmP8UgEyibExqD/u1nFqeiKMCgPVjb9fOYEiDY7YVPvPCZpoeHiotxyWMNJ33JayolVT2PD8NHvs01ZtZEiRvjJv4zfKFt/lZa7KYIAob2I985OuYdpqVE2UWQWosFaz3GgUwM4dAgjRD20Xsmc9YPZlledLgOQA+aUDrxOgbGzlP2fWI2V/H1qFwTmrlS2+CegfAFbLoDmFfLxM6joBkWxLRLVMatrRCGbi5t5KfHyOxKSIUh4G3/aTDhlcZ9AapnR0ELai8aEeS97/+Y2uy27nma3LXmPS4enU8vgQbE8q+oT1F9/4SVWsBYQbnWdZRuNVw6B3z46c/Aw0Lm414H7bV0wnblluocnkcrm/zdd7n1v3txFfVkpdv6whk0BEZ1jJgulDBZSVeguWpZG8mfty89T5iwUlKduwSOp1wKu70/b5VqUOWrQGC5VCtwrs517kRDwFejXU5ylXm+v+Va9cVXN1Ht+0jzB/+uEkxcLrBnx2UYobRZ/ujHvrOSbO5vUy84rqGvgMM/OOoxSqiJw5BDEoyY5NB87HZ8JDwAtjUSdtcCXyTAP+mCL3UvbN4tx3lIDTynszaAK3Qq1SoU6B6s4Hg8kTES7jpRycg8wGb9BzU396oqt5ry9vot1UL+A0ZdsfrZxX0HqKuILBRbjnZ3FFcc5LFfn1U7WstP5D1KAkk2E6++RICPCFG+o1dxLpMEzY54l2AL347367GGx5ejSP1Tsi/bn0mhHAIRC7yp+TRO2PVLktIC5wxQTPf1ISmZiSSt+fVH7JzQ3ytt0/P0PM5PBdvNPs3xKfHJDlZYZiGsUKHzi79+N2xh7a3RYLM4KxjUC4EjI+Lyqjx8yWb/EXC0S6dyqxzXnSnuk6OhFU5KKh+ORIwx+jJjkUAdnFIFFI7R172ZaVxhC3XMeGFxlHHLGQ8GjLTVLHz/SQwwt2AD/JtocW1grkyjrCINapjtoFfVtHG04/oiKEY6ql+SfZArJRTvlVaOaewG69K3Jq9QU2GX1yifBwk5AowxpHvnBqF6FWONqdI8AnQEpLoK5fav41b2UzSwz+9hHKJ41Uf10ht+RZ7uaWnZFmOE29ID8Qkhv9RrmtNhcNor8LtKn+kWdhfwTYapdFEI5zVhY19akNAGu22W2093jxoGBCIfUBRkrMrRrg0B1cdRCxWX4Hu89j91T/UgQGOShRXizWEZnvSK1ctLBSWhm/wWbB2rhQm2ms1oIPFQ83513KdMewep9vXWg2kqLD9Ccl/vdmTClqDyIIi/LlTMP1ILV5IzJ/jIfWwrBZU2Kj33bJRNa61FM71Z6c21PwIR5Z3+TbJOXeDwN7VD50+m1r7c+M1dCZXUt4MLQj7ddDGMbYsvS9zeHq5pg8ESCgcIzG6Xgkthi0znt70JfXD2cxvW0LSaau5a8l0f+5LYkOKRs2V/BKvnoSVEhh1wMGjSHeI8hMIgiCZZ9O2FHqK63kct4dxFFkB5P8HKuW5X6I7yHvyUZ4jHyn/O1PMg4EOqNleg9xlVaeJIsu5mpx+7VyD5nRg/TLcjEQQVUUH2Q4pdoz4DUm5q8zhYmVBFKYDe3/v5WXkH26Zt3E4yPEdtQ89aNW3bC2tJQuL3M4uBmyWnjwcOUYRPD/R/dKXPpv7nR7uxuHDKYh/XnVWj9MnVYiAGOo+Nhd4kSNauSxKEBB1qGFmvYr3PKN3CH2fA8Ej0unKYHDKQ6UVW8rc7F/ieR0j21BwQ4iSj82mTeF9EPk4cmmrErqSwxEK3tvTHsntPtM2wO/Qp+FldqhbXhaDY7WGfvhCqm+azSljhM2VA6MzcaLR5MbHLJe6ciVO96JYxmOBHvtgpY95ailicS+1WEGUwlEmRK3m9EDyQJ8WNn2xt4OPd+y/HejFYd+Q1t8yhIKgAA8GUQVMnMSkz2xN1rHzXRDwZ7o+bercPCeIxs0LLMWUGbtwROekCIjzv3ZIN9rPEFI/vP0u7xTJY9cJ4NkhRbuVTQ/YiHBiLyF1Eb67oAsWkOyYTPPpiH6Hu74g9hmqFv7LorSxwE96R1az9IhCgl3kREy14ht95wzx1oLp4brLdho9TZvvXBRFNW3+rl+cNYDCgr1/UN+GDtI6iTx0IwICB0euXH6fKN02SG92wbHg332B5t6G7InKkxNfZry6Rqueu5AZhWbgpXs5w/wyySukpb4lSx6lXGt0h00gLgOLrosBPDIAy/cH0nJH4CopHiQXqMXbZD8nrF8aUjfWMKh1y+tXNyF+T2vYMGSmOxnY1GsftzWnp5P22BgmjhckXnQNAXuwompiTw47wukjgxUdPZ944Uf2MdF0etuhw4W1DHITQuFIhZYizoShNlp0/jxXeaO7aN9wkrzCObDiO/WGn+J0muUMqOzJ9///a9X9Y5OYxLLVtaX/OWQqfLJa3f1ebS0sqNjbkbQS/xictIb8j8Qrz6npHezG+qP6C7Z8lo0ASOqmWFHJAGNOK0fkeneZxuCPV0Q/Ltri1Ipo/vzCvrnUDH1yqvCmhrTA66GXiGAVwltV0EyuUQq1gK1czx47FfNjbo+nWZX6umoQtSWPtCHrNl6+BZrEgi8ZUZJwdFpTvdMh/rzTzlTyvnCxeZIXBmadkten3apCbaY4yKLMYtn1ICOsz/GhX7P8D5vfH2l0zJ8i3wchY0HsnJRPED8PydIL8O10r0LTaTHpmGDt4NoR+EmKp7SPwzGG6yJTo3v1189azIpDqIPQpKKEH/kxpfippjVuSw+UAextSvbuSDEiNFAii4Pp78lch8GnmDWGAgJYI917wpNBJU+gR4b1rUfJps3R/R1EkD27RKlDHGKPEXDp4sHDOmfI6IuhSeULTQxOmnVbk2xQlSIowZjfFXxaBkX2abh4Ne3155ol/IubxIhXrkyu98kbV4dNu7xBKRyB4nNF+qNn3ANzmADg7baPc27AflARryfW9HusOr8FZz+XwgbKsek4Nv4klo/iI3J8JV27ZMdBCLDZeZM7fjJbUGgNUJRE5uLaV1gqWWj0AQGOzwjT1eWkKMI07rSXS3KP7IGMLxxvPP3JO7c0TeQfq0XLuFieapgSI0A3iUgZ+/kUvS80H3JGT8KEXqh3Bre6UTjmRE5dsRTGAStNcBO/hLPBh9hNAOO51YFfONx1JTEyoSF8m9ArI3Fkih05CvLbxtJ7KEwnrL7QtWjEGlUrkvFBUyBhMGzIiqO0ZCba8IGQNbUVM7Hq2sNRC5MGeCY6gN056EvcBc73L/dYsLLI4+SvblrMfxeS2denTZmkWFVY2QdMKkP6WCmR3cRyU42SLyLeKbOTdNbjtW6gl2QqOMRAgJ5jaz8MjrKXIV7+1P4dRauHttxLKmGN8jRfXWUZWRf1Zah9jAYbShdd6/PuPr2Ea/bTAi9V3/idPPAi/vmC/kBiRe6s0A7EWls6jZqgpNr5T377RMpSPLwNA4j0mwg3sEVZl/1Bv9KcZPNO6KOtgUlXViONdHa8cT1HkNY5WcUczkLhwwn6IiDsCVNoSTGO6cylPefjoADvrg+AACw6DgYTIIjFs2Jpv1JMfA2jVekVeYGhtXhgiyhJt0wOseRr3S5WRqaK/NOPrJm37wMdb2sFBBunl6yvWlXgea3+w7SSa+16zZzu8xNptA72ZPB3D/bh3ZB8tHaIvVVJttTDpbGbLhhEsaKckK0I+aWhx5rIlkbLqt0dI4PlMPOMg6b6n3M+V4Jmy5UYN0/MR/ZVL5S8QwMsw2lQacQTlGvqo2L2GEnmjTWST8yOxMaev/T8mFcEILlbdcmOX0DFbhgYMYBfjmisLefXWyKlm7JPjkk6k9xpUKWEIk8ACWYBJkg9BvEx66M8Bl7rpd0i2Pe4drDyYPq5FTAawtt2ugUbdbEaNlohosVzMmhtsrtZGjbbbgeX/1bJpLqmRPfAymnF34jM7lyyzMfcT83oWpkBJtg6HV4T7K1LVF93GDprswEY2mzDyAbBGZq9SKn+cfSf+WciRBNtPJpQXWkhzY1kjgTzmExB3fllzJRkDxTrCMnH3r7EPx22QMFChAX2pZEQAt9DQ582KD8xhdKwEeq7Uzs8F+DwZIEXd2ughnhj3c4WpPJT9a/eyi91KNfbWNapDWWbwEpoX+Mnle+7DF3kZQrfkZt3NR7AVJpTYLSVeffgcxaI7gjUYcIwQe4BNrEUosE3zGbO5UEw/oF7sJ77mAAHTORycYqq9fNW7O86UUjpgvxS5R0BZnDpotmJFxAJCY/13NOmGbGYDdfoAsdMOEHumoIDvXp2xO159E088ysEpVp0+JdnQx8Q56DPx8sjE9zAlYdFxev9kxDPwIwy+CdZkaEst1+AK71IZ06U0H8AOjboiI84iVkpWUK5jbMirRnS+PKsptcjMzNIR5q1BLxbyFgka7ZqtC8XqKY5S5oN6Kw3ef8c1bL7s5kb4j32b+Z2wMRR53sO0TAIajCu2xY8W/GU+4OjQnJAzbUBY5KbA08g86dR3WuxBB+CYjPE9Ml3I351aIgOhsV1HQgu5Gdc+kAQgIRVQIX8GofKtcoFhImuQ7bZJWx4OJqOnlOa2+x+pwyi17qtg0yBLsLJNFmZVzOXtgUgqW3V0HHgS95ZfF0GgUHoM8qMIpkVerJQ0aKcew0GvSPHUWs9vFoMCC1u964ZTcEKJyBbaynDcIKJFI+NaU74xNXvDOz07iy23NvtOBFVpYW3aQyxADu1M5Uyxx6+CUxNDj2qzrm/mg0JKIrA+yef3GYGdaInYXGG8PUdkCGz2PJa8KKFoW1822MH7TIIDwXLiIqyjtHUCj0IB3Hw2gqLeqSNaUHJGy3kKx0DdHIQUokX52gOlcWSQonP3c3CpsXIvHXdlgYBdAQ96LdLgumwnuurx8Q2gSdbyF2pN8GL8Fz8NnhA+jT+GMKJCIEd/nCIbpxJqD9cOw3kl+EqaAo6HguXilXKFdxfd2BBhxPiI4CZ+u4Zz+3QhCdkA8FU+60ipqNZtQrh2ENJ1XhBDKZNyK3RVYNa29GA5KL87OP2GozCYuJDkLF4YMKNcZTKhtml9v9uqQq37iEkBXmyfZtGgmqtkg1rXu+uxu8Mn7bJ126wCDUQBIsYxg7BQZcz2RPdxS4oekmQ8RrL0maULzAD6HmNiMRtt94QpfjB3Ssg6GVZP08zv4p4VBpxhbXMlDBnAY51UX9oDLjQq6JSWsER4+XbOeO+ucfD0BP8iybbPThWNEkRVbLhgcycH8UmF80bCTV9acEtg5iQmd9v0bdWvEPmKX7XiTw7aYrolvhdtwrAN4tltUEHUJY+L1UAfX/hARXqX30kkGgvb7La+zSWYRcSNPtltG9KqMT7p2JMSWYedPKHeLHnNZXfPruVBiW7QhfTW25SniNTIWTIT/UCQiabfU3Vr1W3MMDP0wPE+caMVhI1x68ex6aPvHK8j6yWdOKdR5SRbqAsCcGJdGt1G6BPjl/vbYFPIctLVwhuUjtyDvuefZgKDBWZT6gszyrMWRfaBqGByWT+OfFvnz1GmyevCZ+40HT33kQLwQp2vd04rkcfvP5ncUxn12ciqROouz+19xAmZ+25Y8OlfHgDQ0InPcNBDPRiAQMst57+cDrE2Fwonrn9iP6yXD1ESt8XYGEwVqicg82eM/+J4z9/GKAZZ/E+kNV5F+VWGyb+3CoHvrePScLU+h1XrqHsa1gko7XzSeujD0C42E+32ZtUVa2m51PXRymV+7km+Xru59pmSeYXIemoeJRinK4jLPqi0jWDqn5yWdS1gPtwEzaGXwhRGfBAXsSekls3wEaMYpwADMytfidUlSyMmwIFnQMcLHstmvqHcjk2azOdhZb5csv66Sdb0DVHqeyUtEpIfuHOt9BCBWWLE2a2QQpu/KLsSg4pj/VrmORbj1D+xJDXaTpsSZgnt/T5zcsQBl81WGANN3WGSXwuX9RKO6Tup3tScimielrnEf1KLKETjRWCkOIJlG85srRgmS89SK3xszR4QS9dAw3S8Nge9KarXuyFEUOTLBmP2wpx52hMLJAq5EebJaLXcSO/04dwztmUIUtSGXnxwwSJsIfE3pmNrq1XbEW0xV8gm/Fx6RLDM82SuVbJcKTXDTJrexVxquNR7HJ4F1No7L8zMn46c1HK9nRt0sA5QP5enqYdbeYWn75MgBXtW10DTxKREUCqE9TQ0XJsYmDhBoEz1L1z7IYpbOi7Ydd0kGS+vJvav7XFBSjjv+vmcS0r1sh2ehkswz0XlW9AFI6wTWJ4EqVEayi1ZGyf7N8CM1Q0sR8Og8ztwo+sWIIZZwn3e9c7jr5neAohub7ngrQRk6gXFXuQxqwvhN8qloRqhfUcaCc9jN/iPdXMuDUZc+vDsmxcIA09Oq/lTVaFh/3ESV+wJDDTkFCwZ9bheSBNYzAVz8rN95019i1r/lddS3K784EMjZqUkJA8UqHEPi1YF4KLrEeXw9gl/jH8mDsYZWcEbf5idtxxHsAyCZDTu066vbZHsqi9rQo+bIN0Cv9rV2wgxHw7zap4KGTxHTJdGvQTPJScIeJclv1LT0ewcLrolEOPehkB5DUS2TSc79rJx8PSUO9iXJkya9OtkjdR0q5nuurA1ZiqB7oFjluILzHqEh2tMnB7Jb/LgP4l1qAyHx2aQmjM9lRQ+zqU42ixfAuuG0djERD3/drnXg2+GmowYqEX109hHimIMtbBj1ZYfspB1SR/OJOeObrm3aUb1uQt2rf6WxvR2qDzT04EJzjF1Vbe5TuWL9mgnUIrXYaFIAu3nh+E7WetAO2kHi2RHVtomz+ZKdff1aZlUXkzSWRRzkbCFR8fufNKfjn9NCPsHlvhyHNHJoDWRjTObidaoj3C10V7HwZhmIRGIp9vjDzw+HVBbMAQeiPpBB6dmXcpSbPc0VoZU7+UWqXgX8Msg8NMs4VzJ/5ofca3ddcbKZlJdRK2o0yOkfLLsQD1ABI/xGAMDkagNt34Go6sfv37wJa+/9Sa2rMkqWMBmP/DUD1vYtMjKc45+dyzoqzMJBNqYrcg4kTOhR+ZVK05LmyEdjvBk1viaIIdRHGo9abUREEF9OY7mOUnlfknIxB4oP3lAmUVE3XtwzwT9f/eIGvMNg4iace56s8AQDo8xksJH6lmURlgHwf6wVg58Y3uzR2HWqNmPrapAJwBN0A8GFmk9Fm/jD9xHpk06ltFLnUYzFCKAafhopRtXx4ENMtEPvZ+qpo4mxh28yYidDh9gu1RqkBlqV8rCxNDNTdLF4okUqbOkYrugbm0sbwiFfJBW7rkUJf745dEF/MdtIq9EUtea4/UJ5EHrHryVzT/dGtXu9hXd9syW0f46UZUZm2QErY5FCvKInGa644zqofson2i5W4K58BZ7AywZQSU5h0yZmiPmBZ3M+MkFn6dIqmHqeliS1iQ+it4n8UmVOmTgaIiyJnYueLbuENbL9MUeU+rdhQfjWk+q09sN+riMs0rdFtSAYWrncbfK0AX3/R8MgGLmGGPGmEoNN5Lp0CsWwkELNZSgrSAPJBGpNkq81UOHBjTjIOlFea1IHU+MoZVayu+MVHKdEhHtbC5PlNgOzsipGiLWinLdOH2/3rJBuFKSxvl0BlvPiXcdu8u4qu0p7cutxpc22saKq1z9dPUgMr2ZnNf7almCa+rgRqClBIL7139EFEsIZmJEgvFsnUyJUWeHAeFhvddROmTW8Dlb1bJhomfn3mUdh2LZpXmmGqg1XCtAXM2NXOuhMpnu2Pboiu7O55NTG5vdNJc3i19EihWCj0SCo64L2Sawy3jwN4v+oLQswIivqAwETtI/LhTkLDCRgiQOhJ5KI3LsOiAHSxC9Xwi15jXsc5w60i9Ug0D2WUls2/cp1a8OJz/ul/vSgjCbsNbRNW2S8z4WfJLrYahAsx79fcWebakV4KKRpOv4JmFRRQWKudp0V8CFL0fmppMg/d1nM/faTWYdTNsMWmL1GKvlQ0jXIneGK+/knsJBRKo96+9L7kMBwRgUve6WmhK47/uOo1kF85g1vnS66xwk5wzkCM2/73n0wtm1y+sCy4n14dpX8V7bs0hyyMj6aXsF5fPL6qN/SyL/PJoBwfeUNYtU2DHErEdt2UE/i1I9wRXG6Ee1w2Wa89rZQECeHx0E75u3jhOKfuXdSJ+22hfeW7AV4s+i5zlhjSQTH+wGUJhzDWZuH855KHd4PUPfbCPbJMIywl5wsG8JVGuVt8aDxPN6+zp4OKfI9Bh0L769zbISiql83Mizev+N3uCIXkFyVhwYEF9Vki9OhVDOmBWZoWqtJLza5Gz68ZKBdONX8PphNFTOmzN1DQewBlWbwezDXvIt23rbqlt8BRCtbT3MV/T8rmj5mPc/9+DHzzPWwkQg2BoWQkd5zMRaoVrzBentxosV8OSxGT33gOJV7JkPSO0wZy5T8Q7IdHa7Aao9mXH/Jom8KXI2Pnap7mo7jbaEFLRbJju9dCdFeVDU/9KVGLQ6HPVCshwiLwjyrvYZKLJgbuDQ9OkPYUqBmNH9Ugb9SCt+8QYCmBl996QQNWkfxPwCtjKPNpu6TvVy8bNExrtlMIPpN6+mvIO4mj8QnqTsoL8SIBLbSwGcddu1Xg5QpQBX7sqZvgulmjdfJ+LD2azZskSA2untkekKaxrqbPne5Az88Mnz/86JxumIgdM7lySy3CMzKLrgKF3zE5pGJvxH9SMPPvcLJAuDtdo/IP0q6Jiz63pH+cVl29Iapkdxx03oLWVuiniaus+U1zyxqaXQ5k93/ReGnanfzbT0QsApx1uZNCHPXjOWcpxco+TrNdTJ5eLtBSzLUMr2sjk/s8D3ajuFC8Lb5I7Wclu3gW3AV2Gt55RnlSLxgzhWhLn7tD3G5oZeC+lg+asaiKRxFBW6jc+D+pUkk+3aKmHhcoPOzz4G/oft5QoCDbmuSUQlgiEXLE2Y+Qt1Lj15sgTv3g9M4Q9TdPB4YBWFmbAadF4LBjurAXuVfVGF2/OG/lPwbKNCRXpdYf+SjdzMp72nyn7j7fNhlFXlEXTMWEpdEcb0ttyvBxF+IYViLL3HnN+yP+wYD8BuDSdLYAZOYhnSAHSfDdgwR/5b99KaW88kqqaMC5wW+R6Qb/S0njga1UBtfGg5/seMeGAcQjCr+pDPLRroMctxhQUga1nxiCmXh+GerYsIP2xag74AJSrh4u0WhEyBA3mGJ9gf9DtHcuf2Qx4VM3Jri2J4oUHKhRAmgrHwux3qVshDG3RPc31VByfDzET5yRtxvTJv0arCOUoHQlxRGnRpZdF3ExpbTQ995kk9mE1hMm5RzVBVL2TsRsIR4/GT4T5usemgNOx1aa+BJwtJHBgNLwSyQIYvBf4dp7FtzhCTra3M06TJ9rvG5q/Mrrj3GwCUtxqzDJiKDMaEczmPxmba3AnHWkAVFkyfBhayKyyKR+QyIZqHCz3t3bbcHAjR83a3+WFOQeFhc/JlngTQTSWjqkLkt7H2hfGcQKAeUgejKgAS5EIOYVkuQeUHfBggqcJzd+sUZkg2tp1+reXFWmGdw4rRpauegdWHAAIQbXC/aU52I9aB9qYbXBKp8w1gcbhu34oWj6lnAW+n259HhfmaDCOndmnIRPn2UUeQC+/8n+82ze+pIJPRSeKtEK8ekJC6IZdry/t8HP31RVi4QUTiglveGUdT75wqFvba2jZkU5coiBBHWVhGOyl36gcnsooG0Toj5MfFrdnEZzj1kj/GF8U5NvLowlDrkhFfkkGSIRA22RxQXS3TSxir8TsQsaTBFeFFebXak/UfBC7EJYPMp1ht4JV8HTA65zYu5LpsOL3yfr6TuqZhgxblN+G0OY9yJudBNZNPfkw0P4yMHAbkbj1xuIlfhKtm2zl2Wek56wPzKiVpKXc53tC+pVbl34x1+Xxtpm6TtZI159S+sllX+qFDbS1clZjbaT3ngpuZLj2Lrn5WZ5EOph15nEeAUILJp0WPZM+nspsVE0hdhVfvftFzbc4yauYGQP/rB9A+9fHNHfSFXHSHDOzSH3/4hFSmx3/YkZ4Z2DLFRe/ryFv1p5CgAlKv4/zZEDIUQNPDHXN0GKZxcK0IQm8IH+ahKUW+5n2/GgCXMWDfy8Kh9nHvoOz37Im3n6I1z7K0fVD+2h7ejdPyR5UMvUzn5+XyJNxVer5qsryzq3dowCWNgP5EtTk0eFmF0DsVidzEZ0Kt2PBooHsFQONa647oj6KZMMOu0/MF5nziKw5lgaNPV4k++UVln6aAdkpzmcFMMezVIXqHaizPemUmIx8SNnFMUDbKE+1JWtDeRIIBNlBTFrI/inBB6/OPzAcZrJig8zu3pZ10Px10QePHcpql0CVvs42AjZI8M2vsxJlxEk89vFRCRAkyxd19/qWDOhuykRcpq6hEjB6+PrLUW/41Dg26BmnUcPCV03hxIl+K04m2huuHrA9K49G8+W1EircLTNmFhKQlWp9/IrPyk5civH+Y9VSuk1B3bdfCNgd1MLRyw3tbEIWEA0FKw8UkfmJEWjnGDJU8/Le0EDOR3COYc/7F0oIlNbITquSXZ9ZPuOfRgdthhaMtUA8vn2TKvpIWcw5/XlvCVsCWqVDQNplmv5Ril699kteuZIe5rEJHKMpdSClbqUSNj01eyZB5AJcAkxcdi9jZU4bFTv+AySDMIYEEvtQqnXVuVlZpiqE8obySt6RlPsmmJ/Dk15xc2rJEeLXURboNpAEkBeyPGigpOhj6LLq/DTedQFy/C87wri+GnhWs8f2z6sZaUTZEFGCcvKbW1ydjBMmK4olP4YVPSqdsEQz+kR/5F7DrjJ5U1O7D+5435msUp2pDkWeT/dcl41vuZgc4MeUZD8JTU2uACo7PN3vmMb3XExeVOySTFunSHauG8wjHnRlgfMxzIXzJREwCeitrRCacyiBHHnYpKyRqygVK+TkCiC32kXOWF8GpSv+Flh1ttyM4ZuVveNtQgvoKXp32F4abGM2m5tYpYj9lYQ5OvRnkC7vZoRtxlrgKz5zk5pev81urd5RySCSrbO2lY1qfZM4esOuQ9u0mEpzEajGjeV7LqVwGAr0+Z2VngUVjiaazPsqFwDrWwo7/FdOfSaDEIYAiXkLnF49hS2iRO7kabVSdDl4h5AkLqQp4mtbL3kUfvGflR1rANdeaq1ydOtDjf6wjsNMdCVul9ECDHKXjVbrAJO1K9eNfEJ0tOKu5HLH6PK6IlRxPw1pxy/58ZYb25lpvPo9R3uzPkn93iu2vhZbMr3RGOC94rZnJDQ5aLyG/n5fRUbusDJD+RqyyhNnOUIdq7ulhry+Fw9+RxMW1sLKTy/6OZQVCf7+4w3UxIjfeFhbQhVmLhdaRqsuCWH1dOj72y51H9yy0snuJ6iiKO/2AX4GTZ8g+P110mbnJBd8J9Tgg+D0OK20uNtTIMqAhjh2vIzAAD2S/Uc+QKYYTKKxzskJF4ed681E0IC++WjAe+uQ901RYe4HHbZAZpubw3rJ9nRr1DTjyLQ7xgZ9v3cIEO8nejXEiSFzsNQUORYx06z0bjFnBXjsuFHJ3UH43o0LcwwuDZZFEhbXfqEQlsIRLFJ3Rs/kiUfj+Z6HiDm628o58j/BhoUnmaYM0bwVvXHJJT5Kx1StUa3HLXJNYP5YUAvb2h/QQn1U4HEu9nPwQUKwdBK5BiAIIwVsgs7ottrV4Vsz+5NwoQk1O+XbdNM4abENHrJx5dzRBuORr3Og4Q/p9ixa7ApuNaRdA9nceC3OeSTnRRvwdSurxoOtpzMRrgZBeLGajoBREiOYyrKywAytDmI0R2VKMi/qmNVMVSPr/lYLIMEybVij5sDy/7UwldPOY6TutPwCe/Ax7MKsMy34fBkAzB5je+1rdDC4AkCxgdSge6RulccVFdtU89EIHdMaL3jSzu+RpDwzLRxCjL0cQFp1P2W2BINip2M+dxSFAj9noXqhV9RZHVtZG9/IeiELcKZc09Lg/aOmkI7o2gD1/giLV8m5XS52HZr/h00/TczqxnHaT4ePvghFZQQhARcxsM9WeI0AHwpdYqz3cIaes9g2PRJDKW/NT6+LWlWWYERNb3rbJrqgGCeipy5UOGL5i7zv4uYniyaj5HeeVHwioym/ok22yMjMQFwueVaWFAkChKTUnBRBjT4eHbwra9hA7m4YNmaFLTB/753yjpZd+EPAHPeHySipvXdbTqbz7sb3KlqCsynH3Vulke9ZTGKQxRjM/0KqeEI9Nk8uiB/JJPeTywjwSW5cjAC2AAdAPekiOhno8yYq+aHxYtWj2WNhPuoEAPKabFWgPYy1W6TVF6YPeg6O8C8Xdvzk0Tnz8B+ZLhE5H+gnGnd3w/qX5+SvBGrvP5dO8CHzDNoYpHzCDTfPmOxZdJ/zSgPMnRS/9zDvG1N3giTrAYqkg4UYAerErsqt7WTJOsdM5mjvZlo1lakTjAiR1oWLRp++xTfDJKRy8wiqITG+2fs4fWOxJkpmQyXXnnhakc2HxinYlWf7Zb1WxEjG+PqwI8QlnRbGqoEHXm6wwJuhg7iIK2jpC1+NlwzLgBO30lj96ssjGqRVrUvLGM1UK3m2jfsprgzT49OTZVG/aGuO/i0otDtskEoev2Ijxa1qTEz32rJiJ+3ndZJi2LjGM//KUvBhsKPAgCttVWEM3hPLNe6E52SqLKHhTIATaza1aPmknn3Y1G0dx0DfY+kn/qUNBgoSzrJdDLc5EmNWG7bC06fTdSJU2+4896EGrvFL9KaXr0zpji9pGMmpxlxjWbUjz0iIdhPqotdhglpMFc9alREWfLPsqZXLNhcOb/iy/kijJQxOfAQJwd3rSqLVl0Erdh03xu9/QdIGqvZhLAR+s1d8kj6cZxG3egNVasqXcegEQU7+KzooaoTK8bgqdejugl47PUYHkEOq1F6CU75WRpSm6vYfvx9qJoiu24csJnQ4+gBy9XaXdNdPKPe0uNzVRPxSJgIFFNbcjHZJ9DSfIqmTo3ssGo8dwmWIlobwrvM6k0P7g3AB6EPwHepPIgOpjeHy/M7ud7lFzUVaI1EesrKOkLaKsWTAqIKSGrZe68f6OlFf4iC36/yIRbPg6lqVOqIuYqd5gx1Pw2iaRu3A7KHS7tLMSTQYWh4vpbiBwHbL6in3gdO/YsZbF1H16+VNQLoHEySTrSAdqgJiD0GVmiZThlOAUtSOCoJGIAGXZTA6LRx2q2fZQ6eULJnLvRTEmxp/EmX0qgS1g9qKPtzBORF2WK12B1piR1ZSw5/OSRUcMJ7Vwj/IYcWwn7ViFYrmf7WTvf0i7v+SvSmzJkqAuJjwO8V0zDBsdkfrw4+kXXob44e+kN2adOpi0nxM7tK6QHId8iKOwsECulP4Q0a9ZgjQUXcXUn4pf75z6kIVmsgJU+2obwfVtNv4dv9bRsQun+SfnavFNF8BDqkEOfhm79l7o1DbuzPv924T7cb6GC7Oa/lTKWI2U5CRoq3DDBZCg9HyyMWAD+paKtiyFZ6oJPb861DeaY9MyIfV+g2ksH12UreThvt42yrtZ8FaJRvyJuyibKIKQm5l5ePhcCzvuIM/q2woyVWTZKDR6TXkQR9dBj4wZLdCFuvYgeoInxGW345fK9O23vqffTMZjHRHmJj05o/PX0orpT/GHnVXaQWoeT9mGyl/FlPrMzUWWs97wbWgBInREjahxU2ANX7uZXxoDub9GMxaLhJlsqMNNDram5Zpr/7tX5WZUoEDcWMgAwxGMs0GNUACoztKOnpW+fW1izLUXaVUilnujjFt6NBdwZkwP2fdOITkR+hnmxH1eaF7kR4c6yarWZxgfqNBN0B3RiXm6EghO4UpbmXdP12Mpuae5IdoDr8A77ImK7oXb2x/CXZCPGUHk5ckMB25SeyOsIKSc6ax3m6wW+66nIY06T+npXpqcMLOSLbf8JZmnyv04gOi4J/dEEnGV81VFuZAp7+InBLu0QsQ6ze1rDnbEMRLCMC6tHCGkxyB5AcLe7jc6dXo0+A8I/hFsiMH/QewYcunmBQwlpgJqt9WPm2xOtJuUmh3POF386sla9otefmCOrAcIVT3ggDRuIcxLdRwLeBgvxQqfYKEpOgZjRxxzeMiqckB60nCJeqrjc1kF4QqA8njzykIS9rwxJq5ecxRyZNutTSxGTFgrU0MuiZBQwtKqOvXrzjaTdkESErSXdJ1QwG+6aBfgBGTpPNcFWjpWMLJEFyK6T7AWBJTnLGmRMhCK9zBrBM">
            <a:extLst>
              <a:ext uri="{FF2B5EF4-FFF2-40B4-BE49-F238E27FC236}">
                <a16:creationId xmlns:a16="http://schemas.microsoft.com/office/drawing/2014/main" id="{D8E46207-5176-4611-9895-12A8C9A5AC27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30200" y="2041358"/>
            <a:ext cx="2477492" cy="4419710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btfpNotesBox632539">
            <a:extLst>
              <a:ext uri="{FF2B5EF4-FFF2-40B4-BE49-F238E27FC236}">
                <a16:creationId xmlns:a16="http://schemas.microsoft.com/office/drawing/2014/main" id="{2357CAEF-7F10-4E06-A077-A12D8E77386E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</a:t>
            </a: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129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W2HPYJRix4rlkNsmRBHoQZY5SPzS6T/pnUhAo9JM9Zy1WNHnj7m5MbLodviXR+zfgM6MtzeFOAZTUv/4DraTUx9AurL/IwNliPR/TEEgjSfccyneHQCowhUsuXpLXzLuKUhQGKq675F5MTgWyoc+970V69LxRO8bcDA1+4Sgro9EpBpj+6zjajW5ciEmhnzoyTpwaz5bWqxWpxnnakwvjt1GuFcVkpApKlM9/bFQRSwbOnmdWBGj94BiXnr+Grlu29WoO+NQxl+ioWsmzVA7pUQmYoLzCTOgmceXyTFpPhrxu7YEfrhJKR9Z2+5UJNpKKFfuT+u5fcSFZKlags5547L6dw1++at2B4/6EE2borQtX14PoOOXDcs/9t8W+WlYRQjGzTen2+WL8rYbjScbz2lFMH8tuiOPRtJtt5zaBhbFW7U8orC3obBLDviYRMDHu0yg0iEJki5Le8EevoEAAQDM8vhVjDBVX1NlA19sSEAE91Rdt8So8m5ZW76++QAQh1MeBaCXV/SP4Oh5x/795L4Yva/YPTWcUYemgs7v0GFZWwHTt/1zC3LxzT48SD86Zp3sXY45Hi/fnglL7NmqvdzqDMAf3N0ylPkzPAHrjVEPo9hyVriGeb+TtTAgG5VzU41LNNaakTSY7RTROrfIZKSeflqTdPuYvxjkb3XnNwp5s86qDAgFPRbXCZtrOg4caAkv/ZaetI7k7Xj9dtw0o/dtxAW7IOP/vaxdDSa24wAAZat4CO7/PrVPT1O1FyzYGV7/ldZtTEgUxgUpZJZJwXFZHLXJ4Wrs39p3sRF9dL1goe7zlPtIbVgAtJSIIHhkvBiMbcRnphr4CHdoVMAyVrRqHH84oJlYCL7Bqe+aJI0xfbVjavg+OLRsdc9lLGtCdLpfzdMPH6Ahpf4CE1i3ucN35YUyVAjfb8HSgeSjtms1a6m0f03ZOO9xDrgh7dIK8KRzAIWyaSoEyItAT0OztQZz3wqrgCK5bEurVmZ3iv7ilcRTRONrbp+XfKa9fuUP9Wd4Uv9rY3t+rgOBCUCTdKTTdomgLuGmCyaMtje4oAKnp2StXsIB+ag7iHB54TgDCqciyzAj88zY0ZzZpbqtbiojrOn9lDzVkZKPD5SIgHsNjeCMYZMCRlZvr8Xa7FycTby6bdAhoUiiWewaPhcp+Osq9r8YgFovHIqGra5wjmkA7OUPtuQM+HXXTWFe+0pqvd5L/iSUJaVwZc75c1L63FnaZgjCpwVYPlnJ9ukwYHrO53iMgq+InOVU9aTQ43pMDqBMnoIL+UbDBnXxBz8ibPcqx0GK+f82Aq1g6P8bxlPb1hcUfHzrBmY5m/D6mUBYoKpMhCPNuBrJDj5f0pCtZXd68IzmiDBPaj74cEu7hwpaVQMxsLeEegEJ3yYu78Uha27xPp5yh1NMYXsPy5yqOhmrnOXBwns6YoegJrVdBDwjn0crXWIoH8f6CWfrzILEfD3k5YpOvk8b5g4x8NFAfa3vK1cMZXQn3gCSqTFxzd2yst0xX0Lm4pBvIYMeSWvL8qKrkVynigRXz62zya2EC/rpHTryDc/gUHPOfkg3rFsC38ydbm1OmQn2nM7PYOjuvziUpE5i1TtzG5Pj36kG4qJ4w5ZkjH47h4LYniOW3m1CORYGR+CsHPVa/wT+N+snhUkl6XSSjijiJx6q29HrekY+GvA5GaMn1jvM29hM1exefhnqelojeiwgbEbYi2D46jVUQk7CkShgZLG+UZjCFXK15R6tMC7BLzujIgcLuyiHmYb3in+SBJ+8cY9v0wApJxhh5tggX9dk5fjv0takDKrVb70iw+ctY7Cw+4e/k1DsudTKykaLBMiJqtGGdIQLnSVCr7WgbgYGvu/2ro8wxX5Fz1pJADpjuSGDzyQOBI5TQoY4TP/zrHymAb2XUNtOdGw3vsniwi+3/HAwD5N9NUntivAzW+qWiedV/JFT3sZIqpZLxaAj93seaJg038QkO2F7x+Lnfly/c5AvYHvxutt+ER+b1NjQ1CvzUuM5jVMHh758Zrq2zwVCqBYN/ox3FrG6LRvXHmC5mhA+yfBp3EltM7t7uWiqtTPDFWdUj2Mo04jDsOAspMq3PG/eUyi1hklCQRpHRT7ni8SNeIndNuWOnO//a66h5CUU6BhDm58FoAFu2zUt5BLoh8L5FotuBvYoWqmgsSvP6v/2VgKOys1uM2P8vxsMUE272m938OrEqKDZqcw8XL+U/Hse+MPK1TV/L5YkiJOQUKZt057QveUWJVSLnnYGZb524TI7EOgLkOj1aIzJ0lPMhIfVmrZydorfsYeN0nLG57fJl0KYP2gdAM/DRpsNHyApieEezcJHPmZ1nNNsk91BuIZ/Rt1Jc4vvTFl6ZxhIQyW2bP12n0wrewCxjYBeVRoNXFYtX6H9ByLqs7H1BVFv66aSer1VkjlLj6yNy1CS5i+2ZJgxHqjzJwUOHe047vQXRcyyF2NEXgoSsZjnyBqiwc5ujaYdRQ6mZ5EbdEJ6zVjg1tuzcceAKIjPdLTQ+K0t5b+na5dmdojoM1c3R2l8V44QeQx4D9TkC4EbF36klWCufWkWsZAkEwqOxOtt5Fyy3Gv+LdUaW1TqafcpPA49mdB+iaOHt5R7cb/9KaSzRi2MIyndbpVD4E36/uvI636P3tI1PXFrXHBaxqtj/WxKgemYbLTLHNrPhw0Z0PXqK7U640CDjSNH4tKLox2yYNibevRSjIr6Lo54a+10WZlQ1SOsvvnsvaohYxusB10Z8rxf0aHR1q7uecZklC0g9Uzo6P/8Vn/Ov+RVp+QeFya/w3xBl5TCw5qyQ0kPceK6FfETMVsA9RYrkgWNPv3n9XJfIvlV4uyr27Zl7Nwr2qfx/1WFQfkBv/TVALe6/ybDdD4fnfxManIrTqZVt0zg4e0eHpKrEa2sQ2gAupC/pBynYjAo3A0/30Hkg9r1TavfJDfEYJ7JTAfqgmRCSDuHbdPrxzRuaheEwPSclTWrFbuw9+1zAiBLBfgIxE3oLyZ96qESYGCzjsIwkuySRq+ZPGjcN1acEXeumHs5xjmZjrakDsnoavMqp1XnGObDSZNW2RsZHfWHibdxwkKYrjslmhRWXancfXFB2Oc/np5iqpiEXz6ulv7d/ZoGlLMC9NVMVvNeM3exjta/QL/2xDMyLciNxiFvpb//nyWvILUS4NssGd0UTZfT7Pv/Rj3oQbsJ1snoheOKQF0dH3zAbXta+3KOdLMI513i2tMKwJpDVe2mQ6/h0Py4gj9EnliSvAz2FgB3ygcQSyAf9dUjLIWpyBALtRFgxx5yEuo1NKEcveoCsT4RufxAYyrjkkXiUnWzJbOSyA33+CzoqDlPiONHdLLoyoDhiHJTEbpZoHjF3a2ExZIJNLxQP47jLKKv8hZYs0KCnEfCz5fnF3hawUoAvz40NaCFltOTMuEdNWRhVWwB6c4AWdUAJzS77PaSsa7ZCFEy2IuX1jWkI6iv8FbGH74gV2MSLVtWIYq1RBLHHcl22wUdHRbbApXOfHfHYwIiCcEFRj1HeXFxGXivY9jprUkwpfK6+Qu9ZQyT8EBkVISrFRzkxeWMBHCwMeZvbpPvt8+wpGB3jiOvWDSiJRzSOWYRlaBsexUdhdSSLAYnK4VDDxJLGN+fp/txxWLaCRwQKB5nJPG1MqY+6JQ35qt6t5cRjnf7lNLJ2mFDKJANyxpKvD1FLBNRCQg9z6FEu+8PSyBmS5hKzzKqS0t8P1xzgNmHL8hjlchfWGYBQYJdpAHd5SmRvVhF8jBHD7ChLmHo8Mrgsv2CtLduCiZqJ/Mwk/G4BNZFHP+OyvgvMTnmzFUfZoCUwvNjVxuEfJ/u2vxOhwHmvZVQIYE26hWNvH1llV5+6HPaPDspxvCuluR1wZZHbi8QqyQuFy3Ax9LHiBbuEKQ/O6hgcnI8QqI5efgvziMRnRIfnof0DSgkvC3VjdRWvm5AINVqJ4a18YdU171q/zu7ENXJRzzoXbzxisrU+T16lvsPtYg2YnxPHwG94jbg8CfGxpaD3ibWUf7uIEKkFsdp12Z64UBEm9EZTLPE0EoVsn1MJ3LNLVP44EABsLwGIZ0g/KplywLJZSfzJ3wmaM/azB9r/VqhMQgOK6WTRpsn0qlw+VrBYFOZ9tkZlWw428Wy2RlLpQPYZtnQr1e+V62NOddg0XSv5C7Iy7hgVX7GDKBftiWf9n784cALWfLlU1VNQxSf7qqxk3pv9aH/yu2qycytC5bn348u1zLQHjLAuH1EWQ8amWfoit/qR8qDgcCqFvREMzqrXyBfhadhuxKqR/Xdw2GmCv7p97vlF06iuoVOq31me3UrnNJXquoZlfQJceNNqQGH2e6y9rX0SR2xuLKcHJoMPLJSySlRiMrSa+GTBLdaZegxYMsUGBuK46wZ6b84j/YDanvu0QFSH86gfa9yZdIb8ij7aKbb/7PJT5/aUqcFfCcezlNZqQpuE3bJOK6yxfX9lNQYSukhLV41s7Fe/EbGFcK6nWMujaCD00XhBOxjMa9KfTqtNDqNldHM7deoOZI/lq34eP410oY6pav6gfZ1RrOzV7vyrOvET9Aoj+mbk+xSkgAaecvR1rY0pl/18i8kXJAhv9AUtcNag5tQ8E4zlU46DbCWGojnRXSLjCtTYUunzYTtNsH/ulWhtRCW5U6Uuh9GswVt7CyuPChyPfuA5NnFVHBIM4NUzuXjsVje7Whz6Dx2/UEMngBC7/oD3WvjT/ugdtJC/3qU0Q6SdWIc7eiWMbTXU+FJtJ9lDlf6DDEbBqEbo/bAueMbVxzJPBCMdMFdXMrH+dNS5REsa7v3H2vQWTyJD9Tkx1NC8ZVUkZkvBwhauGIzxm48u6M2dwqSVLj9FshknsYx1tvM6vonizEW2Sl3R8CplH4CouGC86AThOANlBUUbeUkIgiRy4czJZ5yxupLdqsiiKLyicyHaHe2bPwiUOS2XjmyTTS2aF4KegtfJq5ziJNFw9nBFB0qjfDpgnzi1W1GoQ24Qr6GIClqU5ptcuMeubLhYHibIlEK/DhV1X9Y0s7c7HHgcu5doNeM+Keo6fW4PxVC8m3UL2FFlWYxSqrHoefgDaBxznBCvH25+ynGKztf3AD3EtomYNAr+1/ueetCaEmVFSdWlbRv2EgkcIHAjLH+uaBoDTUoafXnamC06MBy8Gw7SGkdjQfGZp79VsY5Lri0o1t7qSbw7P6Ts9OyX3Nk61TpjjI6a42QOI4oTTI5ojjdb9yKfm7Uso6IhiD8m3C7hqIX/18Pbl7KL41KCdDWSf/Xs+6XulTM6vp9UTO1/rMgSC4z25AzTwXRhibKc2xzWqimnWvCw59krDoc/oaoaP05RHdYcVj32OJ4vyojZgp3lBqM5+cFcYWToboy7wJWFvsUURyDn1F3XvCym8ndYFvojgP+UZfXdGuA3Oeui7uldWvjWG1qIueQMTlGUfHW04OA67TFQutdxlY2Clx4QnI5TSQOz4uwxPxB5ozIB/6SSgp1zGEesMaZ93VniDOQ9PG7wRUzICtuWqFzT10cDDsvDQLV8sSEejYwFGHoC4EuOW2SNEHXep/67ble4TbjQ97Y6yMBR1U6wSIpxOU32gmHI2DIFN7tKXoQGIoll2ui8ZJhoWZJYBkS3QIEGQaZOIRYvxV8aaotWWf3/n3z5/pO3NLOq89iopsbwraY2e4fLWVX2q42h6wMayOoTkjcZl7HE5t3w5lbyF38pnS4c2zRK5yfR7jqfDwfFqXX8qdBHpTic5NSf1Af07B/rYaaz08myMlSUnYOSTM3fwBYCaLRLY+v5ENFW06I6NLY0FSDDvhTzeqERlqjja80LLwj78fDwaS4bW7LnmZtgKeAjsBqZguplrmIKdOcRYhYCaH8RCO2NidaKINP8GgkX0FSpTbI3En7ZI4qTmRtu4zRq0JrK7yWLSGo/yCw/YAFQo6qoljkS5feT1txKOk6VUtOtbr8hLk8erZr5JHXllBfXVXrAtpTDZfAsYjF8dwgoM3H1I9dfMHPVZPAeUAw6eNKkflpV0RmNMN0JJ8/h6mnsnPmNYXIr22+RgMr3LgXLpgpPhtpm96arPoewF9q7xJetn47t99abdRx04qkmYLHsbw4d7v+u6SuNL8vtYg0WT4jgVwX6EFosjZC/yKIyElEmnjcN+rNwGwKyaI2wvyx+GXtGhdz65ltgCTACeQ1YuyvRPExuo6QqSWYvQI5xG/00Fc2KB87TVvz0EiZeFtsQgkaBpVkeT91+dk6v6RfSaajmDXdjIk8w3SjQwfNB+/qv9FlgZ/YQURogt4cfVGj5AcOx7Xcz1nYHIEtfQecNU8x2AdOBGsyPwzLmJEKy985Y4RiwHPl1hDZFoQ/Cg5U9cmRhyk4Kekv4vr+BWQ/D+JRKjgW5HnghRYVVZeaZmHyZXQAwQudvL/CAhtz8wk0PaUn7HpPrDB87Wv5Jz6mkpUxzcmqJv+/h0zRV/sMdotsXCkNUTXVrd07+OFVyzpZIhIxLkjCEyQqyuUHETdzHDGUVxrzwG37WxzOp4FXEwX6UekWPXHiQGZ+Reb50pxh+TTg1tFeON1heTf6KGIoGeXL0OF0Fyt/CIm79xocHMO18uYfD3AubHNtw9GkI2Y7z0pRXdGiNxsTYSAvCdAxXmvG5bhYlNwDJmTjSGTKUopOGzgtr3fcD1Ia9s2Ef+i6WLVdD7VjNTSZex6DiFafBxPdaTnQ4qMg1vQdYmZhnyPIxhvXZguCfejQVin5Lq1PxoJVlV3EFUzQdkxJMZCFa2cqnXg6shD4aSifgj2L6vWBr6ixRSF/pzImjo1Ze2jFF/rW8qJ7fIIXf+ydZxLu5eXuXcq5V7PMblKPjInvoJ8nbtuEzr8ftQYuaLFX2eKxud9tE1f5e9R3Z/cFsGaL6Z5iN1uS8t771vk/ohwLvwM7HP65xJ6cExTLqJhZzTkru4o5U0xXiB/DHvdWO4ogepbT1YbmrwUn/W6BmoyomnIHsp3RIA2aHB20W6h20F3XbYo47hepsJDTqvxz1ufWuBPoAac3G51+L9G5IPCCowu/ZZwaDYjzoDdKn2hnMP2QdF5YLkCG7+K81ttTxV5lZAKGHZ70LBEA4t5Y4wIyCpdk1Fy2nq91KNXHyOE6X7IAta78NYAhDnnodvisA90pZKX69lUnuJTOm55+Z/ZYXfM/G5ROqVsa7l5wzn3a9Iw23JX8e7rw7hV2Ce419z04DE2qS6nkMD/kZRn6RfgwQ2gYmOwNyAMKBI4CFreRXTmJwN58fLMCkZudG+jreWpBylGwrSrHoFPCvFkE9IstCs2Siz5OURmRvV9IzKPjHHGFP35OAxaisRzI/xeMOsJrJFxyOLjwT5MBZIS7qPHHhyikn+8Rkblc7rmOzXTA5WoGeS2rQN17lcQHKyBqEV3jKDPtOePgG4rfRSySUiStNP+1R3uXdk+PXZifPnUHF7SRa3vE8FYXC9gu/f6vbHxRSCFkMvVh8ooHvTkVQimJBwQYRYBw7R6NBK6Xyy6XijjckHyO6pUCV9wSkD55JAhxpVbuEbDxwlMASWAMc7ShHh0TtLoi1XoDPDYbXARDuPpZ9I5hS+Lj58aKnNE/S4CO6rk/FGc49jxOfAxrMzU0f7kT5/kKy+l9U7+j9lp8SElCMOkX2IBiY7vMObLlSpQGmkomgtRO5Grc6M3lw6fQJfOSCSMJmkFIBiGrwNb9bdzcMmoD4M7xyxByZUK9pMrrdo/UYaflD2i5CqEqjGHPwwqoeQJoTL9fgycQgHFy0Icqv8Si7G0VfzSsfMQWcYDrHU81wfEUFYr/P0sBt4A5n8yejFOkKVjHN4pq5OMuHJy9zPkvTzTQV5PyV5UCto43CfWSgXilWPbxPPjsjpqTjoCb24ygryXS9sAGMi91wpbJ2EPXgWRGybsqUZEJ/MRvdqNuRgklIE0xTeP57RQ7sV7cY1XuMcLQwqQV/6OtiX2/3riyJ68cR1oMUqREsvtqyXxTgEoV5RosTJZ51o4DxS7glkU2+GlmvDZ+o911unLihH5tyKJCfHTDz9xoync/iclxX+WIzpZxhBtrSAyXFZrRzMLz4LUXV2LsHsCsNnmsav+ZoSYfo2YuI8q6EOcXFxaeQvrRTt5J5PYyhm+Zcv+9wqiJDvPlOnPiMGvbfADie2kfRBEKJrSQu4mZ8S1gGHmv6dRcqXz7cwzZ5uceV5S5Rb3+RYUW24lflX/2jczlH0HYC9lAflTc1j87N/9A5qXIXJRjdMTimco3/XJwCktx0X7ADB4hfIXQ+x4eU1mAQhMW2/4MIUPCm426GC5/RTO0l/hkyIRzz5iZIL+rMbHRstB6gBmp2Zm0rA8M7JHIETygBuKXt+q1V/JbUlWw5JN8FxHXbN0/8F4XfTkkP6k0CJ+0FDSfQJi1DmKRN4+xn6iENnot1/ZAqzIW3gVZn+oCnT1zRPnRdZtJl4SIH98EL000d214Uh9kANXA+DGYUk/kC2MhZw9RtdEw6T7aSAQJFGIBrENBH3hkC02FpEtR4R4RbVjoQrr/T5Sxra6ndfyKGvDLutxRkcYrY1lBV8RqeBj0HVAs7y6ae4N8rRt3AdQqm/u7WHC1u0pESoOK0bxToEyVN3vkw472uPMPltxXmQbOX1dbdDqGL9navsDshdMJwsak3N2LQdJUe7VMlpTCdsAMOWbaHN2fW9Zsc5AmL/Pi475uBo8vCNkaTNXF7UNEiCRJSIgGR5YcUqJyrPX6c/VfuaCsAGAtgG9imLQL36W6mVWtjYO3WddlM0KwCsAXwHAdMhVqSe41kBLu6JHkWkh/3MgoxB4QMGl1w1o3/TFwvDoox6qaKdTYA/pwW14P4bqwpE0F2fh2o0SoJslQ8TWKn+4DfcF8vraFhPO3Ch35xgmeAWVyb3ehLXPEYPfo6ts2NJFv9cQt9dTLFH9A9wtazam09kkF2J57PTWQiJS5y+DXV4aZ+1khLjcXtsEGg0z7j595Rdat5TI0Ii6ajvZdvN9KYcd+nG0Okc2luE4D5IAOh6aJn2fS6Gn4a3vQl7j7z9s8dqGQOo8uUsV+1sUXAUTSmBqeJkA94A3gtEtqBj2Q0ncQXc5kqVKUOCZqxAKQUkVOp4Xk7ctLfgjqOBAnOweB10xQVuJ1ysqTv2ObGLhbRJbdrJ3e5JG7rtnFubzO861BnmndUkKX3U/Dv+pYkgfzK2gmidcyI5kSrQqq1fIJJeVVtfh6IZDVCU4bCHTi8dqaC4N9nPp0Dw2QFvq92xX18XN8jOxrOSu1R0jFyWTi+mNNWg8LOVSwjyq16MyTAEFm9Oe1mRKtnsmSR0UH+ZAZLeygFOUBIFkuD9GZBpoIPAOwr0cTWzRznodAEleFrvrIK8p8rto/h6470JWDXGnIGdlJDxSlNZRwFFdykiaYwwx2xl5SvSxFOGbLE69xrZ/yPZwbudYUqDLMo52VdfE5uiTuKrHRjKIAryK8mY+hoUmrC9/qUWoVvdqkBZFd+7q4cTJ6zfmLbTmhm5kHMXxLd29j+jduF0o/4dDoFlORqTrUXcWVKq4yacMM0rE6Nsr/Z6yVKTrD4F/k1a7I+RMRF1jpOLXsffw5GkmNLWewL9AFjEJu2Cy+jSVKBL+xcbCtWwpDYhIXrWeX8GcDvWhP9mWxaqSqMXATtGT0yVz1/Bwoa1r8N1bi8GRs7Kewf+5TaQ7mJkZf9VCURwRyEQ5GIX9f6w1V+llTNZgrF5/wUYbA6T2PJ/lNGiHjiieofU5orsA4FJt/54HRbsY03qPZxPthMyWp3tlu/7EHteMHyPuRsjBvAaJVLG8Vos+4IoKKrYO9dMz1tDyeAO4xVlld62jtD4dV4JbzKBGUU3ZAQaAVE2nLVpwrgUcr+k1HuobX+DpFYlsxCpyaimRheNpB2EBmqBPAgPncLCnWPG92SXbwJtD+XpE2jNA3EPxCXRiWQvHfF66myRLExMPQT50yAtjxRsZSM3ELXGT+PI6o39zmgxKORGoWci6Dy8AxrfS12EeNLErLJ1lskJ87EdSNEEgiHoXhDzS1khmOmLQaVz4XG4ApwJ55WJ5kq1jxuMaKyjsonzuOz1iqJcvAJYVtcDcxfmDA3+KQUqyxixz36UbwX8KpJpOrcby1x8mxRUVlDZN29Jk6jJ8t60g2jG3vj+y0qkTpCNr4yTwrmHpi0Rv1T8KbkHNDeix2dQCL4DgRNsvA1TgjmZLPV01xEwlPmoK6TCp6612D44cRkUSzZ6NPefL3dgHo7zbdDk5ZHdHFOwAjOTG1fyt/2dP5Ehqu8+DD/E6cV4JuhfeJlsFWxw1ytrzwGHyUWaq9IybB3mIfMZMXrLZowEFWw1El5SvumNSmjKgq2Zdw/I79TNgnHfSj72NrOAV7EvS4m38Lu6rgbyhiDsssShIBlOxm7Q0f2484P469HPfFLJruYX8U9ZEzbxywG0kecwzjYjW+aWrro8d/sowuOqQSeO/R3nOjQYaT4Yn/73iSceTI0hvk+l/uACiH1cvyQFni9OExhDHCOH2Ojo/IujE6vwd55c2xKdPe6Y059FwJ9Arr8zP2UvdOn4dz7/xgT6O1JxmqvZ5mJ/DfE6g5ruluMEOhojm9YPev1qyGsRQHGcLc/nTDQoFjn4vAL4Z/Iy/TmEC5/uQzqlKXqanTg019qni+3bfIguyxgEP7Te1Ah4idgdr74SezjdvAKRo0bzF7K1dBxc+M+VzA6W9Yj3FlJaVUGQ17uyH7NfT6k052JxZM4iQzo0vPzyNGjPadfddxVHIj7s+ka6hdP2matktvigL6KsgXvMZP1gLyigznz3UvChqcw8OoYHYqb4bhOZJc6TugoFahXzLF/VUqIX3Ju1wuzJGD1XXdhkEjHz1KGNCPRFakhy6xas8UihwpMgt94GNg5K04j3MLMxv7p79azkEUNLp0lTmRjve4zzvF5+zUpSTr0CWSoyWHuazQZMGXCbDAbawjKTsfsKoR1RWKpzPrWh+fBgfDmptikfiWAgPgz+jKPtUaayDAgxEdGZQ1CJI7gwMlpcPMK5NVt2+r1gnRtHaAGGqaim+a7fGiT+CC101M8XkyW5MkuU0uno8+O9+mgh346e3ueJMQDaPLFHSvMbsRFYRIYRtDN8e1eJKmpYYOBJfWeEc/ceobmrrk/T4FVXgB4aExp/HhRANqQcfLOiZgCchmvaCQX73UqUfXrHqx3j3syxL5A+EfwNnUjIggWW8/4a2jcovz5JzRTMIC1DC4YR2lPHX2DkNc3edaXgriRY9jwFzhSgW2k0CdJskyXwKl+xfMulJqiQQ7LhPoau3pUzaMAXBbOlLSY/mZecnOdCfTJMRrbbFpgbb4OwXZtLA7eb+/YbrbaX4W95vlqjvTZNEzf1BtZ5NF6ad38Pw9+fvIOGaUgq3SlURNOlZvSJ+J/iWnMEDlXyI22R+2MwnblPBsw3yFuyFeTP47rKSKkyp0JeNxYtTuhyMEfBIlLtBt8zOURuvqoWQNFOl1+Rv8kSdIE/HGN5EKp+gHZok3K0taC1kfb5nOfv1c67WwBmlLwAJGYHLwki4A6rWjr9GqlvWRtUVLDfZrBh3wDScpAOZL61mKQ9CGNaYu+g/Nvfhn9d72l2yatePV0SWQgAoMMvX02Dp1XTAC7MgrZKchFZ3ZkroQDX8vns+fq0fGIJ751csaOTt1UMqXHg5FbSsI8KMBZk87BrcNt72TiJawOOk0wkM/JNBVN4AUMaQIbxSfhUs2N5L4XU5FiFYNR/lb4ImU2kHTtAxbiUCvrZtUXi/PNYbZDX1cccvZadQTS//hPTMTDENvV65JSudEjneb7hQmKmICwzqf8HonETDZJ2492fXTDIZbaDyniIzReGItDjdxfDssohD/RYIloG+UGpTgeNz4xddHie8OHf0WnnhKb7o7x5nRCkwl25LJoM0E2FHdNt6I4YVE94Ze+Y0mcO/qJjNp4UiWMWZKo560TPncfYb5g56LL8kaf3uA+DX7LgOvAUhDsIOrfEeggjJiT1VzTfduvV7GXAC+B7RVesm5bKxPZFDiSJpyTsRyyMhhWWYnLv7QIl9VMGaf2G6Hn3J9V7bEWOJivhBC+w+K99YkxEPuhz7wElRgEJIOdggh20RsVQlnQgF8rRzNV0fA6tOf1OljqkzEgWbku/EJahsbMe6LOVWfjdw1Tnc3x+YXLwhCXWULe51i0Kc2znmsKR1+4ilaJ22mTDVDo+KCi9TRcM/U+52lIZYxzN4gMuCa5roR0QNWZMaVruk+yqInzmVPmjTOqrZwwiA11ytdPDLv8x1JFi70QbSQ5Pz9KHAOnnHO5dUVh3Lx9OvxPy4xOkdHMcMKSimiSxh2i2Vx4+df+LEdkOn4iKEkzZq1HT3NT6sEcuee/9O2Hd7asntoTV4OtQ9O1DtRclLSx31NbgzcTPkLWjtZiyTRdCAMiY0TpOXR6S+XaQ2fokrkG4H5jeh4QMsgc4ly3ciT83g8u1CKayMgyhkUXiR+YYb7YdQfLEmmc/tB88RV/ysVzTMLoCi4UNZ9FFrLfDGDdTW10DZmSpacQhue/zPK4XmR9xh9rNYgQjSCxsFEUKqnVbgPngRrQg9pGDlxPVYGr2tto+AETEoJ5PHg54a4Vcd3bd73C7vOKbFhF/VgINfwbV0uBmk4M4R1FyApD5Q07UGTLTVcyj63TZLNc17XcneSvjr88/PNtt9Jm5qbNZaJqJqLByXEXtIgL93RlTzAYvpiRcUXh9RKvTe6ozRow51yf9ex8FA3iTWb5tN8N+Fgaw3u9U9fieA2K9oy8zjpDhgZThCgaT6Nzcr7AcDnKzAncONCfS3esYAtU5PKI2L/7kdrgtf8VDdJ3hIaBE+SOfVvkveipyzvkflC+O5PYJBcl/IGP7/0r/BT18I3anDl7tqNNO4jW/n1/xkPf1MgxBz6aMtrxf0AJgpZ/HkfLwBPVwtRE2FeZbNcsGs+S1HOjudEuUr6Dj384qLu+xg1ssllf+NWe/Zcr/3yl6yoqa5fEle1eCQsruONzdYrQnDUIt9YHQGOZtlSaLuJw5OboovcsXZrfzeVyDGHC/Buiao5pApDLJFGlqCRGtFeSLh4QjHY9hViJkOOSUNHnT4D9Yap2VYokcj4jp9qNiAHnDiyythCno8bTl7ywHy8FWINba2iSTtQOT93b6bdgiXZNx90UT7M4lSRRYsYxTk5/KrK02+dVjZJter5S847VHPIvAtT94dG6YFcGVomQvd+jOwVKf0P+1Hu4/G7fzVGgoSaQNPRNoUREm1kaps5GqB4tzv3tyavRz/6M3nq3jHKElqLmR1h1HPB10SCUNjWOdAjjzMZYYdAy/cu0xlFQlk0MOf2RkcThsA3jG7lM/M/NzxJJV89VoyuayG5RjjqrBoXw2xa/4R0yn99Y/EFvaCfsNf+OlE0vmxOvgGMWCGAxNLB4AEvKga35JXBCaEUxlf9L6jk1rmupwwCEciQUByNSLYByexq4mOyW5XPFs1bi/0CMUJv1X72GOZb1TPgQAqpv59Kwpq7mMY+ajS46swHFacupD/FD/uACRKG4/pljxwhLW4yNKiScsRHnRRuJsXjI4uBBQAM7rliOQNeURKMTYHsJkUeDBydjEjGx6+QWdgiJ2UVfp+2QVrM+u+eab51x/DpQFs4qI7PzUwDuyyJfrfBlzbCDWJe2PfYFxiNXQ4uNWC2O9H826WUT9jcM3H0Jm0SBeNiFgkpIMG92UR2JRq/lKTxO+XZqn29w1FbkBqLoMa+n5McFi04/ZtGwUNkOuRsCbewdp3v9FJVSTuucjtnaYyAJw2WfTebclKr7BKz9NfX3SBLefPoFGP8Ttuv4RmdLwt5JSPoUO516RA9gP+XcV/4QbYE1fwpKI2toyr2SES3OkesgJfQmsPgByz/LD4F/JqLwMhwgfYbTjO4d/6Ej4ng95QngS5psbEcVq+gfNouUUdeaMb2Np9PQ2cAjhMpVUfc0deha0HxmS/Y0c4vthtZJGZzNAnOLsa1VVLye87znkfnKbjI0a2o7esFkMqEjkshq2WfbOjzx4qHptOXQNau1yfjOMKlJzhkqtTKkFuAlth8wwgxgludfn85M+GSE22HBeNYnt7yXV3G7YpRO4hVeSBR41LfCsP5UamkXtEQv8jkQUPMr1oY00XB29tOLlt2095D16vaHt35usPuOT2d02JFVBrPwsO4vxfL6i24knPgiz9oHWlQhg0Efj9vZZOV5LeDJ+nduCT9HAilyVy0qIm8ZrdLiK7EML/dsb5WGdPsGa1aVOHQgKSRiEVSTfkgRudw6togyAGQen3i/9dQKaDT1ErfrohVgh8D4ZyEwxZ89WT94R0SUd+4mQPFienOcGJcDlTDD1hnfYj4hJ17MZ/d30hEgozLcIcHzY+kF2j/ZHtQpoDOAInfK0wcN28+Jf3yLTfOZZ7neyNpvyQjFBf7I6/NoNQGFsM0o3JytEuANdoRg6zAEmwo2Wal5c7V8f8zyVRxwA2wBNWnbQ/gFbNRBtEuiRAaawaIKgbe9kySeN/6dcexC87Sc355phcP+i2UppO26nsFNim/TqgjQuhUf7/FTcOuDR12ytuX2iYzvoBOF9Uj+5lLwxYYgKjn2WOuQJCr3jVA4tYNz6MH5GzAHsqZvSjYcgB3hKnwJMYgRA7gnAN/19tRqtcmWipJJ5tNMpNuBDhElKYyWUReyYPDX1QqO9oIrkwiviau2tGUoxEc+2cp58b9QD7PCaegmvc/FqNgIZgiO6AZtgM6gd8wqyPzBYwIQjikRWsF/N4bsD4YodUgjp4EWGCWYWG5TYE35cwAjpib+bqKh40TRS3pvr1FHdVGz52eySJfg/6sKwhw1vTEQ4+1rg6XwVyWAZhhquS+CJG/1jVmg9BBy4F9kETjaHv6zq/aKZ9QNPpYn3jRs8HQ60x3hYaP+tzX+8YboE5QR3tJkbprCa5ib9fAONtflNnNyEEyOQugu0BIs8bLcli4Pn4WymDFTtoNf8uSKdHRWquDsvTGjDsLvIizRlDiYh+aiqlamsmb2UVmm5Y+mrs+jwkOlUs7A633QgDjpAK5Hb7AAU148qOPj+O4fZaysNxWejwm4NyOoCUxMF1s8FaCnVj5Gs1u8FAZOQzmwJPBog+bZprMMtUlWZfF4z7AWqaaDZkTmCf2bwCKQp3O1l7hwykYCbo47mhUwRMDdf3aCVyOuQVp2l79pmINS5SLC25H5TfHEDXGt/yEXrejNlU4REgdUrU9NXd6/goGZ8tgfor36Zw64jDwxLAzGVL354F/FBYWQN3NPoG5JaHDtK9MLJ+3KwQguptd74WATEhk0Jcl1BD6JJm2535Wi1k63fXz2SExO0gBRDUGIQ4RNdavQBeVjLPma25m6QFWUGLcCj63lVVyv5lnBmQfxITZaRO3ng8qkski2aVfvEQXinyYSXu5dgABSCoZmwFE3AHPCKhpq1oEm+kHm559y9Nl/XU+PtWgZtN+8FwFP4uRTvrzWSDKxIzDjkcSlYPfRQgxD30md8eDnVrZOxhfjYjXwkI/WPqkrqVSIARg95mNQvDiUGI7uUcfTJsEFoTPr7F/pBzxWZjuLRBdRchN6bhnsK8j5gAkBJu6cE3YZhwy8U6RD4MeBY8Yvarbd5EiJCljpygDED39z8duMs+/jsJrXu7jFoaF78s8J6VSQJeL2NQ4FH2w1mTSbgmlK803V1o+43ubAEpEG+DRgLABnm0s7zbotwd4WCByQfEgg92jbuu2ufX5kWBs8Rj3IGkT5NepMd+evJCbD9UgRWLPv/J56TsZMYEtOSx9Zwe2UryAQCb10NU/CzqM3791JIEeWrQqWgQ7T/C117LsoO2qTg8f8SksC5roe3DFbz+2VItDNTWm69KPXcgxqsi2gWO/HTHJQ4fHVuSo8TjMt8RmAxBzRTKmfvLPgttZj0mi5qe7M7Ta44b8tBv34aILO2I1Iikh3IZUZScfB96Vj9BufUk4LY0a3OQOKGs4sDubjy9LPnxnGCAH93s3HSMaXbyJKQni4rDFd+Q9kaxJ5KrCQ6z1d6YlXDfSqWoJCU6d4hz02FHpvxtyLBtITFMFi4Nld5TN5KzXqcA+6O6Lg2AAdgMo7lbBuKq80dwkkRRQPwvumCU9+m73BJCDIP/X+AgYE6+J8elxfy+oyx7c02iYWzwqww5P5e87cJtShm8XbZsWteNlChaz8ErOVgc9rXXWCw1xmUHrPKjyVBGHuSSXke1f8xn1nwpydpJZRP/poJw6EuRjFWkp4DwxSFbdYmIC1SboyjLctRmJQYugYvrxTTikfLxMgkqHMzLBqvKmG5NYxQl4Xg4ShBZ7MWTeFozzXln1E58NZrYOZNpoxP+WcbYv3msb8duHB+s0xWm7pSOH6SrNHEuNHVCEBLo8wsC/QoDOgBeB3qTySh17NUR+xUi+QHvuB+ILpEcI8Y8irpwCEUZ8LX24y54BUrARWMOS001Oar1KaVVyFUKJ+DyIZ65uXrqxippbd9Ub48VcVqq4xycmrpy7KOyrl1o7wAyXKng8H1G88Id729SvWAvlfzh+PFKvu7j9eR7Mpo9bZHH1v6BjUXmEdTc42dWrew8cVGmZ4HgEiQW44SO0WNgl7yj7dG7DcdoODFWUufiFzBOfiG6YkCeptIDiXisP1WEBXA+ESNOsaCeqVW+rEl+g0rfKg1R6D6blFuW852f/kej2xgeUhp1NcbSF016y1rsu7vB1WOkSZw2alirfONzECzaBd9i3EsFSkkWLElWpZW2DMQEKku6rIjLwq3UgF6ctSROPFaKmOifa5A2MtJrRIyxZqLruSq/nX4RNG3MDn8cY+u45Fagj8iG+rQKAM+dMQ3uZx5YHMDF+qa2RSeB49cV1hFh06cneL+Gxbmo76Xu0aZENtmhzdOgWmk3yq9KLsL8Zfk2dyj9gVJLcITSt+O1TAWQckHsrSpfvSnx6Ar4qbpVb3IJn8ZbFC3bsRS/YwULPZIzY+8+p8aM32eQ6Exb5DbD/JI9G6Ry6mSFLZ0liQKPWx8IMlbdWP5DtztUc/QSKOnrTkA0h5y8T/fDfd7iIAGmeaUJyaVVOt/Vw0+6UMzKvXcB/x/aHkQ+ujhh3PetZ/8MJTrurFliiLqmWfpPjTf5YpgeDWDbN7Fs9YdeoKtdXkbz+TJlGboElXZwyn1FVqPdNcWjKk4ex4eJCUTQSrLObEOh8zrB0DpBif9X59Ny6MixcJQjCRzzVuc8vPL6/n6+7yRbue6uF/DPTRgQCfbCVVeqXTQORe9hWvcsVoGUzDZtu05eNDwY4okVWZ8kJNCr7uXDifkiLvI0feSJ/qetG/KXVXoJ8g05bM++f+SRIPlwUgwy9OB0jZxUrFjYDhHAqeFEJVAppkdfAU7DCyx2KJogC+ZicYoegU9ejtKMDGHRj+h65DszqPXEOw8vshyg01HGWiNVnIP7nEW99fQLAXMCqzp0QJ0r05+et+YBY5uHSV8n6skvI2Rj9mSumVnfGozIhVT1W3tUhd2Pp3riN1HM8ST6ukfViCaHgK6q+C8xbWWQJP2SDZz58J5BqyXoXW9Fz3MPagN5rFtOrd5ZIlJKgm4w+x49W5YO/gAR3z+Vpx1jb0v7sWzlk+dDmRqNhjM1YhV/B0ZWqB9LH1gorpTgpqugtj+pXrumEWhJZ8+2tpW0Q8M0WzfIBhAznHHAFpmSGrBA24zv7c7mnPzfyjs/1m7p5v7zSqyrXMZnGTzFLDH2EFj/SqI05T7agVKC0W/XkyySga+JYBfruYSzBfYCcDHPpvQiPezVhJj8odORMENjoGh1ZNWv8SFGXujaXq4V5lpN1Cj/NEy4mVrh4xqOayuWinsAAzkp267cN+dr6fvp+Bv7lvC6HFie3Ch4GIvFz8aTAXYZOk/JLiXlIBn3XTKi2jPT+lhnWudUfuBXydQB+sz6Jb43OHlUZR3ECH9fHtB+Y11cN6FH1w5s7A6PHthDK/BDe8Z73hM3Jqd+Np4fjcpV/gylCptwhdH62cPDP9aEsO3BUiz+hb7KPEkU+7wijQ2wvVKqUi7Rksv9NqVACFcqFDf6BYMAt8LdaTiUulAC9WjefK5EUbDrAUoHcpe9zVbht/6RsCP/iR4p+msiFfGwLOPQSrhHe7nQwRVVe45IBcoQV+uzNPoblySIOQNEHor2KZaB92DdenPWLydfA8sI4LSTrC6t66RO8i2ZTAuqcjPtG8yglg2kCt60fS64rMjjd+a1l4VokNyK6HLNkWYcs+gx6PkYjdO8HHtlDIII+Ob1JLPUEtbPHyjE66IeVZDE+vCkKQrz+GumTZ31KLH5XOufZ397HSfrptAX2mfL8Of5wNBlnlIXnrQwvzGbr4Sbaur6uHHT3oMKHuA6Hxbof25qXCmJgQrt3GPYORxkEyno1CMM2fu0nl8HLRzUzpspkV28JGcYq2ePSvQrocy1IWNmniXiCi347JwONwgMna47yRlXRcnNNSNyo583o0TttZdCAGYHNyzcRtFgg4YFNywnuwZvWyQ477FfMEdiib75Z3gBtJ97LgdkSRMjwFhxt2P12LBZyL7yhP5UAj+AQhswcQIoWiJ47JJGC1hURqylB3faAXdlC7zNdw4jWOj0QrvLu+RakstGYDIY5Q8uozVft0cEFCUVlE6ga8vXB5+LVulBSZR/on8hN5pqcqVkXBR3ViYsZiH0KgJTnV9ceZMxBtQ1WL7wo/TfGG6H6klSj2oxyuUpOIvAWK6g3GxIn7O0J5HOkpfOLb0mT0frI7GotA4o6q/Wt4zTp3M8XcBT3CvGgzV3WbeEZU1To6igz/+NZY0gPIjKgLxcAjNIESQXf9v1Nnndda8YzHUXf5pjj5xtbleOvZSyJBC+PDXRtLPRhhPmZ+Z7KJ6R+/kx31N3IUeU2p2YQ0JIcJp0FLks9CZsIPCbjeDm/L4lirPdjRBLk+K4vF58MfEk7+epBVdWQmyQSG2ZJP6LsQOhqFVWhTFxon14fSWeup3iel1kG2LzVUV6ABANDBsHtHWb01pKWElHtUzk/rWGm8xSd+hM82QJ15SJsO85/HCuEIMeezKF4ZCjnQsnmqOd8Jt83S+BNVKEYCj3tYHdzriWglhRPLEuiw6M0cspoQBv2kzmNSmG5Ez+dzy75gT3yvJ6tLYJWjTCDMMsPQsSHHtTkFrUjzfQsUjhjZYDaAv6bydAJhhKzZ6MjIII7nPLN9wK1UQQa6xJqgBG5eNI96ugYSMR/OZZtf/sZbbi7Lt7PbZKf8qke3SnkSFiExoCmMFELRX25zCYFdp3MyuTizNys1Hdu2FWy+7mVjV9UEBIAl2LqpvEf+H8c2WhpY90W0tPk8DGujQqmt58KUeOLjf2XrrAZP6ai1yaXUFhKmviigoHJIZCIEFpX0k+6HG012yIVTKwauYxGCaGxVkDdSq0LWBIU3vdhXzoUUtcltMYNQRnhyrLhRihy8nOgqQTJNU7jFo5QggH03dDlCfPssahRKsBYP7xUiQmtOx7cmFY3oPQ+70sGZMJphTCelHEgcUoUL5ZipdzqsIzO6Re8d+rsyKyJbp73xHQsWOVp8t2qRqdxCpP9PRVGivO1U+Ybna5c9HfZBNPGbkasM5xStEy/+Tw3hGujBwJ+W72g5Di4vnlYgwh1pV1Emr9hdtDJT5zhIAabhoj/wvfdm1ifMg7XBLSOUtQfxrEQWpnW7UNEJWlzon+6KBXyHBThIewnf6gtcJIsrdjyjnFgmtb1RhB4QoUaDDqbPxN9F1HFkx1646JIbEx+PS85QIYsuefKYPt5fkY1pKH+IJmK/pBeOad875w9y7ubR+hViuOsi4UoZCbMtvWl/PwRjQWkJDFc4+lC/dTNTT18AJ3ey9E/byRo23N8QaVxapqmjyZwsFdpZWk0Tdu5YgOvxQcrcD1GwSnL6A5ktyEg7Q4U/tiMlOQML1/fvTWrdx0ND2aQ9tC5L+EJQ7MoMh3p+YNSHx6dVGMVZMGl6FV7knFbD/9ivfNYtGmwQ/Cb1k5LBD8Ro3kjVp75t94q1YeWvwxjyKO5mKMSYETXrKfsII9emUkjGwfXAA+Ao7egNlqisOoxlZRlc6UNinsyYwWsFV1hNHTmexOkaec0r6rFQplI/LHsZWjKiG6n1GXtCG5C8d/IRBIY8wR8u0gha8u6D/LlOGkJMUXnofFv7IRs1AzBIqFxmw1o+7EY27RGOIOge3PjQ9RfCj8o6xZPsc1VfAaMVNrngxC5mwOiAwlO0D1V3kSlyvCN7pq/LCIKZciVwBw3AU9eDb+mNph8ZBAYP6rS607nRKS1cmNrHuv+G+AI1z3WNMmAgn0ALGE+tuatLtFcmFh4fRYtx6lmxhlsto/skQTohd2RG66D4xk3o0flk7F9rhPTUcNl6kVab6Xq+OjMPS/RvQnQMlhvgqGnkCmcEDL25Exb0ibrI1QOxp3wqTZqp1tOgry2dW+EONCZCyNCo1y7gwi2I4/79LP3lzbLmceEBdnGkPxWg2dacvjOiJ3+J1epYetRGBlglIB32+g2YqqiGYZHQetuRfqs0n8/eFurReGWEaXCesohkF/UGc+asayClp4deOMMNlvTma2FRwXcxaYowf3dh7vRK0BlRu3paxvhL0Zpt1QCUxwYBIX0is/shSCVAt8fWaw7Ji2JZybMx6DALad0cE84pxcsFuXtD9ecO3XQ2RQtve6mTE7mkwfjNaeuB6t2RksDg8fEi82/Qoz3XGXrZKuDAnAequhzTq5jYqQwuAH9i98r0wAXr60vrVnRdhj5NL+61Fxwm7Z5wayKyao8G2i4zS3S0KwC3QH6YzBFnsq7Vl7HdXQkO2y3UOrVHSIEE3QIzTtTnrIR3Z4iiarWrHSBX2L4g/UkjumVQ3HPHWg6OuzdzHOZc8vdd1btMmbBjhnN/cFnhhyQYP6Px5Ql472j71ds78+BBtlDWVhwtw+HpU3mizOiLEjGVNHGGOTjuW8rNBN5zuTs85Awh3f/YiFKG+F2nWoIn1ly1VzSes/gcWW9XWlOFWMrjU5n/xbkELATFRtf5hS7mMHxu1hV4XrGRBxylR6ZEpk9L4nKLqWEkN3C82qILALtEZZWMTJJiHKXmujbffLI6+uGwIxB7eKGI3AuSdJR50IuC667OeBfQ6EME3K9V+cbVEUf65JZFx/AC+t67m2YUcXjnLxMeedsDCp6kXchLla+wEa2xpS2vJ4FmDsO0LQ8bL5eWooPoTrj41YiD81BLB6sYExubGS7l/er4+ezOgOldoLQ5O+CWxyXiWUCYdsf4GBYvGKEiCLQNCJeVysOJV1Idp9gVVxANTeEL+AKumY5wOFVsSQ72qW/4q4M8Q+6TX/T+pGFhIm055Yuh97ZIjVheL8Jb5meFQtJyUswf3ctgxU2T0RYBgQk+jr59rO6DP+1kJLqMbGRTGZ0/M3u6rqmmA6GRloVMChwjfr46YqEAVIlRHwuSiZ1PqL2paCn7amQUD5zq68PCzx0idDg0JIVHNFVHfddVPZ+fX+LSzqqY1dFphNmgu+FOYHGSBEYpgMvTiuwZsUTR7eCIOcZJUTmVttMMgB/O/Ob7GSwUEYk9v+G+hgEhQ99FRUOgx85ha7GO/Gc4ELjfVQCVRRGi3hpWVJTm0XlEuck9wXqLMAZdFKCsb0Aeh561+w0/OyiEHQNgbNtBe8Ca1uyN9NZ/wO0WzXK7cyFe1tnFuUtvo2BxwNTgYvdrec0hnAvpmZhjCnLhgfGGSvzURJXCSslUNhJJef7US08WQWpopKgd9vtdE+ulvPgJd2orYY7i93GzQF8PKj7DBu+e/bL/dQgxBasAo+ghaBMu+T4OeYXHGVTZLZFQ7gDSdoEIPwOEKehM/mcLmbnFtLd5WWsPqlEebKvvQvDqzFTpeGLaS3qdL3QUDpDlH+4DdRHy1N2q99JcmNjSUvXithuMJSlVSM35TC00XnlvVfO9BzZOuSHRiDYs3RdJ3+lVO1Svja0NzJDgEz3duDJ5iEO5bfX4AAE2eteISbUtdAaxG02XfXie493nahAF+tseN640Lcdq7SYACOPVYePbd4aWna5u0E87BrKVzzmaedN0qtHHBoE1DWWV3WOl4x+mwc3hFALgSGYl0Qret7kPzcWwsjI2eSNIaEMqOILat53LfD9HDZWmZchSoMBtM1cybP1YNwjyvLQcyPX4A4gxo1DwdpkH6MPzcQbYj4gginBCXqnSc/X97sN+rfMbpmSim2TqHQO+ImXmn1tP6JLdtjB+eK+h9A7q9uR6l6EwXr27pgQv04ku+WU4FU/s1NzNYVPgSO9xrN/HDHoUVzuJGeEMVZVBq9IPsdwTvXkg/TPQ4emQqJPthkCRN1re0xZFC+T8h00yn+gWSrGJTS24P8Rw35l9iIKI6TUnx2hZ2hzdRpn1/+Fw612gIZS/gNQV0yRoVOZfuQdPrVsqnZztYli9SRGKhtNLQl6BJUSHMoezthUebyGsEhkEwtZnhZEZvFzTvDOsCRdUBpyrsfOKV5qG5AIsVb3S2fn4Ldi7NbsPqmvZobC9Qrbkp9lBKt00wjtOmVbneSq0LlTcwfw8770fYL9oozkgNPp145NzlwP4TRUTpNP2+wmY7qPVjMnXAiYseTLfEBISkdfafzANd+vYQ7l3e3xMSaSCjNBsTUtniAG3jc+D5eTq5r/1kzC7l8NrhkDoYgjllwNK1+1g7PVfIverpwvdCUe5yZzyJRexyLignRENOtVKVO7uJWzCHffzz41JWOlpuxn61rqkxFORJC35KGjrhZnQPsdlG2iSe3vQSGNCcZEFo2f/mGJQsGa9MWyIVESmN6cP9Ku+f8R/AvzHOKcSQZbx/FLG3vf7jNZxfV0BEMf0NWJ+pU3ruGNBSMgjLytjcmWLXIgyi3JGBNQQwQl/GD9m52wGLm7+9u/0pu2JPxOvsrnwTclWOIwk47Nhs4i30bKC4DYSTd4R+wQXGEQ6xguWYOJoJWR9oPvPffGCRfVa01VBkEvvHWe9dNu+TnI/SDONLDJ29UiBeOEN+za5aABneCoS/dVSJ/p2SM9+2FCm0DwFb60I3S10eYPmZ/fPqVxf18+8M/HiukVa7gzdsG46s/aAEX60Po677QXQMjhweHYy9Lpxnv1YKsarpa3go9bA5ockuR6+pqTMOkwt9KJkrF1EkokL2r3yKIadfEXq86JPWONUdocP/YnSWE4YzK2ZoKhonqGk7Fb+FvCBJimVEXmv15t91LfhxTxAhP6uWin8bvLIIUhDsDhrXiYtNLw3KNDJDsRrV6ZEdy7NqmFWuw3f/0RrLk+trEY3iBOjMAUI5moM+isq/yvqWNeQiISO3HTpQiSM/fgFisWSWpvowD4KFkT/xIg4xcrx7zoGuCT4MSPzoAVeI1yCkaUOjrLsb/5FhbXnP+EdFsiCHCrvO9xcWDGImY6ZxN5/Zdw3sl7z8X2i5uB3ezBwwFHJlxtiff7q4gqVH7lIqA5Grc92mR7tTfU9ICPLWPkYUWUlZeGXHDC3w7PTkon1c9mYBmXA41NWfjbRgQSarLtg4d2AUMd451zqNVce3TXrwSmF+8uuM8iO+ze2jG1+EKIN+kYBm0E8itwi6h5x3vvwbXmAMGqsQDaNLLytNRGm22yVPH2Fb9w9iHGNMPtX7V3m6TtGRzojAMJQ//VBzNpH8eVxVpv+b+QTRGv+1xD85gCN12fWC/B/5pQ7WSPzsSQEKXUs6PwmyS8S1z3VeVBYHf+xzMngZ+U/UFodJ6B4ISYkKo+G9lBIL4pfK9yR67szfVJheONfiPD4RelcKn3thh0piJYTGAltVks//YlBHubG2w7HXUW5+hrltrvNqiBt6bIMTBtNNSsIwFjI3JZIzOvLZWA+Wou+NUkrEMu3FMtjH36IyXupNemqZ9/26mQ6lXkRssOsIO5kOId8qLvCCrtSFnl/Ba4SVyPS5V97XQQNpt10u8vyNlPKpIAGd9VdEYw9h3CQBq/ddH/COsjScSyl9ea4/cpnF3ECYgpZtMrvTQh2a2TVAk4GQy2gNu9v/kJPzVdN1vUDtASLL9lQTWTE+pu/5oAHOPMKhqfUZEIBgr6NKPxeYOQ8DQ0KSXu5bD4esKGcVCO6f5BBm8wt1LIGWEFyVhfF9zaZXiN27Lup/URAmgs6TWIY45tsVXkdF+WHppzuY+SSZHE3Q73uMQepcKQEhfdl5t6j+cDK7HmnRE/c7+2mVKW4+liKtSsjMFJIUrGBoYTROJ+ADpc7/1z8j8s/Lfui16INY8HZt4vYF9GUITDuA+iEkh7zZLyZYfTuGYdUwfZfGPP+Wlm78KCaGB8qiBK/IOU0y+G7Sq6Jj+sW0xe73kiAQdz4lJniFVCKJ9HnDQ3qnZ0IdpQdMkfHBfmJP8DfgZKB5P92zbOr4TzUtl9qIbB0pY8rDdPIcR5r8A1QDE3FoSy0hE/mtffu6OD/PQu2TU6RBbtWXkgCq/zwRe5UM2k5RwNGLwJsGxPrxHGjNSDoRFkwA7FAt7b4x37zvV6q0hBG1H3ZJGb65ZgpWJ9qVAZLlgoHZhNNs7TqHZxc/93O4OR/DyZhtBHeU60xVAPXY47c0NQF/g4x8pIOz4NGFUIdXt53lRSd4C3DnpI7pgbdXcMSGPm3FdRUMaUt1mw+hnfJWSoXSlXw/VdCEWwJBY9AIEAvne1dr0uSJ+t6AymJhyWM1KQnLbAqtXPQHx0fCr77Rt40Taom0iTuWtfKWKSx8pTqeCM0FNBM0v7O4RLrdkGhSZQcMkezhPxRCExX3CqZyi4QM1FnB2fN/4WGHWB4AGCRAT2+gmpiw8Wa3d9Z3x6LFI4AX6g+URLIg6NWCYYoNrTfm56Stqakcv6rqHzw8SdX3nv6bXGKSn0HbrKMmGoJy73TOPGWTEHRGZt3jqWf11hdj3zJxLROwjzSNRddn2a+5b1AeJtdSRQl8U9WpVEabJT4qmgLsf7GgUyogLFeTc3Yhn4b4j7CF38SeMiCFqriGgF0NY7tN9oPbr6cBkqTS0G5QdPELfwJhDFk2luq6l21TBguqZ9CgBElpPECKLDvindqzznQdMAMDn9Ry/zEJdESmp2xTRlRa8FwvdXJkcjW+Xs267lbw/fTKy21AOZ69V5sG6zx0bHOAmWK4pRKDrW8E6SFusbX2wphyNbim+6nVOx7JKtQ32Ym1uzUAzYkls6OLBHYi2Ra6fosd+WbqtMBKx7w88mEQdruk8wR8YS2kjdDj/n/+7lataZuSQFnsqqsOHdBdTe08RXK98o7eTutyHmOz0lweO04rS+n/5Hk73mrKhe2ZVCRCmIecXsbx6YFhX/mV1iDfN/b3xkpOE14AasfTlD9eRc6yGIbI+rEMajS7zds3M3tbF5VlGMHNweHjcLcURqGpfdCux9r/yqUJzZ5b8dZrhUihLt5CD3fOn7eDVgPhv/wGgkZVpSBE92g6UPVr49c+6xND4zIe/Te6sNJdApVJXdVopFIe84uli/ST4WZVrvmOQj9tvVrfGpZCC/GOx6eBoz2tDbT9QnybDnlj1HWospjgttrKnoFjNttHEhOTEiGjCF9l9MDSUfD0EXd8g7Wf01K58z7NmBNhssCT+S4uj5J1bgCcYDHCfrpcOQNtCT1ZSqr88F9qW4RDemyhatkv19g80AfWJtfNxiqiViPfqIU+ZYYORa10kfPmqPPcXkwfdyS5uOH9LTHiV5PhdeDsJfA6BRyrV3YvKf8JCHoWpkNMxd7T+IK36eniSOhX6xJB4A4gBva3t05/HBOkZMi5jp4wQiANQGaKgKYVRMPpTM9T5O7wDLzdsNt6so+VOQ13TfcdyqXHqXfSf0Mmd8mGix8efGiAQ3dmtCsVAv7cKPNasPlsoDz7kL3hsGudhWyDB3JHkBytoaIUqlbmgt0iSqjybpKCTMwAuU3MvlfvL5K2yiGRrSKPE3Zv8q6JWbKwMXVxREDsL0oKmryLk0YfWgWW9reRMuUk+Ty3HNhYIGhC53Azr/yy4n34B2MgorWB2kR2YPja+klEq/OLDiSj1p2kHHs3F6vRitYqOw0psrJTYKp4W0muI9HQOcvkkiRawkOWsbH6Hp5zuZ8Q0Abw4Fs7m2I0NWSxbfihV1PrMhqXFnHMS8wZD3K4GLUmVd23VS4IRYDdbFAmFBaNXqCbkF84S7H1l34PuRFxh9IXq0DCE+F1YizjPzogHWU4NbvtCwad3+t4Y7pR0Bb442Kvty6rV83vRJXMX0glNibmqLKNgp6ZNH+/nXZFRDWiMtg5mKsq7UyN3tRSsbdKfbLkRd0zVy9/Aezcf0PqWd/FTsCNKtu9QUOXRWsR08p6DBRwbkhHwqvzktf369ah4TyGU23yZUhwSOHGLs1YKYONtVzlTBucaLqMfvIvgVbalBXBb/6Erl6T/K1DgcBkj2CvyC3YsD7s/nQTx1mL+kCpXtgEyIE99SDUIDeT83Xz+ffuaMVRIe3qqnug+YQIwxFmBm51ZI3IUPfA4CxKVvJh1GhSFHZCEbJ30gZ/hDqtGmjwzwTohXoSp812nJkHDgmf5iWTiHN32BeJBWhA0CzJkuXZAe2YaGmOWrGqDBWRFZwZIsXcIwzv3FP8+kAlKqDxkYYg0QKLfct0fta7XsKiuAE7iyUIANqmFQyANtQkXI6Xwa0FDpuvpvO6VQgehzKVb0lTI/GyMAhw0vdHKkuVkVb5TlCegVYAUqlTxCyfsQqg+gGmPub/d+MxnbW81KCG9fKxA/i2jtrW9K5533poCayO5m5yuJbLwL2IPyf6CV2KoGMqFuZMJEVhG5m06094apNRiMuGrGqnudGDj0HZsjvFT/1U68uar7YUzcx4A6Mkn8vyFlDU/kGuurGlLXwPcdanZO8poQXu++beuSeADRL8PC7noetbQs5i/MOUj4zM4zRIMwOxRei5VD21YJaDiBRIT6IWPmrRUxK6P8VQm3Kb1XP9UET8hqOtnwxyL6oFBcmC00DkLI/iZG/eXPZnzorrEWqb5ive9SXrkGbpyDrA5W0R/hoAHr+3du1wMjHumVa+BEcIsDMdMaihMQT7SlpWpz9Rx+G7rV59Uh7fW+zkFXTDz79n329XTQgVCHxRn6uk+nAxl3BhCdMneQJYPu3/8KYZJdsaRtrA++fL8nI9cuvNL1miUNQiPr26AQYt3RwkLgVHU9K7OTAggB8ginDSPexlU+sC8pH4wHZg2OtcvVjKrzpG95WzMmQOuCyESkMBC7jad8n5IkiEaZJ2m+4g1bVkGqxXGs5wqbhlmq5icDLmwt1Q12VQ/j/ntey7Mvj5Dsy4JPxUBekiCdIA/kL4Mdr9lGcrZSsOqRMwK676AawihhmYuTPloKRygrfQEwi27ceGmj+3jfrvNdPSVIBv/t8AP5uN/If2uzgZTDLIJVpKlXIGhy7VPUNR9gZwpjnshJ94gxmO6qZaUWncUZikTH0RMctpAeS4St3RSlXkyIH1YMsrPI6aG/+mGqkTPAlxjcWUvtxj9Gq/u68TkDvsj0SMsUGldtsiMb7pM8iwacpY2zt4JB+9MCKgtMUHXPadp1cmh5gzNy6VxeFhCfKXirQVzIpjzVwzEq/P6c10zImhrP+bampFvMZGrWJt1+lIY/QZc1io4e9eWy5hqDNirk3ca+Y6UxRZWdJXlszxrwZ5LbyfMdHKNOJwjWfK5KDumEQAHPuLk2t8DyQxYH2zekgmpuBw1dShx7m4K706sSGU9PpwWRWxpmpVTMH+ef28bCGes6J0pD6R9i0Voiq19wiPBNrbmtwHQBAwanmWdqtJFihAaO9231PoVzOeq9wh0PyKXJKIclyVduYgB4c4hcW32ibmSl3BDkGwBSKietyhlzfJtSCYvIhN4NQ9Azy6IlsM5hhCUTRPYdGD0SIm+zfR2vVIsdTqWCTFUviLGbaBFvNzzTV1kj/beaY6KKaaWIHefdbnJt+fvdl6vgT4nlwYNS/4evhXBLeNNzMiyeCaH4NynEs6kI9HG0CAcLeMRRCCgYL+Ig3NdkdwCjOw8LU1uQLg8g4ehqMLZVoP8xugxRhcWnjPw1zuA5A7wLcJkqh5h2uFJt4lYIb6gC2j0LTtPfCMKgrE5cVKLPgUw38DXFmzT5iRz6+UbdT7GljyjnoulsbqV1nec252fG1Ig8n7Y2i8viGNXF7NuHiJoxqHDqOVYJKgS5ut3W7lIu7+ZNi1BGRixQ1hoU+GPcnvCf3jowoes9EJqcavkyHJ6nMvZqa18jqNO3BHs8PZtEC7PJivIjAyJXV+slFzkC8PVuCklFtOiRVt8xgPA4/2X4AsNC/lnVT8Jjmzkn7jGGodaOIV0ep3dBmU4FPK8uAjGfBgZt5lPRqN71EqNEt9wJLhnDGeJ3pGsI6N9wIAlUq6v7DyUqpIlhv6Nrde9m12D/eww+FXO+gLuhYaYx11EnDB9QK8QLHUzYcN3OuE8IH7mpxGryaR7HZLKAhzPwn/CxbUBIoIiIVnwP14eNKyv9B55oSQPhACL/uNsP17e/hW9WnH9aSedtzGWALjKW3KZ1JfHUJdgQsUZFpQKAqHRl6m6ZoeBIwJRZI2WP1PVQtabXfInt/4PHMYNkoNHVPFMbapm2zb+fMMJ/hg/saeiI9Em98ZM82yjy1Khf2UxTuufgbWv8j8jlmxIspfOiq0E+LixZS2zbkjbaTOFLQ5WvHAm/7T3RDQ+jgyQRDLwWxsNCwrI83X7B5i2XCPe0mQacgyNd8SetMKLgKVj6z9ZecAAcjV40GI9vhb6SoWx77W0WbFhlizNPWo/OrJJ88tfNGe9ngdFS/l+ebQ1E4rWra5Pk5SRxT3MNbm4tiIii7XoOITZIcmtC6UhRVGjCbUA5ez9DIptYCK/jRBkYtz7DYX9Ob4dTfMebn1MBtoG1vL8iDgEwtEuq69bIEI0K+9bJKKOjJoJJayf2AYUNP5S43gmEIT1Gttn0ER2JaeAYKXncQx6IEuh2giDopLqEfCjscWaM93/BlzqTcyJhJaVFppsOdxEIctLI2Z7LUd5q68JpRT32q/psdXZ8Ka8j1E57eKREzCMbMHOhOMASDAUPVQVCmYK1kYyCQXsnOjIS3QpMsMdUOyqCMDBZUkR78mMnSK0AXaP1xKDdjsduYDlrkbOC5mbcWK/hSW5og6u0RgIAY6yBo5QTCG39cR+eCRP0KVhkz23XPQnVva2YQpbO4P/cX9rcfx27SSjb5UBK08Y64f+NHsR/+aTDpW70oEGYwf8LH6iWMZbguaHxT7uZwYxRWluGzTrP0xf9VX5z+fuycqYUoA8CTTbtaU8Xra+Dw9mSxq6/qu1FPbNjUns6hmQS4x7YsUNj82xVAXSJXZlB4nkZFyfv9TA9gBEP+2Pw24OMGPmtsxBQHeEmQDOKfJN4T37hRZBXyzBwdi8cNI9UHFAWA6t3BSIVDTJ3Y+lBXnk+6DwYhF1mTj/1Zbs8BQapuVWv1EdDWZ+lasrnl3i4TZA28EIjLbh/zmd5t/YLDvMPG/bj0+FE9Z9g0Lm02pU/G6Umuc9npL0nfpUa7bTc28fcqFJNW6lKaQxVLy//nMq/FbVwANsGNVtcPGpekAzozZ0QcSxJiZYnnDPs9+WhJ+xcMY5sXPkiKePbGrUjukJeoWczsLuyM6nrFNbk0py5PZkiB7wiO91xCZIQB5DoJF3kR5QCznDyYPjz2mWRoJXfmBE+BoFoLHk+/kArhq80slHoYbJ1qiWdxM2oJUHe27OyAIXdntLbOAGx831J2VOAG1LoGpWu5rv1aH04L+rZ5wRS9UxKoKUIDv1P9VRuwJ7RF5ISURaRjWoR+VROXnzMn3bZbiVFVSd++H4GW/RlOrLzeYF5qHsd4Jf8aciDunzN656GveZ8MucLf7NRTF0v6/xiMDOkUxSMXYc9095IycEDUWKSpYQr14RPUB4XTAC3gC4wLUzw9rIU05zGvSFnj1VJguQgirtiyrK6lxGo301tFwshZqCcTKh1/3f7F2NtLFrwwVhfyKVmXTJNTnx0ZP7/lHaBT897emykxoeUbrOcEYRrxTSGbdBYy0CeF/eFMq6sASd4E4p9gzOnVe9IlESeedfb0en+meIYvOSwxErnvzTgSX3gWAttk2Sv3GoUUTKRoMoxtttdzsBSyvLizXtWm8poPDYM7esOUqB0frakaZxZ81Hdf52A1FxfLVV+0vXbBjYLEPavUE7HYrjSmKj1BaacghAJsRStQevplcvUOFk6KQLzVx/alU511jpd32sDeyEY2yrxqw/D+T0hEWBxkwDzG2vRc3/PLIeddiHKvg7FyRJ2KLP633MPejaDplKeHusSGrXjhNKgYK/PE6ZWlza7GLhlw+e2+byp3Qs6OZVG1onYztP9IQmFYaFnYOAs5/0jRARWIt6rX0ipLnQrQzA0Avqyo6Brv+00wXXZzUDKUtVraO7MF3Fb+vOEeMM0Xm+1zx7mhNBqzVzhZqgp0oTGZ76W5xy9CfLBq8nHUQ2hT/znJbJovfWEHuYyja7KCaIBH4etR6qscVyIeQhuNFbU9nAvNvkbbnpPXHoqB6E0jN+ehHck83691QIi3hqtw2t0Bj4ujIm1XiuFGlfUC+F6VlqvTZgqrt7xu4eQRcqdQnCMHnfw2iVhUzxBrxuB6rKXssRKZzezLYZhXiq9gocfDFjQYrDPtsW8YXBmlQ/qD8v5ih7nS04ZWryBmReY66k2TsUVeMJP8TUWsittknK5qUP20hVFih4o5GCttrDq0SWme9FWSzJ2/pEHeUHHgduFIIXLduFkdv6KVS0tT0Px5kU05dzif278N9GJrMHJOKCoGIFR/dSC3QUt414DhJlCaxP2xqE9ywYcnhp71fEjYrUa4/xrZ1mqJzFmFKcU8299odNm077gAxtwPXWTEP52CQKtt5+S5Nnmnk8Z5fxt922LiUD5Pn4Dhb8Wk9Vyw/G6bZSusGvlcI34CVhaTU9nRZmyvnaQ40FZSv/U/tLs3PGET6wFYftjDkwcWmSUwIfqqs19ywxxsXs7sOOeHe0LcdXmiGM9uR9R08LcarC/2TIy8TfnmZMKu57FsxwlwTm1WH0DGjqNR5lJZp+20ljvdojSrAG7xYb3Yqntna+k3NXIVe9mzeg3QAzODc0DTk9y9yuVuZGh+/IoVCRqUZfh5oUPYpvrJOU1GZuS6WEXOVS4jFthzF3wETX0U1rILrgWkFgpRxqRH3H1P/4rpXS5jOnBWVmtwRUrlCGcahfIhp9ikfGIucRgrD0NqtmVL06F6muuFUeMy11iV7zW3y0/VLMw2/wbIRkgpgHuxkKaGjnOzG7TWvmIgWmXWGhQzIkLsqC7YXy4dmLA49DDDTnf6/TkLGXtySsm7o9tmDGHlpb8ifTTlUwJCQL5LP512lfQMUv/jnzXQbIBrCcwJ93NYXl3rGjnuPzdmPjIikGN47bxGTS5fCJfxpmCsGytFdj+UWtzwP8qKjECGHNmp4WX91yBI75OFQ2wC06Dy8340Ts6LNptFZHZGDb4CFC/eE2HvNVN+oQMUN1DrVYrK7LUGti1eDwF45ALPKSXUilCs5+ZqxyJe8UzP/N7g5tbczFTnxCG2u8xlCiPjFiuWBbyvHYyqGwLq46lZBFW9vegoBPZ5fnBWjA2wHyZAVKur0v3RCoS8sImels0QDN6u62x92iIT6+fnI85wBxns9ZQ415aDbMgXRId4klqUqaUtL5Te+QD1MWTVODgmfoztEvnfOLFJrYkWYIoVit40FKDUUpAJ9n3C4a29ctoAeQww3Gg6DHuF0JkzMGsI1iyWl5Mozsbov8KtE5yR3NgJ8Bb3igqcyvj7eB69ulZmYFThKtaw9EoM+/GdHrMJTHW4KWLhRXS2lK4+IpVd72vRbuifAmzMaLZza/qUBbvrLzxptbKyIM3zHDtBeCXUxVhlJt2LQqevwUCgXdt8xmNuQ0RaV9Mj8mk/uFVzumaqCiKjVtlMF0xK2UKmZuy6Yys9JkHEc2IxKC/wNGBV53f/Xfa1CuSdM5jjFuT8DtFf913vRoibB3uslZY98uc1GGjkUdEucxKh3vM9zECmOlXuVQYmALHRe2IDjxx4AhiMT4cqy5UcJdu0JoDKXHnBY0mFCi1L2UCl5nA/zwyDaNXgz2Cw6kLUYdfHoBzepsecv9oc8QtOaJVep8gdKQaYA6FPLZ5nxqRSNSUbjTqNxK6pDAWKRZmJ6fiG+6xCRZqVs8iHxrDOhgPO4zBROQDbvLdHBlvg9HSdM+nekcfCNZIBj62yOWUvTLyKqwUwdK6oGH8rBooxYY9d6pf+eI+qp4G5GwbabRGZoL3VAi/JoZIqhYQwqnQLX5XX389oN7637C8EuN6FYqVBQ3/wGDypoxWKa4yG33z7dEEs116ntnxRCfwCXVBTCKzkf57ttVfXure4FpELeNzor4exx0Q2u7IoNAvU824w2JnqmYdtPuSI8xhnJPXpJL67FP+nyyFDY+QCEgY7DzApwIRqWQ9mm1IOhlvZn7Lb8dfW/g03ttJJ9r3pNg9bNfeW05tSDF3bQ60uzRTP57eLrcPkvQzlotXW5p79HgxsGbxw4dMQMWUSjeKg7VsPsn35YfJTPd1ZaJzjZCtCGicTAaI/+zDA5oNkcfvCBRZ1jcqYNBQV8qZGCcr3+kkfMswBSxx+69iP0jS5W7d+m2RV0gttFQ7tzVFNm64WViKy/D7Vi/l7g/txF6y9Zkwz+Ftufhc3NL9Yeg8067v4gm0I8WUo81544nGlyptHJyZIEivSxUKcM57TufZe8bfHjlFvhU0T4Hzy0Qm42y/tS8+/rNDEUX0EHDfT5C6zGRUil6VX0sourO8I+kIxZqWLGYbXjnBD6Wys3Q39l4n0vCzw8/F9GqPRE+4nGXfgKIDg/afOfevPIIkKEPE02nn0MQfjuF3cfp3E1GbU1yZ4VQ0p5McbnX51QQ04PM+luUHo/dG2UeuobWBIkYzK/6ROmC3bStvPDfIUm1q4K7Th4eZSmAjTAamvUMa/1YvKYDSv7/O2zTuZPTUfPcHMft0LyZgx4xc+cD6FXvJCukBiF92KkQrpkSuo2y9+ABy3nktwTyn8ChNL2IJVc/QSZLv9A51XVc9wNSWTZqJaZqxQ8NiY/Myr7y5ujpR+SjgEPcIC288S0c6tTC89KmWbG0xttx7WBsw5MYtK3OezGU9QV3/+mCrhyT4wyg1QW+XrYl7oh80hVh9XnvfSa1XVAkCJggqhZh4LvmxCCMKkzMP3+AnfXQF5/IMdob8pp4+u/phnr2nAWvQsHmCAwaHHjzL2tQvgAQw6r3hwF3hD6vKr1JRgKHTa878awsreEJ5yao0pVYtMvpj6LhIXdkPwUpPIQporFHohPdb2zhvz0ewKRjo9FV+F4uu1E9+SfuhNxb7mYigW22krSQ57nv+f4CoO3X9WG0jDqRdr3INGJERNnoagjW2UuXSUmGq4IgqB9Jw163J2zCR210I6ncy+zraNC7f/98OSY80zotk+BAoUXtrtVUMgoYCo5b82nR/lE9uydB0bQcfQplfmkmdpqDP2p7Olvok2hHqX/7Q543dc9ogJMhxMgWZK0o1ty9b9nz4W/jZqKBS7SJr83GsG5EhyQn3Z/kBbeaSSvePfpzKCQygjqr6RId8ONTSn/V2qMJeBF5iIhtF8wJErTpqp300zT1e6bqEODNpS5vEsFcyJ17M57VsfWDwz9lnHu+wSjfGydV5MnSbKu5ftfo2/KKRJya09Un2DllfT78TL3DFG5rvrmQP3CIQq7wq4NCoYRAkaFa2+b/kAZHgdxHN2LbH/3axPb3pGOiF6hrVkumANz/gQn2JbD2mguPLxbmy2CSoxAfFtNT82PbOeit18hC/flx+TJ3vfbzXYnrCwCsLj0WPYZU9yVpkyQoH94ApXjOTqOPTi/YM1YIe9kxR5UUmu8neVz8Bc/HAT5VSUpfUqzvqnEHVhObnxFvbMqGEomNragDMyzQ2b+POLMLTYgXjHQpQ0Y0crU1RlKoSXGLsiv7nBfu0lZiJ3UVzlbeLL/f/BY2THAAVCxXgglif4OeCXA8K2ej32WApzR90644naBgKUcYjgBUozsqahzQdQ2gzX8B7IvPwdhIA78PaZJeLUO2SoCwe6cU71VGo9csc3T4Sxayi+JDfanAxRQ42OSl6tbX5pmCPhxIonJHttHwr3jJtytyquJMVNZXtU0RaFt/beQMtiU+a8pi4yEjrZKCdk9sa7rxtmxWtT1lUBm9g3j8vARGs3nD9CXIZcho3g69uv/YlAhYpRHB6+AaWpLPOD+FsoV+m+EPWZdAl88EjuBKIvbmzVZ3kcWPTbKP1juJ5YjnsnIIRL8uAe8NMZYjd/NwUruR3WiehAZEe7NA7PF+yU+vuSoOvFpkH8jExzw+KZ62yudszNDgHMFLA6w2LcSyh/gSi9268O7ffyao0J152/myxnEfu5FBAgcqLb9FtoIVPR547nKRPfsOwm/JJvo5PlABlsXKXBgRyAKHg1+1KnDelmpc0gWjV3u4Et3EvrrA5XVIoHKQh5U1UudTXj/i6IrMMdDAx3fRvtohYB5DRaqu3oN1R7vBeFqE9/aDbdt4B89AYpApLqAUMth7RxzJ/kIWKHKafHAWNpukzwoc5TxXqESBCBea6Y5ZzCAQz+C8cqdo+sN/qnchBTytuCNDJhERztIcBiDRe8eao5aYGJuuTxeKCjKN9nxoKjzP7IGWWHzEqMdlabTFyUSJ+Y4poqeOE/TeFiy7JuvVC0azNZJyP6FcwhhqYCzU5u+45ubcGB0xyilMBZiSMm8X676FYmeJsUneBmOyJPdphLdeLtgYJZ7YsmryBYJHChm3FZC7xyVUEOQz1rv9jtee2GMym4/aqeQjccrF2b7wSaGj1bVuGgLfJoEa7Ymj1st68s1gPvOfMeOvEIPWVtE/kSrhuy+sLB+LkzRY6E1BPaEytE/Xmiv1e52hMXmWka2HBYwBNgSf45jkKqFVxPMnRy0q/PQycaDyvlT+xBY939d1uynIKh+9afgk4XXsX4f7CCpQIKBYWie+bJP4Seg5gch0CWgr1G8pAmA97jyfbhig4bh15KBUROoVPNpVzVLJovGjkRkYFXs+25lgziseGVeazfg0eCxRNEZkNEXmVKk9UHCXHsA1U+ZqXNDFuUvQpFYfDJlMpJiwdC1sWDdrKCrpogRuIUDOZ8hHcwL8FuZEK9lNhZyMEB/EHWVIevoFvm6olnqRrILlW1gjFJwF0IFlgb0QAGbKPqVVscavyUrumlXl/T3iwQBcirZDatnxd1PcsCZg1+fr7G674D2nmGx0k3vSw9fe35vMuxgmgI5qs7KrlqhfPoMUGW/gtxgB/oU3/6Yf5sEMj7NJadvNPk0ne/4XK/yZcZjQm9OoZJr5POc95DLj00laoRlVQ4++Bey53HpHbo7TpG3gZLkx5I34gJoGtZ5958v3Fk3Lu/R1dwjAu43Xm4wWA2nmQ1NXbfcesxJYSjBSL6V/URKmr1oK3a+fCxpYAoR7pjBJH/RMxDmJp9r3G8UWsU1h5jkv+68wYyPedgD3wruXczvHvJInLEfVwOsFwuG2heoPzd6bjL9scb8Ep2n9HRy95EVnAgBw38kf4BT3A4dhtoemoF1qWHpVLRudRFV1jkr5gE9uTxTNxRHZP8BMxUrR6HpYmj13fjjb1lRnMdOJxzFKzQQohUJfH8htHJinxQ+mAUBhqp4tNKsiBtLGIYXUTDC4i2h5jnK41RvITgVjQG6RhPus0xh/DKhkUYNMBXEHADf6WFlNEbwpKztFh/bn481C1oiXoxCiJsIqb2whc7k/KvatY/L/W+WrklSy/WoRTLKcEDMAp7w6Aj0u1Ty3toF0VOMD2UbmVycXhqfURMe5B2aD5L4kBz/TgBxj0wnbovimtUxtCQVzyEOnB4R0jnXBXOIIyc3v1O6sgqWWoNOlccWeigZeQ3PQNhxx0A4qgzFNPq1x/CJR55JCZyaI+V720teumpHPFqO6bqe922KpTcHJrNaeMwBF9y/KBtRt3m7WmSEzYSL3UY84eFGKYitD/fT5+O6nzMP4szIMTqdvdUG5X8t/6ySZPrH3G1f/E1bmJN0LSDBNgzbn+70wdURUpxSwy2Ikh204QtRrEtSNG4BqvSrN1sbW/fH8ZsWAcwyy3lbJ3SwH64y6G/exfNkiN+f7Jy+9ouwDKcw+bhncWX7xdfMhf0EZeOu19k6vpTKm/KywjGjxi2Y3wZ8284rHNVNOmOeowdsYgz4o10kDb7FLbHy/g66bp7RF60fMyNp8VBJCE8xuLe2QGzu0R5PEKHf5/3DFnogVaZ4NiOAFbe1F3j80gYpg1zpMI6kMbhRUxMmxqx4M7K86UG9xUiqHYZEvJBeP6n7MmBOUvttWIPGJz3S8SVleMhelwJafEq4Mw7F7m0sD33pOrOAKayfSnf+Eyw4+JS0VQzQxqQ7P+pNUMpFB8yy6KxkKEebN0VTRx9mhuXTVtwMDwxyPRVFBs3A6Y+VHBoQWQRVTX/QIEKTHloXkgYtIXioDVdDpmh4DrTV+I/Tuav6QkmYhfuGM3/jwoFecjOW7ncePRqV5Aup2h/MTNUSw/uWnwAsVWcSbEniI2RPkZa5lbdQROual0ZIIc4MON6u4IZe5IVUZ7iN2zQRrBzbjX6YXn3fz/75aFWIpozCYO7scR0SyLfpZjCfu5Qoug+p+kuT7SWTcTyyG8YJOM/fWUWDz6o/DnxMAp5qHZ5VSE5gEU9odMe2mCX1g2a6D0hb4YDYpc4ovwAhOqmFUjXZofCRGYR5Ms2/xwi+NadNBo1SGY/BgFh+gRPDXggAyTycy/XHMz3yVSfu3Fkcjq5Q35nIojZARNw1TofcQFZW4kB/IwPk88ANR5L/C4FDhnw6A7eKv2LQi1KSuLva/ty4118Lo06puHHLqR3VdTR7eGEjNsRylltDPmvbsz0aEuKj8e1YLoDq+/LIQaqnQH4XJV0LwfoV23zIuyq+mC/fMemr3YrKCD16DAhW7NZ/y7R7wSf7i79BQCav1Gwogc+FfeqiCVrxsGphy0UNDo8OM8TZYSL9w5vVA8gQqOxpfk+BPeng4onJ3JnviY/JI4XRTnZFuEHbEBLOmzyQUG1ANTp7pKDiHE6AM99l5rYY+RgPzGz1nBkX3eCGbP4EhD0tq9uh+DH5C/7ZKybDdgGfZiQRdr44SFLCin/QA0NsyK93VPmmkScXt69fG7LCuU/cay47PJR3OXgMvjjc3EqqV36gg4QoFyJ/qembvgGps9/rjKMoinOwgsGNXN57EFxkhD/JISVPzMdMxZfhr8qS7BGiCNhnLwCKbTwPX+xNeikSEbksygykrU0UkHX1i9jkNxSDoppD3z57bxG0grHkV+GMcgUqa14CiK6OOmVT9hyui1p4ld4E13Oh6pD63s9sTUTWrWaIUzXz6N+7fEVRuwZtIxxaAI8sDjvwsPneaEFz3+XZmE4gGonm+JthFgUXDuER0GEufT+LmtRZ2yzLkZzkLDVonb9mhy4n7C/As/HHmfScooVcc1ZUTi17hvNChSgmWz34F72hRVFZ0BLJtOlGi7yN0ZTJFG4uUVYMGUjYdneOUlE45YqUeQYpTRwJf7o8OApOt+auWjtYuz76031ctdgHPU0D3pDW5ju2vq5RymkkKMBU6MTMGhxo6DJy5CSPvRJ1NqMsyOd9l6TqBEpi2vaFFq3rUw+HIRNFq88eBuuLNHiDAy//sAbfjOvTyj7QX8roB6EMDtdBLR6b9i42ZDP8quLLr/JnnO2piUquvvp0ZPjmd+GmVISUZ2EM1cL8sNEkTUBZ/rWcwXGlo7myxVcXAVMZEY7RRD1wdfFgYzoK03yuMDfDdO6urAISXEQzHSI9Md52fSFC0xfc0uSsqF4cVRdje1qPJ60AmFCTcejgeQXP/rYK8Zf0ome3x2RoSTSZaXzq2PhUdGy3FDV82Y0XdaRgwfCZrbAmGeU7uk2xTJsl2nTPtacf5iM+TfbRlr6NKtOI+okzagpBafoGe/EOBpJIN1m/B3wBvJ+T37RIztQ2/wFyMd8Gd+ONkFfpkxvOKOyRkgpY4/6yvNyJ0b2kTQeX3psECOgz+lDcOt+qAgYFFvyw04nVSV343ulaTMSR4cN8A2oNCrDpESM+SYKW/hGCBgR5UzSmlngn7/WBkg+1UxyOGNYR1CXLKCGtIHUPgFIwIXG/NdFIvMcR+r+aPIFFLmmJPcZqnvY0d4K8HZbq5HQiWz2gdAPxhqI67WPUwWUAO5lFAlpmIx+QLHxtS/1dAXZIpfhoX75FgoPBg75rUDMBCE6Ah1tmw7PEDD39WC/fa7MEx2PKY5Aiu0HnkkNMDGWj8GMlLbjGnKBNn5R3TaMUUuKjAynKZoHRlURwkQQ74n8/M5+EhFlH7ZRpNju35Ifk4u72OreWOx0Vdf7U+ylzBVu4jqe+qaljKWMzE1PfgAPf3GtM3LdG+ejLd0n5VrjyVWTiZRTczp+r2dy5FDAqtv7oXIYDC9ZTMd5RrZOCU62XUn0R3bRFaJ9rKgsSqz7FblbevaaUno6xXkL0bjDO1e9c1UOqPDsLgimaiUloEJ7gP+pkbK7wLYV6N7gVOqeWlIlob9IxxB29QjcSFDDVCKXzs3c/SZV2k8R89jxHDPpFyK1zV6NIQEWg58XAvvSTApewURY+h9VnyUp+9ATVayQsuSxLW5U21xO2GbFf70gjIx2Np7uMaKJPTnKN7bXGCm7qxsZ7oc0NsjsADOwr6yxEL7wNaedl1Pm9AgRENmYeMYV4WphX856w3S3hFBCAtodrM4lJApLdFVgPkKHfyKOhv/RsnH9GMpiDmQFhX/26YlcLCuo9BNRh6pSgOayVLbUKac2QUzZhrXYvaqRkHGpVxhUCMK5r8drM73HMrtWDqf0PziYC/d6AmQuhanO8NmNkg0R5/3+GA1O0uDi50RlfWk6Fx7bSfRH4omGyMrEOaEjyHBLyQr4F7o8IkbqSxcgKjw1t/T4C/78+26prClADwjVq/r74rRrhs7jUiYigHOAKY4PHd+WoVNTy2ZSB5h3iCLVdtgst/CcoFh8OnSV3Nf0r6R8fiWXW0D6RSUt9qkfK2GSF09abAzot905179TXnWbZ4wg1XIOZh4WSIiNU/oTK1cPIjAPa+M7IFLJlJYIzf2neFoNWXMycrvUzMUQRLSEzltEC3VdJ6Kp3bihoFbeP+O8G9sQ//aD626UB3Xf5UEIsnjwhAkNxlKFZpr06XjgYHir0OVDSg3rpuJF3aMSuZ+RMOWynun6Wj/3aNEjF/eCcKGChZZGFDTsenOrO9shQ2X0GaNgq2gy6q7blskyEB6aKYcVSGBMK5nxRdlIgA6SFEfdmNF9TbJ+mgPNW9tS363FWUxHDOl1GwNmmF62pL0S0wEBSLHN7wz0iAeqP/5Fimct0kDCJrRdxVgdlXMbKpcFSKLOMmX15MEF4FtIgngHn6O4F9UkqDHSKaQ/cPNVcyVJmok9gBo/MWsDvT+y8IsYDX0bnDHRVNJEHAipaBFLA7aDIkleWQ3PTGg6nMi7Dxmm43KSMMBuSANtLTPKA8qRSD2fiM4RgDxR4h0GNGYdIUuFOSJZ0W0zNdcgIzHCM7z69an4+5j5n74z/eeFrpHm9vZre+lbY3nuq6PBvBDZc8z4ZDVjN4OqmTOAXL5HmDsmkkBrj7MaSsZ/fiObxD/0r2QSYt+HcSMA73X6PzDCGzdKPBvqnCurDhmZHSShWw7tAU4T8q1cbnsx6oSqmi34diOsmwgZbZIfqAGEk1DI5dMUdcoZW8dlVzMJARB0JPO6XWFmQVsBCCpvvt/L5LYCn3CtXexcgzRco/Uf6x3/67HYKP/GKkpcYTXTIokVblvcQmnTk+3Rtqd5xNbaT7yMOXgBb4fpqQOat7GvUAod97OBFgH55fYbcYUyFabxtCoApkVejv6KNoWgL0FNrswdRtzeJanuoKNONGpG5xcYR2KKyG/xK6226TkEvzz6jTVS2F5/oO1kL5aER3pA8+ZE7Ftb7QAm3uxkoLl2wS4sJH0ZNmfsLwGzK64PH0b9aQ5lbSG0q6EbeQeSbfCNpFXi3inqNKxBDOSqhhQxTr4iIxl0wUQ4d6zbon7QwEmWS+Wrj3I5Wz4DFwT8RlIE2BLUmfqvQWnIIgnfkSDYrU9zl+Rtt4Hn++VjU9SXTc3DVu7FCQ5pX5vnvUlmvqkexbjErx8Sp/UIt+fJZwqLfDCubHaiVeW6xdVGp2eMbDAUgYHQpa0/hzDryKDiPWBPEaJdK+ryJHK4wylGTrGENB4gyV6vJSABr6EyOa5KKydTR1s2Z0dvCjtln5qRPGxhwW4VmWu5vQkOygSnUkkU12rXkw3XUsCC4to3OSexapo26w78I1zeCnLg26D2iRdKsjD9JW5/mERUDSvvhDMhQDSiu/RvEZfFbk2XPiozn7gq0CnsSZWLl1Yv0mfpU6HFa3p07zbinbOCXUWTKQABu1xnWVBuOirilTfhECqMDg24VJ4j+Wa8SO/7XOkJ60qRcXZRg6jGsdMKoa6hCzXnbKEv0rWJTyi11Bd8JD22yOCn6a4sfKFpF7sPO311clawxSDx/CVYBM6v3y6+iV0msR7Pz+mSe39Gw6i9ny30smJXt8FeF8FjjB4+exRBL1+egh7yMlq/imIdCuhbKwu8rfYWFU8AguyhN+OuSrUjgpINOu35z3fiO2llqGFk/TBcpNZfBc7Nsf+xdShhEqXLchaZngNhIyGZulALlqtVdHZRaz7xsRju+3xW8xz2e4syqOw7Yv8bJJxV8sqDncfOInD55p5BkOXMIledPzXax57sbDLbh5yTUjT7Gzr+YxF82QEzeSy2I5H4KQto+kQPXMyiWzTepEivCUuo6jfwJT/Crxypn4VfHX4ZEo/oShZQRtmhfyVJvad+LwM99wdiD50adRc273VkNwIJCbSZHGIb+STpG9HWQMBvecUiADSH/7bm6kneLoJUpn27vJSJUozHg490wiWzruLXWUQTFZE0D14axuKW/1wUPYZ1SU71XPdvklVji7o11OhoWHFja3TX//GPOc2LBBgI1kDmHz+0wzd2V9WJ9HObKBWnszli4qCDxqyiQnF6rfnPwVssvt8aq8JCfu5YfKEiiYL36KBCSiR6tnlFtp/TA5/WwHrlTSG0u9erjb/iKBYyg+sB+i3jcBlawwXtr12JaLexyIFVDPI7bYQNBtaTuJEiiKuxhjQr+iRML6iOz7iXRzg3G8PZj9DkIsomZJ6dfxbEo6/W1+mKI/nrWX9ZktLVSyAVuPPbNGpT6VScMu1wrmUMXn5YEYZQ9sijMmm515IvoAdKdLIXEBjaX+3Qcy9moTZpU+E7egejzGreXcq1lnR0iY78WjZlWIr4iZkmL4JaRXAy/893AwNpD4fgkrOfPFaxEXZbXj17pJ/XnVdWF9LMx59e4T60g4GKCsB/glMvtzDJyRNWgVVhzaRv5mrLyT8LPl0BbrvBFbhFv4r2v6Lrl/m6jsDUGApkv3F4WcORWePvcEuYv+UrTa1m+6DCTm2qyYTL4A6ULZnQ6sTCjbMyodujC0EqTCVcAX5Sm00KuV1oEEL6yDy+L3JQoKv071NCpTlXJfB7Y6OAbSq1jZaPHXRcKplmzz/KdOz99M9KF+0IfoYlf2mhCIp10FIXII0ju/yXVoPlx/ceHuodDqN6kCeSNttXiKBIHjIyQ83juPlj+0lX9abr7D5MsgWWHW2M0YR+UauNSv7L2JZO8uN7jJSPK68+hmwoAkveZHPeu6e8+YQfOz4N/ChXSqauW9BDMXCgH2wFVhsnSl2BNURQEezzEzgl3Oe+BENDFNvRXiM4EOl0uOZzt6AJeARvUVRbYzV0NdQLnnhyR+U0MxefTpB7xeqdRJ4Dy1RkhOpLZaMS3eF3waFkbW7ZhOTDuMaua1E3fKNxGuzH9/xNPh72xx1iCsx4sVU8s76QLlS0n0n+XhUbGktbuteEqL54tBCKuCOcYZEArjcAwsDmUf/PL5GVovHncqGyrRXHeUOJTATmck1VzdI1W3Y+7wMLRjEzLq5myWzXeWqyJ+mvyhnuzz0ztTKsavayUB/0G7W+L2IseTQEtvliuxwjN8P/2yhdWN67DbKVkK6ZQLvtKM4d6SZnhgYzNHBakbqQcEmYK4aWjXZ7ZmxYUP7T946eV+/cCLADkFQOUIHdeZf0j+XIsMfzxeLp0GR8nOJaKr57aFOXQEX1Hx/hAwPYXj0KOZAABfKJLObRzCrenAGNpBHvcbJdAfhSz3ThdCfu4Mm/YS6Q2qMoLFoRo9EePvcr7NEKD2dLQ+iNl2yqOXlAiZXrPlpkocHrcYGc8WwAeixmMo8fJZfFAFx6xOE3K4OHPph9nD5GRcLuSpc36M8E4GXuujaSqih6SxfmtggZV7Vyw33aHTPoCItY/KvdhdhgoQuiakC2wfspSAZBDTGxBlkI1OJr6bauqDDDICIPXAsUb7FMxEgW6U0LwNFqSqcQNFOnbxm/zpGazts/i/FRYJJKI9COyfDjdlyJxX1Wdf9RZf4b7vtkat3XAvYQDVtrP6Izm1tBbwP6XNKq+kYxTk7dqjCc99bHx7HCGh3tOpTEkN/cHdJJJ5UcsRX+TEat4FCqTCSCoUFDGksourGb0G6XTBkFzicDEa59y6iNC9yp49uuoyeLBGisW29nPtZq0mD8ett9XtqS9oNz2DSXSpE1NIEAsAXnRVdIot0mJhp6osnIkbFPFtxycS8xRWhrppXMNMS4AqyN+jJvexnOikANMDcozf+fuOFF9bvY1mXUeQpF/v7GqbuXU1g17RcjqPCrd0OvjdQRzyuR+4TFXQT6zd476pv9W2ea3xF1p2amoQbfFjSqYB4a8WWqyuO0GqLKohAoBPnx0hXEEB9H1RrzsFSww4P2xGE6YabUzs3PZo/3olqXch8M1EpBcoMY4ROcYIHwTQ7r8Uf4mh2TWukAJySLVFbiucAybGpuvetvA/obsrpjFPUwzTZMQS463ztRPanxALot2nvzLFECsIGWp0gBv7wNcCdF0Kqnr0iREEuEL2cgJGKrG/mOej1psVjRGLk1YprB6Y7kEhuvjGa2mAFO5jTP4sQv3P5XvdFnyhO/H02XogKKZhT8jXwfBV9LbKksPpRXXqlC/jg8QR5OOoGmqM0Fy5k/VsIZlJSkJ20k9p0ObxVmxxV81tZKOloOc/iH35CUKyhiOaFPTlVLxBAoCSHOaRSjF9YyVsFYHC8VkvaLgXBmzXzmN5O6fwzSFALycx3GsL18fJdnnqQKO4rQUbmL5sIQ1Q4p6ibTKg1YX9BPQAvND39gho+F0AVUb1W60eCgNZ5IleWiEIAakNyuUpv153tDT/HKBIZ4tXOT5EA0gshu6YNSUXjgY/h8LaYGEGrrIp0rrfXs2lEKZW2sAThiRgerCcwSVUVfAyElemF/94iO8rQiWyTDPuxbYeA12mmFOF4xSmJrSGnE6jB/SoKjiotPP7wlb2+HGSoPnKMnRuZbV3AuNa4XA9ps+ksJm3pv/7vx1xoE6dmO+Pq0uCz0Rr/GnTT8zQ4uiis5aDh2J8RuICKUAB25DdJnuqap2GwFhalBtj4yfY4d9h3EpM7V6E6P4gthP8MUWdRC63OYtT6Fvxwnveu13dHd7ERKQoOo0toRTt4jpqb6bcgWLlEr5N8zz1S5o36Hptp6f1MxsUTw1LH6u4aIlR1GdbIwfCQPicqfNGx016ihisruyAkaMVZmtgtrS8pZ+zOcNnpp+gNK9+55jPwTbt932psTBJME6cLpNhN1K5xGDFpI05DxtUM1G4SppjOZrNiZZtmEbADddW6ygGW2KaR2M5Gwp6plZVYO7jimvweOhkmkHg0peHSvoRdKG2M2ZmBs1M2myh76Pd1NJyRmOGm3og9yqByscvH+b5GPdRiiFXfXfaCQzUxEPvbtERXgCplXe9Gm/kq2ljI9jJrl8wZNM/OBxL0UaoVgjmptJ8GMhD5ZuV30zvV5oGCkj+a5qy4J9f2M19PfJecAb6GsfzuG43ryPl10vLWYZj17T5f7QDlv9L3VdqRrrKD3/iQBk8jSKbZGHQ544FMim/5zRN/oMrUHbr9XxzK5004FLUmurWnbUhMXSu+swGHgCtVJ7nJSYuEdUK4EjEFR5w5NGhUZd4bgTR+P0IPVskRLa26nxTV3m7kxe0iaNBKDIm8Omr5SMTEmHFJiEIkUIuiSK+do1OsOUEXES+VR6wiG4bAliTPM1SrqTZITpMSv+Xj5OM+O/1KXG4FilmxJJ2Map4U+7aaLASMECoZQgxwthDALhSnlbg1sw8+ZcT4Jdvblpfembc87HRpFx8b/ZspCP29BmQT2tSJd5bHeWnWE/OTmpSgWsm9/sOTZpmdm5qlq+OaITgQ9tUCIWiSvtx3jcAHrHpsyNMjGFtk8RbohQyTlNQYyvcY48CuoZMrz2Wvo+jFfkQECpaEOY5fu/risSO1kKfxvVZQuBfa38p80/BQhck1LmKo2Yx4F3MJUyFnjaAdF/im1ryDawaVJFzxPKCetkFNLvmSGztHUtjG4G9h9/FJdo7vUzNLmncUSZnW08qrXr1ZHzWl6h4X8cHGXh3wpu+49CnA+hGTHgMPYQu/9hdxJg/F8kE0bHX+2NFhleBwxEb9OnuvsRaDoF/aMURdb5pY0LM60CsTC/E8nealJ2te1loZAdslusYjZD4+GgIByochooEefM7rC5wWRbmv3g3tRhaaab6WBJJTinly76JbqdginrkoEb67LA1vGIYa/sHH6Q2RE1uQmQrazC/Vkf4JdTUpGGkSfh+wUf2xxlLoiSnaiuCOIfNP2N01Xk4kpoGuPeoCaZjR9bV3IDiPdI4rMyUsz8Rr1BKnEc9xpNglc9SCNoUu7IvcDAWF+8dOM93svh+RNdbi1xgVvmrRpjHw7pGsTVtw84ZCOgG01wOBj42T+3vsoceobxHoYeL8DF0QIKw01ssbN2xBCNV1VKaEKAld9nSIm3WIR2LFWTAXd9bJuisnA2tvpW6JEWlGzJi94YTzmfD3PqEhg2JA3t76spErDPzBEmHfk+ftca5afIKjZ68fdL+22HStPWUG1SQaEiz/Tu51xNRi0qXOYaFlcZ/xbvDyv1Jf1OogRextxnTSW9hXzJ+ks53XORURhjMRz3aQFuCqpELsft2/kASd4Xg5Uu9ib5/CWpX3PsyfJRbA3HJjTTwlPo3NQ4Ye3V1S42SoICSR4lQBn8TqutO+zZ8pMcLcF2XZAg1vQAU4BGlC2RoJWaD4Lcu5mKcJXbanCl07V/HvBLj4+CGjSjOAh+Pny6jWweUiKxhMSZCNHhyq7gkh0JpLflK8/PKowcIzaS/11qYP1dJYP/S8JSFOQLrr7iUN3LZ2a0e6J0H/GD92N32WhZ3rsuXC/EgtGUWrugzkzd0s+kcvNqkPA1IFYkIdNN1HHKH2gn+AjIZb/THFi8jFa2ZKGjLZLYlebt8Jc6tWdfnb4XNxtwABo2QRzPyBEVqWDFRvfpRvGhjlafgfyixDMzCMMcDYft+7QTOXOwqQpdgfdJYguY6YXfbKtnsCUYj10cEoYxnaZjzFhXo7MGgJsrsDzv87V9qUreAInZyScSaa8vQsG37Appxeiy8nkwUqN+Gn77On+Dv1FaAFxXC4sRCvoKDYR3V8nn3FBhFBaUsj44n8bpP1rkuGaNTEkWegE4nh//1gTjNlSMGjH6VQoMMPDAULgXWYyqO12sNDndFIXMzsCRtNeuCMH/Zi/VBRovwzgYytgu2KgqK8HyfTgwRkD/QQpN3fh+J5aOPuHNwFjOew7R/PGXeiL1BNuL57jLJh1VmrUEtmPd+b13FxhwV1UO9EXC+fQ8fIgU26SW0pSuhJ9Tjvzyz9u/cx0KEXO0hhjpNy4374EUENybjA6qqIq5dAw1RtvUmx+w+5I0APdvtLFen5XDJAwmrcLcDiP5n6A4TMV3kModrpSJK6In9tsFvUedCwZTLrr9amaC8zUhTV8QowwXF8hSUSYf6SdgATmyRMl4WOic4E1zv3gZJnQ9VN4RH7mlcSNx22vNkOBE1DZyXsWA9xnyDIE1wMjwqJaZ8G6ENdr8+3sOvbVNuusEohFnh3pQ4fmmf5BF6z6bhkJnpK4Hf1D9naO7aq9yrRh5PnRmM7HTMLoK2hPpUHc0O5JhgS28+YFmvP6/HOASuU9+dSJcgnbecQ5R0r+lrrOT0GZ8cjPlJTsE1o9rsVGhGeStI5rhwNmVHfDmHAHpiZB6yQlfOcc97h58YAcP0tIuF7h45du+n3YAZZsfcejw3uHr0aA6XL3QuZvEFjJRFJf+VHUArEE+0H8UAq7LFHwWnXvI0+c1feOxPg/VrVZ38ypBd3j7SqbLeHacwzMyf5eDJc3IwR4qF223QKtZs0O5mNNZ/sRsUOlnHY/leMjv7j9LF+qZubGSWpgaU/V0Plk4J65YJgAMPJgY1BExDdsZ2UErBFer+uOx/pbp1xV+bhIGntIazTKPq7XdnZr3B4ZH1aje2u/NhavivUP90Iq016qCy2+vnSh+dMpGSpweDG/CdU9XkWV03XsrXzhnPY3cr3oR4C7QIrefNBW720SGQv+YgZBi/tk7cr94DLiYEMXqSb57Qr4/fO2pc39wUVYjR+WXT2dN0lHuKGjCsnV1agoUruco9Yp3mrSHOT+3Isx/UTlFOQE4aolfc747GkwfO9Sb+Wb9HS+m4gBJ7mhwaffCwkmN3pqQw501Q8/oWmyQEeg4JtXPA71kek/YEwGBDBLcnKxUwtFLi6hAklKUx/MdZo5nkhcQw4qmMCKGuXScp6bOsSeTIBJ3kAl/vEjKWFB/AtZ6Ghgwdai0/iNdsZcnNGmIfItLru51hnyLpxylxWmMeQ19b0mwe+2srvK0dePNKhd5pdtaeZn/OjGObqyOSUL8WPxRVK/s024vEJZWjc/1ShXt7Zfjz8dAbSZ9hK0jz2lnu8cRjUxikcu4OvZmBgujTeO/VgK/olnbmgtIqxEXKQIhrG5TYs/Nu+pMLl5bI3AmrsAAQgDmntMy13dpfhTxFsop4cmoh1za+OunQXd5JccYlE4KIqJqreuc9w/ZN3nzKkFe9TlQ2mbMT84RgqE0FeGZ5KE4fTnfK9I1R5v9CyEwRGRVhuiEvQyuaKOrUZWmq7zAfqyvSvqQ8sKpb99SQlkU5M29xRZFDOoO69y8n00I/P9WqXzOEtXQivz/DMPSQjfsjqxaUOhh+pqH7g0IZYe6xLLjB2KQKsdsNcgfa8q+yPiqrJkCkE/fIxFQcRtUmjTF80xHG/wSan3jHqj5lXK6984x6wE8/M8prK7+LopHGUfx6C0/TNF7K2Z08MczIqBBkWxRUhs50ZwQG60V9H2Pq9ZxkD96IS8Vw7Zl7AuAKsvtb/EFb9OwIOkL+gVMX3b1S7dTka+G2wP7A02fVfDkLXZ21+vuhILKLmKOd4OqGp5rpjSzypysDfI0am9X3DFK8+AmzRgeljgIY8ojv9e6gjXUhzzrvu4q8dT+i7WnW9iL/3Orou6aM7U5JMf5Llf7645nsY8Lx7mzb9MnBKANhxb0szdwDoMZg3NIjRUJvpkiTNUunIJlHrHwHT9+iA1K8fQyEGqAfTT1ttgJtlfKevgFYhx4i8RDPt1b/afj0POpUvhudu0PRcdHirQkf6BFHGcrsvQw7ydwtiZxtYVVDrS0CsaqaySRGwPbl6ONwwG1tUV0V82lVWAWCPN0IWhMqBNKlk1W9cpjRlLHneA08LyqvWx7ZgBGBvW5g0lcyXTK5vpi5gCytBQEcX3tcxJjnnr/UwVVqsTPN/m5waP8479T1GRLKQ0PBFHVLZ2RHvooQeJxQseO2UQKoDjvlxzV00bHa54KW/jM2lUEB9GioHLJPhAt9R2yvyhQ/qDkCEl9mPnpY+zM21DLAUSjq1yDH+QiDjFXjEDIPuzV0LJ9dEf4S+IqVxizxG/nNZJVy9dSyIgQI+nkQ8xGz+hc5rKhkcreCXuriMAybEDtxn68kUfJ2kNec4MFusLzYMCLnWJLy3iGz/6AfkJ1SSrOjNqSAM5GBx3NL0XjlVuivOMQBwBGUiTOWjSc6YDEsJytoc9Y36heZlpAaBE7pV0lHpMEl6pXmK4cs+RP2WBb72wXH9tZ/YZNSDTvM+oXdCOsfc76UnQLotR/igdxstMLDnKDvY/vyAvyfjUoqVsnyrmnjNhs4U/dXykDbkE6Ks6P0+gxtHDPanoTis16jR97RFsD8N8vN2YgNu6Aic6n5miDbDW6p9gRgarTrtmwCy4coxqRKScFFDEI+ma5Gb49ZZwX/yo2U/1IrxtjwfHOyUefW4KbK2tBlNbRj7dtvDeCWIKA+Y/f9a5RoXv6u3dn/J38EpbX9nGycKWEqF4h41VXxJQd065yEUkzA39dmh3FuO+AIrLu5vT53hAjPYENXucN3waxU5oZKbetUaHG/tWyyrp/5ypv66fO2pAZ1jj6FOOvRTvFr+EMKMfMEh+UT11hy4a1vvNfmhDcf2OpGnFjjGhbj0bjZPbadeOJlu1FCBSt7kV/gJM1YjsdY1iRfhCu5KG23aFn2iFG8nKHYXVAPe7Su2FPbdi0T9Jp6tnfqdr/GnQDBDxDnxMHdZQI6w8D1arOrl2j8rb0QO3TQ63uX95qys2aaAf9krVDJWp8a1ITSEkz/7kHCvOsM51eikUmPG7qFC5Ll8r6qZc8pCXJws0/T4bqs3LNnc782W2d1EglSpYnf36MWCg7E0GIFOVNtK1EkoeX/CBj7T2XaMJSiD9E51JGtxqZ/o+qKcRP4oXK5e8zPdpSFjM6mBQUP5sff8scy52wL3ideY2NrAdkphFxS75607d3ZvltQCOqBARFI1bAyHVzZ2m0QYLymRZAMoedDSQ433rF5uolFQUwXPrS63RWxudISxk7cWkSnKx4h6hA5K+w+dU+Pu5gvsGUeinBAcaHnzIGVSc1jJNm5fho6FGnT3wTBBPlP8x+4PUqaysJtBIIG+77TPyyjAIWlZ0DK3HoqDcGMCHujqk4cdgfDZWIEFDb2yJMzVf9A33jKzMyM7iINSg/MQHqIrLlQE/ZO50e5AZaR0qS4zzwPAg2CNdOczmF2zaJ2urlxtAz5y68dPVzzixYcMm67/MSfQrOzwr4W0kLT9BRNesqacAozjHRFmKPEJDdEaYpsG1D81aJBKyuZmwA6edViQO4sFXvW0XZ4WecGZp5QiYDco9PzZdEJAPN4STDgV7xGZGPEG2yJX49epG8sTooB/3MBFrLAW0WJzRSDjkIcFuLEMpjfqsLHWz2JilYnH9mFb4REv6CLxr0lDHrWonOspxFTYVRnM7LiAgBkyG4SBGX5Yk1w7Mrckz/zuTFFqxDeIZ+Hj5NKom74R4PxSK+Zja+3r1hpr4DbTrFqg7T4sZc6JPyk3xDuBtRYJfohgWOfxoABPb8KszGKEXHRrnBFPHAiETUF81+wTUan0L0sTSzqUUWirI/f26e4G2zv3iwmDtgSML+K9sk5u1YemPNYRjBEDKvFBdbQc8kJcQpl30yWaDmLtQd0sD+GXwJZQvlXWxNXgqTFjU8iYIVJHKHfgBbNfl2WfJs2eyXp1ARsHWa6OoMHsfD1LTM+guAd1TN1XA+u9ZQVRc2cTRGL2g9bGZLlQSb2UqnErEkE6HixMApBQfuqlXXptcjr2Y/3p/Gz/FIKIUSNHnZY5FRz+E6iAVaaVz2qGubzJg3hhAmQST8qCXsYslj4IZvWltCh9LjsLbu4+VCfO2d1p/EXjP5PZzda8zPqlUBZ4pYb0i4LS2P/TVu6aCcAgvcIFf8eJSnkGcDecJhtQBpz025/e9r9YbKjNC8y3sGSqLMhzr+HohKZ6xiQcRtolr7MonnArVSD2i4WLqkP8CHVZzdkIX18ZoQluKp7vwFrYVMlU9j4js8DQoCCy/GauPys6wv7xsV6AiLxdzSyNhtYGTaEZ6YfPjrwqQPelR8c7hZXGHXmAJ/64ObrQiSX7EOg7Lz/f4LmvtyR/8jH8ar+xbp7Y6TjRejJ6amEUf+fHjXAXzr2vFna5WAU0ZW6/0Dn72lEHqlBUWtbBZBV/QEmLH8Xnv1i+YOp8cTcgbPXV3aERsSh2wh/0hhCoZslRzGGSp2vVzUhVPgRZuyvvCOfIgldoQPt80z+WcqUkkPAV4HFLDlTRp65dD29nXJ75/T7dsqoFOQhBYGYRLrzT2WcowOaliGeyO2Xj8QpCMdLvGEsQWKPDSLow0V2RA4mn6cYGWwl6PPHolZSutlQwzSAJaAxG8HF4dz0+bS6XDzNTKaKzztK2UG/q3mpteeJpZK4IIArZC43eyv3IxD9BF5H2+BujrBC4XulEvXcx1uSIaK0FrIlLyxkZ7gVtxP+HUObygXQhnVzyKXKGtCysfhkpHjsl08VKlY75+pWUh24xOGPGW13qSac6gYTwzSB/Y2lTK9ObxJEgxj0AiVUqb/7+yaYRZo7WsOunX9FAvJGGDUexyo6oH4ZqMMVpn5602tdNvoJCZnjeQUir3t8ZHpJah6k2RUzPEo5244m029kVS7Z+bBml4CmcyelI+kfD+4EWS2gH3hnS7AdTJ7FKlDaDzHS0LZCYbv8KIfhaQQoSpijlhi2/eaNxnF2jg3l5ah+N/hdFAjzb70ObLNemakJmRX/QxvgA5lXeXDl8C7efu6QWtMTrRqOyil9DISkqtmDUM1P207oOmdYGBHQELsEsLHXu4IzdVe7EiIN53DmL/Ds12ZA3mIa2xifUObQ54wvVxMhL3aC6QdP0OBCee8RFlZq+4+B/5+6TnhgrZyri5ip+GUJdLRCOtlrgbG5lal2D4JnbircQUyjejG5HedDwKvDp8F1bI8SfNraSLiUCXaP9LS2T5HhSwBzD3E/XUVHUjEja6/UfecLwM1lgcE1saKNGWWJ7apWU8bgW7cgp/Ecv6OSaNgfMAQoe5d9Z97LQzojqmGUcDi1HMc6z7ZB4mk4IgrPzE4zoSYgNyU8HGqcSIniEN4t4f2Q1Lrrwus8fPuhYtLGlxP+GGmQcMgAZQmhnilLGE3Y/JoHDQTsF3gwWsnpBg5dCYh5ahHdQhDw3HTEMNYgBqLUpzPpe5utvqnea18L1p8ra6BChH2zJ8u0q5ReiB/OersZ1ZTIaAERdOhavRJ86lWT9xZhnc0YQIWMVQ7zg0IDZuPtzGUXnQTj5ZeqQLia4RNJd7sdIEwevUGD2VlZVMsx8Oax7D44AGu67iTRPApFi/Mb0odi/R0idQPekSjFCsWnWSAJRTB6vl00MnKIHk/FX3NLNAljr/RpddGUGmJktw9/fvDid2JQ2Enl++IuSOxRrFOGlFoXYUwF0FOMRnlkg+06+A8lCQwRfw4PLwkX8txQFk38brtIEyJsIVv7V0jf3vSNWuuave/QGbqGzA+YaU0CFzK/tHygtVchZ2/NSJXoMhyo91FSAVSDR87c1DiaqUTwyyT3g5HJY+TaiHJY89PEeaK+AraBSrgW0ISpr08CKe9pH9B9KEZ3ZXy0diRVoIMxyIi4RccUK6ZEnjpWWrt8wMv3xVMngTVOAJZK6lqPtugOzfqlTNJBCq1iKhtMiljjsR1vCnSTjZIYZP5+27BuRS/8HOg/fU4WWUCs0wr+wu3SH13mYZ/uud+aFDoiUHPwnE/jAMq+ImsaIevgFqBRW7uMFNvSgf4bPs5GMmQr2T2ScHbUl2APsQXx/d0i7rK3BJhz80D3v2AVGQiAXq4xSetXoGpsHkMfxIPRvW77fVf0GzG8A+gpFRA/69bNEL8IubAkigGcUUMAvJYyxnEICqiHq8zcIniIibgVlPfTZWvCxtx3NwknwJC7rC7AHCxTeUgDhEoAj41VUHzR7II/NnPaNIoxC+naIOCOT42MBPObkA9ti6qh/Y31DNR9uDlIpGkbOqLwy9wDTjLb4gKb+ic60BZzeACClacBXUqpih8TNYHhQY3sK68vJf+l+oICHtG9ne0QRGLE2jFmRWQYbcVm7Sw05PJbXVu6qlT3gZT94kM8H5XVun61aPa54duRcwkFEUNvlCjE8bz48tftnLaf3JVwWzFOLky8ueCvGvGt/vMHjgywlHeSRmCMKQumz6Umd0+FyFq6ej6nxEEXyggK0iDGR0aNUHQWBFaReQBM4k6Ms+uvrHQ1O0E7DX60mPc+HIzexkGbj1krWlSuzrGR5wPmjP7SpdMUYPqyo7lpxbeYF6+vFmrizllfloMbQFa+2XFQsyRTsnNClIIBjBCBaVy6dxq3FTPUf063u52bQCoiXX5g9Tw60XYCYosOLuU7+nknVHXZ+p0GTHaO3ZnrGWEY++jhmZVSr55vt5Y0SlXj8fcIuXzqgReL9FhJ4fp+ICRsXTVfDMd6DoN7BnJkM2duehVazbajD3+ga4wx0Kxb43aFmqqO5z/7aDTRyQNH4gbm5A9aMrf/Yq8/yF3nJJFonAGtXzHNVnnHsJw9SHWthnRoOzdNpPwNwmW4NGFi5SHiRGhi5sLKLmELsF/34D/WBttGm/hZIbV9UpDifyleiYHfgDsxp/h8JRto8LhJ1XFb72D4YanKC3LN/xQiL4NKu3Gab7KnCdkVW2erzNUfxGmVt0xm10XiICf9nrraMYfXCxFEHr6WGugg/OysHnS2/q2D+tdqRgekTrxvwolVVPWZINEPxJ96ZNN29Wdf86MO3v5YLRHPK2Zf7ER65sdipAC4zKq4dLSq1AwNktoXt+7738TkV1EayR7jOWGwf5ODXowDX7TldB67tGqh92RVIRBb5eUaxw1uAS5EuOLEeh9KtI9MxmzGf1pcES35exytVj024CY98tXwSl1hSJkYXr2p/7HH163UdEIzf4Z4sAC52yWYQcSBRjhL6MmyjkywSdrfcEHmUmy72WG4c7u+nsqRQ4AdQ28sdRx2b7jI8hUbq2AAv0JBvy5Gata6WUBmwR5nR6cKP2ti2B0wW/rAtRUPq7DKHprcUfm5scD4OQQEAqu98GpdhT2IqDfQ5DobqBMQa7ks5pj+elSSJ5QCAq55wuxmnXtDiJCap5QEbTX8glGM+ZKwuVMMc8sOGgjgDbvW+9ymEyLfKbSv/GQdK+1m/BSgxg93VzWK2SNd/U2lQT1IK/2nFHuHhVyKnQygwtCnLYbxjGtXEp4FIcLkLfBAsjTd/AMHu+KmQZAPCj1o1ezquKIXBj52KTVFi1o3We2a3oa4FQcbLUkuSB3UrbBOnBv78+MlZcP+4blcAyRO5qCJJg7YhKSEyGrmxk85+MYvJ58tCr9cQ6cu0j+NtynXfad3GFILF6dFGOMfTa8Qxt5x5oANb57x1Poa77er3MewYh49E9F5im8/lzTu++O8Nvc4HeIAx1tDvE8MLnepMO7lFXtUtlxB4V0Th9hmAnyEvPwidBBCtW6IabtjXDWiyw6hq4K3H2RKppwQv1yneIDYqtXPuDYYND3Mb3d07wnuxwUr6YLI0AOATqm7co4WcU/Ku+81qxZ7yM7Mrp+/3mNtSY7JzdgagLUh0i/W3U9PdmHkaujP4/S4li3gp/Gc+K1jSps7lmBiYD+megdAsihEyuOMLoVvrjiGyY7MPbK0BmvpAG2hQa8F5W8zIRycYl9hHai0FQTguhnp68dvEzm4QNsF/spP4v4rY2VYs7knG75z4ITicI99zohw1oaARoeaQ8LTEr+aYn8TLmZz84CpxpGe0HYKwqFuLGZFAF0nb5l5dOMRO6l1Jg2yLeSZAnf+gtSGO8ANqgpsUX2ccQsehKt14Z0TiTKSSc0y24AuUUVJq+5vmSrJVPOD5VZmlm2uJjXyjNLUZ8HxJzAShR7mBaapfAWXHIhRVbJyc/ujDN7+JTSpUkbrTsRxTg4G0bFn+Bixt03OnBwWRwdSYWn4JxHWyXpsV3JdDFpqsuUtEvjIRKMBGqab3dkVI50fn18iE2KJTB+WoKURl5bR6fCxM6VMesYyK0Bb13p9CM/2crpDsWl9Kajf04ILVWcGguGNiZBYSwtu/v8v4F/0Gf2vOrwW4jbZXcW7px9ZDIpmBELQfoIERQPJ8d08TFWmlI5Vxwgy167EW2eUwOBUtz6NIdHqa/gXedET5rUp2+VcBKn7vJC1iv0WumF8qhZKAOLp2JpeWYSBaeDjN36mvt54gUEgPLfPcLPOj5A293NNMl7KzAt7yLWXqNNnkM2KdqakI6Amu0moGk/PWnJrk2buRFvcVT9qgiOvKGzmdd36Cp8dS5iF7DFlPMXamvk+ewsELRrJhBYHKBqzpnso8GzwgpHCSRtLa3hhQF1uKOQZyATWaX0mBdiIVaqVabYeOa3pcU5hlJvMLkcmTTLnE0shB4/m+yXCN9fBE4jjMKG8GoY8zZsUyE+fvIZ3Wn5OHUL3VnjhYjn8vGYV10wbYVGHPkgr7t3Pcfco2dLdN8BbKuo3lN1jjb+niiW25hGVF/IDt78E0nhG9SmnxZEiXQHdWnwTV4vyzbB6rrVDNCX1PspxyLA9Wv2CsEZphjYbpSs+PR0Scz994E61l17XD8a8mOFRixGfvTXkK49Hb3gkgpzrvBQKH/6rzK6Iiz4XAjLvZ/nkSbNP1Q5gzstGVRCKE3h3XFBdX6ZdHOlDgTGs2QQwP6N/JYKbemjL4j7DotIMYc+U9On1v5mHP9nBJGpqv1b8lrFxv+op6K+9eM/7po+PBhQjE8BX3K+Bpgc1pZguKZ4A4D8KngjZnhoqQp0mg87kEvRaoY+YKcTl+P2FH9uMhWNiuGg3BAghnL0ATuk9XWFXoMM4npXmc7XsJ62IIYo4uisA/bdIklllgM76K2jBQ61lBcPEhCpgy2z3fZ8NG6lYBv2cAKjdt0OW1+abGa5mlxqZZu9sLI4H976LMvbHV9HuOWSyxET4RXcmUg2H2CrfWQtbmwULK+9DKQI5lcPORnrOCZtRZ7Ho8SemW2WyX6MkTibKiZW7km1J+aIMiFt9Z//KQgYGTc4JDb2XlSLmL0nMc20CHpPlXDqVYEvN5lXLrUZKDajN+AXgeABvyIMywuqwfjo+553rAZXY4jRxYShFnUOVJIlylw8A1gNieaRj2/vSu2MevPDXJxbVWLSjW4UqWFvIy/6ZbUbGzcwNV607uOA0CVYwFEjioriImHkdFGaJm3qmizHLF6JQCbdhnAuK7cQuj3hjsPzOusH75n11VA8friMqP/4B6MFyklnaNLVYguNvVnhgksvAheZBJ9DvtRj2/Z+GOpBwU9H7P6DZm7MNy0ipQ9SE9HEXz/vDIRkGXYJ5jGZZErcRjokr6tMDZwDH0kRYGdDgeyaLxNOMAYD8k23xrpDezxIp3/+m/uIgtcrWjQAeUqvlS5iLjP0UReTKokSiypE1CuyPxzKHCzRGXj1uhh4a">
            <a:extLst>
              <a:ext uri="{FF2B5EF4-FFF2-40B4-BE49-F238E27FC236}">
                <a16:creationId xmlns:a16="http://schemas.microsoft.com/office/drawing/2014/main" id="{B8E3E946-2030-4649-AF17-4CE6816BF2D0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343484" y="2038401"/>
            <a:ext cx="5495519" cy="4422667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QFxXyF7ZWasDzGKhu7cKgKDOrZeSHcnhKkT6209F4G8QApsMQK/h0ObGxvYtPS2dPf7DTVRT4bNmc5MRD+jTZZbTYjTrlZcEzEMPwB/6eTdpV9A7SsoDIJ+g124J3wi3K/TDuHNQqOuxLDjEEwaPVioTuttuH0FTkQmhok/Eto6PfWfp7I1LTljm4V4lCC4slAl27gXXjWDx6HNIDxeobSsehqxDc1RzbEYRbiMkcv5hoiWwlx0+/+nvLWpSrnCOfTL2EyWRHuVCrb71oboQzM6XFqdNsZuAJlDCzwdpcPg1nDVcYBTaIbaURzZUReUYGpifb+8Js3/hFNcN2t0Xsl3wu7F0KZupe4uyHJ1U61FQm05CrxJ4TI1EWFqCvdYeSM0H++R/V2XYC+Us+DnuKpZlI9ilGnzXQTFlvnsouYQU+7BedfBujqzIhB9JhKR+QqVCHEuVXFBfh1mBUEms/sNakRqQpVbHQDQ4YR6Ji7OSH5KCSq9IzSBE3WIKD4KpFwkNI7hBJcyHZt2dUgFKy9/+zIrmKSKH7wvFQjRo8RmgHTc3WGqnC6dGEysQI+D8eBJvGRnjFzGfswIGRASxLBk9aFXV4EStaIfOTcGaTY523FJo21Z34wvm8sRtlOw7zA0LOIgp1S3WUhWGuOAbl+WmPO8qzhY6xV/sMR/LZ8yJsAszGc3P0LUbiA776jIOWVyPBJ/X7BrLnVjlrNXV48S9lffDuia2IklISsllRs5dStuLk6qhNFrtZDzR/IbSCXV1pot6yNf55B/3vPw07mNtAi6z+0yxKYPTCt0AtTaFOawOYEwnPlBXuyADsmNmUdaaIxL/p87RQElPj9hg0/9+G6OSPflN4fGhobN7WG883gqTmpQ1p4EFJlgkE21LSq9QcLt70CzOwJfDtLXayYKW4PAzkeD0LiZhLjRZckK1N22lTkbGveuSx1mnfnmPVEHn2TdaMoWZ0FQIb8yGmuQdWreFrXuI6zM+u4d1+3mKihCv/dmhPqGyNNROk1oMWkSdpCgPYMNr9vR8qs3eWKz3d5iLizzXPonhtQ2TeOMSruVo9SFdPVKWpX2Yp9G8KctygXN+cq6fddKpjzsu4THdJOfwpY5saVE9aJHESighQnOB0SAdWEz4Mq8rbYWNpFC9CsDMNgjg5nyYXB8udGzCvPXnlEJdn95BTOgJRJoEnRC+Afg8tXieOJZ/7X0NLr+KvfF3GLj6vPuU1QbGRO4YQMY45JWry7mjDTOhOWfJ5Mo60uX0ozPf0Eub2Oq7T6H1DK2QtsptSl3VlchrChqICRqqt8se0MbogVbNY32lVNsq/NI5si/4hVx7FtTTUyBVYMy6y+rMuIpSBUynUZMiNvRrwd6G+uvI0cnupIlAKcNvtqwfSbKeGdclLfETtj9lBIbamosZJSMjzEhjs1v9jzMXuRJ4jZ8chEw4o0xPFKbNm5csdGGSpP5ucfWvfKUehI/r04YXsHLgLBGVEZdFRIAkvKUxgz65z65zHxI/URUywoaV40k8QogAOxm53pTKm5xYAHPoB2QixwE25sGz06g1+Br25lc9GxumrheVFH2ab+/IE6E9WEePq7ESmyhXL8SDfMdqzSH0/oqGb0y9U8951YEGy6iUHp+j6NAIPE729Q7JbYElzRrhBxnKLtJDdWNifTxLJJ2SdL2TeE6bvpKOY3Juz409TfmFCWylt2+iftc4fTnh7oK1EqAPga4GuO6ZYkR1kRaJegCzWXq4wsz3JJc9RmQorP5SCYHJ/NBBh+kqE7Og9YfazmvmQgLr4k9fRqnEJl6/2/q9JEhET/JkNGc2mkmIS3gUcpOd5NaRjLdCi0yfWSOqu63dXxhd63yIkEb8LvwKnC464nYS1gKMy0KRBXoy0z0Bd8aLrERRbBJ6PUYK6FKSKUHj9vAmOkg9L+U4vx/Ih7wojMnbdY9JZrHIpR1RgXvmZBl8JKIenB+lnpLnCqVQbf40xy1apFH1O3dzLEB9rx9bWFZcT02qvf4motQ73fhqQFx/6m1Ek14Ydx3xMKNmA1y3Ik4m61wNDBriijA3V5UBk4cR/TeHUyvVHYgBy/YR7s8dvlLeA9Zk+3ESXbbos2WANKtYXOfely/+5RNbS1NE0pcLzCjVakPh7kKoXKsnsf7lzMtvUKMB3iZTsk/VXyy23aCbVxQAPS5PcQjcqVVF4Rwatbg1mzO46PN3S0+DWPobFAVoRFVH7DZ7SIxkXjSC4r0BuCTrUYsMcRgq4ZsZvSE/tmmqzxDamXvPIHSpd14OqpxZrrDt203FnZvzjefYYIHaLrWMEmbn9f9tyE8MDjDs5YROEjeUz2tBofKwwCGL7B3QdjPT8kDSpPX7ZW4eTCVbM4q/zF4mHEKpLfl7PiDqqp5Hu7sSlgmcpNcgyZDmbdJC3hsD4X1WpD2ImR+cJTCVb5Bbo3woIeknud3n0jxIDt6VftpZrCi+AfJAI19qGf6wAOV7IdRagV9H68ww89On4wUsDjj3rSbexKXaCoRyx5nyNU8bkTmWrRxUJMVcAjTdTTeR4SQaE6MA90hFd26AF2zGUYjckHgbmz10tHpC75oY0mBHCnS08RFRPBBUq2ot5A3dA9Dv0B6ezYezIeTcXwceLxE3QXjrksnkIQQvfIL8jX2S4n7andVtlnBg2E6Fp7wVReUWMG6pMNlachEfC8zhLPI/e2JvFuTZkBbOi7tL8s5zn9wpUXRqQ1zx1Ic2CTFudcwPGn7fP3SIscSvvT3AZvZgUHzPwDf8wA0I5B9jxXivCxpCebtKputBMqp+3mPAvqvlI+E/+GXq0ZbnsBPt2ZsgDkiqqXirqQPlnbdCuLiFbsJP8icrsUYMwNRiyJndk0r5nWFA40BHf8zP9K3+VJlIQ/VUxEdzs6LoQnFakREUD2bmU3/uwViLZ5/1eR2eQWqL2TUUyrT/9aDeC1NO8KaEBOT/RryPPUuOew5+n6I+qmCKItrBUHAt1Pfpq1DZTssNxwBYFHN4iyEKi6zozp0x6EECKGafN2ivR0QNZZbg72SywwPN3g/aP7U8yqw9ax9gT+wKsJ1xuBsUPHq2zCWy9TXhZkzCeBprzaXdHj0SRCR9oc+DZY4sN/hCTZuwCy0XuSbuFvrt25Iu/YJVo4yKVEmyMnzDJ4C2VRdAIywtKxu1nWGzwcDvxzHgHFDlgNTv9thek3v0SWIWl1t/1qEO/KFj7dmFbA1VPXEIYfCpoeAQ9VySzEmbSchnYiooXqidk9z/lqPuij2jpP/zdkkYT046riVQmSszBulQfPPzqmO5F5IdigtvtlghoGfMP1bXXEGhYtkelFxiN6tmyGCQ4TppalLNv51HiDLxd0bZ5YbihOKJxEy8Jh5qYjRsv7uHShgvHtozFY3NcneQsS0F5Kazv5OlAZvqTYsD29CuDBovpvVp9Z6Tp6RiivwABhSM/F+jBGtgXlmXkney3S3riO00+VMQjCDcrPlz0XLNd5C9hdOIW+GQL1i1y2e9gzhaUwwmJp30a7f8wfT8J8BHWDl6Y1KSJxG8ODAytPbr1SJh788us387n3wCeL8BUMewnjcXGgoGZ+WsuG4HduqQ4mLHO48VigZG2CF7rNm5jO+dTZYU1hivPXgB5lE7D1ek81HWCt5+DtATowqtEBRH/8uKAvWdlYhGIgn/Zv4Pf/60tOIBZ/DpblIB2s1CRIr9ncWNs85G5s7QY5699Dm4y2icutPqM6HEuXci4hB3F8yF7ugzXreZfm+i/8EJwkrQa+LhrPQly7wyz/hXeRtHrtQomOV4lxgtv7QHNimywDD5PvwGz8GI9zCqewZobxiHqibhqLrHhoqH8DghTXkCBGExc7lqjA5MrMC0iLtgiv2FIP+H3sv+AwBwT8gAD5XpFlDGYrUB7H5pmtaX6cFRd/LYKSL76ILHKzZeH5bFwKtMqJA1EMHENpaC84WwppmldGB4ovV+85/NyYV6qEMSZpZGuFoZjH6SConFXQlYNSxUxb19UGLkcR3EllKv/0afyBGKtO2kKKDpIbChP10dvA3wbsvVsl0zN/n/4Xs0HeiJsmscepuC0ig6Q+lzH1HU84WboXU7JpaiXEKS5uWt3vIBjhfLWNXjDNz+x3AoLpzMly24Lln4J0PQE9s4SzEKjnjqP7LiDYSsCo6YvhxwWV+dV8B3wAXK/o4Sn87qKSz/GpE4tmOocV0JYT8JxDDTovA9gZfx11TVKK7CXI3PT1d+e1t5I2VzkRu/nWTqbniED85mm/ty6mxlyO9NMD3g0ANjUcgo9TKP8duLC72wjrW0RiqrUI5xlDXdjHFUmo8SZJrY4xWCXsjfe4QP9JkVS/yh4nKAijIgw9Oe+V0RMSzX0kAu/VNMXAglJaeODxDCQSXeq1hvP8+wvuwkojVyQboTF7PsIeQwydA3mvSPT/EFhNNamp8eYs1JljeGxDA6XVPHJe/UxxQ79L5Lf1EiII1Ibs29xC1U3779homQdtf1vyIKR7TuAVQr7eHZfjDYDSZSfPQms7oJGCUZ7DrKzERZ54YvrAJkP9sQAUM8o3/s9GSbSWaawhfb5qKq08noEaTARFZh/wuk3cLvOMHoisj3pvTCfuHQT0+C0CiZTsMg7h9KEI6i427JlXlK1+TwpCU/TbnC0pGnyjV+9WLLYn/fab5O+nqnPWUFcia7fO+3qjyPo7QyY/D2yJxZQySySqR8gekvtvpQ1tVtYDz1y0Sz3fRlbo8EI8RkQDfJd0N2TUXnttz3Cyyiy1eCI/qu9m8rj2CJm0bDZizpNJ96R6AjzaKwlnaidMBTWWJB0IyLTt+njzjMiokMNH3wV6gF/G5X07CPdZ32n4Pwicd63iikKqaZHCUcfTl/k+innGHJfJMPa/LEUOBLoCeRxCwLO0uoc56FEiGK5pKcp2yy8xVb/tXo+1iNesvYkwAraJbLKuiAGHzjKkHuHXmLi116ynr4gzOSp41yWWkRiIqDL9Ua/gVV5XNeUPoxDGZcCz7kH0dFyPnr4bLvJn4lxbq5Myg0vnRLXTY3Kep7/VLaWFhcXEz1i6X5vHJ43+9J3A5F31iFpNBlsi9N4e2FegOmKn83h9zziVp8E+DihQIFhoPG075DgsHsd8BnQQdpNNnFpUA5bZHqjxbTT021+UomxJqd34uEIqwivZoX542aFAHOpUdpunqth6S8ZVyF/acIPxUa+g3nfVcQgXP5gsrjVyuetDuT2vhwx/FzibvXR/iHMqSXAugfb3JUqbx5ktMeLLzw/ncLEZ2jgylIgYApeF+dx4iDcezfM4LTjVFrjMHNdrxUHZCya7JfGDLgeliBZa0EbsJv0JbVwJnou9njlYHddqwiVYaK6bZst545i1Hi2ncmUcDNQCFcZE56O5TjGJVOenIW0fhJbhO2UAvla18jKrx0ghNYKeORJiYVg2di9rXmE8clICc/BJomxAM0GaEeLip+L/6SMcnz+CZ1r9Q2HCvZmZycc8pU1krvUKQIShuYPdhNATLsnIDZE2FHfjuYHFK35TEX+t95DChSdJOVWyhixFTmQyMPhC3J7kcJP/UNBSHIYwSp25/ebWeIRtX2Ujs87bLgsT0sQAOgKYlhTNakOg/an7qyrFU9PaM6jt4hoEDhz2EZwya8Uohr3ahe3yBuyEBq0owAABGsjmAh3MV3QdXgA4vHQG8xlqqrCyivEzcra4jhlmWpLoTGXxJ/djLLxF3AdEjbOAJqNXZiswf3NgVm6KDgLfcPNAnl+m5LQ7zf+ukmrIreiolB5qpiXRK12+WQ4EraJzdtNPWTbDFwfOLA3RkcNCIdeAvw999Dr0enRMCDsPi+RpPqstKBgx6NZKDbqXFHhkUXNDXX95PhrfAX9rZl8Nsch1mZ4CHOmlCszWglhLXuDWYG9z9sdXzPYW2W43Z7sV3OV9sQOHbJts0ls+R5FrMwfkTss8ghpki7d6ibqjMYI5lvtCt9CcHwYhe/ix/dBh+fCF5MBbOkeXIyW1a7CMLUurDR9c6ZmlFwjXFcZ7GuZvfEkv8s+hd1QUwDAhlFseME7P68Io5OAwxsRxoZ7hd88FQi6eENg2vXcKmXz/OdyyHNu68e+tsiqwZHIQIuo1HZ5mHqEM2mVi6mRrhl6EnM4uv4joA8JmcXI0MwveE7RPbKbMQIlOJt4fTfu0/XQOyrfQGiJr36popk69lDNpfScAdfBx73CnkCywUOHAwTMErM0qahxVcKU9WLCsDxncixmVWOGFhIblyV9IfITjF5IxnOAHLEwLYIbkI5kQ+mpDtLknzCGXeUwWwt6g08k/8bIMIkRJnzfpTzfT3YS4d/in5uXPiNjHJQwSzJaPYxVovZPkHX9yTU0CXMiK7lYbMuP8B76eSkrrsD/7qpSpat0+yFEqgOMOod1sXx0K74o8pBfM9V1zTtOATLBo1q3rNMWuJSEm40EAYK5B4xDZ103Bh3NiAzF5CZdSmMnuhLZphAo+j6yIOUeJA17TnBt6kt4AZC47JGYcAtMPxD275Z5nuGcUSQ4YU/OCJ1TLmiKNApxZLihiG9kNau0wlBDzwUcje2MHZxeiqaay6/+TC2kqcSabvQTu0yD1iFva+fDIgfIRQa6go3WOwIyeM8NouTtvlNRUKUhpy1nS/EGCEqhNMttYZDZ/7RSCO6dD14CF8d87Fe9RP6hRvbF9tLR4cPlxoOdFSsxyzs8VvO8kBD02TulraV7KMJKpi5nA05sIr1VWdKp3BeTNtOIIK6NLHsKGYWGH13bzUdd3M6jqFsk77ALz+38DPMtR/uHGrdClM317gloMllHuGGTwg3GXyPEcfa2lpSW9FiCNPcxN+4qQsFDS93zhOhzo39j1UYnx61yLl6mASsVlRicuwl77p+xvtlHEwDhrvx7vw1MUvHEKTMwEqVuG6V0mfkSuyrpAvQw/Qn7wLRkjRhEAYjH9c92zc4K3wR8WR7yW85BgyHaeMLQqL5l/ZvRYv0u90N/LAQ53NpS32ZDiWA4ivbyPrTQIt+dR+p5HbmX726OlXWdt04lAtDWVag403cBjvO51S5nbMMoTN4oLXpYz2SPUCeWXAxT3FKJxj07KJ4mlYR3I+ytwdYozGGLur/6SxxATTjXTGT8s1QWnrL3abw+dY8TNIxpAyhFQgj5OiF+e/3ft2abEkthUdhH9P3tjBCe6A+9YKPrUYnYxdG8AAcqi3Ru0//6scacODsIF+qPmP2xaCgtieBj73R9fH0tfJThkxTQdTvhOToVsig4W8WFoHD4aXu/16WncVeJZntqoE8PV5UQKctYhNSHcg4wP1pSdRNYSlkcogtWHyUM5E66HQ0mQlUDLkUwyjFL3W0VxkVjqVOdFZaob1V92MzdVLpugVEI3bYoKlB4G69L6JKqNMFZBJ7dxPZbDCNtw2pEu1z2PlM31KbJDGM5mUrE/TQSltEdtqCB7dZhjPEzKplKMHovZ4PaogXNiCCxSOKW62VCLN1Pu1udvtOg80w8RT4HZjMXc/Bl+bGyaeV+yYyT2yo7yiMsVfHXZljdHU3Gvvo4E7zLTQwDThKRXhzE7/1MeZTRtL/4sW4jPyABJAF5bMxAePXL3MjFYih/PQY+ejp8OibeDLBqMzl+X7J3QE1uuDehGQz/l8EFhABskoDPJ37BXqtH7X5kVrxSwx93HBKlPI6GuhQEgTnzRF4vnHQ8uT7zugs3klVHbfPYokdoHyOKQ129eQFNi1jR9IzxL6Pu7VwRTNamhqVql5cXQ/D81WUUGy5tOhutzXvkTrkUG38lelKOMlHAOmlhMZ01zoPpJZ6QOxi+Cfsh5cOlMyD4izxdoEHGiobaDcaA39QA9GM0FV3ZcTpG8AOamaH+AGczu+iW5q7txh7tdU7/LSfaANHfXWdtv7w3n0ZPzZSe55ZKZm7HJiJozmwRn+e75qvlIJ5V9htyR7WhLD9StY5aKd5J4kWqTKOfWVnWtrM0pyKWfMZ6BWXUQBgnLYXiw/Wmv54N1TthNufviS73MllEWJJzGsCpBvd8hPQ4kOHVrxhLn+YYdjDd9T3DvWdv/SgVtMOtzaISEqyFLqYXJ00lfx7yH40z6T9UxiHXS+dUcG0BVwcLbgrQSmYXrn3bTTqhFGwg4QNLMek7QZskkwclLswFxI2TdpBErAStlPfKFLaoSyoxFPWuRKgKPteqJ8DGpZTS4LQ2VoaptsKUPY8zuEkP8tMlN9IrsMb1tOvtEj055EZJoJmPrlaFk+7bSNrUVUhXBtkjn3T0yl8+FCWieMOfkJskP0OMpLDVgb0HOAEfDDK1alD8RvUBmZ0S/gju32LIzfyaZiuNlJJ+Fr/6tUo0OoQQXCYuL2K2SLIvVdNymn+pbSKJ7udMPYDHc9HpFTAY2PEOPAIrzvtuPlXjIyPfDHBDqSTRC1nirDyIHc9uGj3c/h21KLU7v6vILWRQDGXSH688CxfP1KRn6VYXrocDZ/jmDLWU0F0iDh4h54oBTug5NosSDOulktD1bOZWtZpeCqnHtDb4Zf/n5cKZSYsk63a1kwzyBYia3g8DzBXM5QdBX6hNYebBCNT8B7EyCaWCClNqZaT5rVy9UJh4cmL9QsV2SpNVovqBwyVoxbIjnaMD3dal0/uEax8PNEcLJPS0NJNMP2IgdmQUzaaBXKiiUzYUjQIEmYun2LI3HcM+p4J7J9XwZyqzUjpp7D9e2BDZ0339gsYInbuYLgGqPvJswkZbSlyS7zDQHnDlw6I3Wx+Ms7YyTA3LfHr01upAHyX+/YNbvQzr8BD7AEfnyz//RsggjIn+lIfxbZYi0brsfnwZWmflqJ2bkXnACaELrijmS5qXBL0FGouzd1of+XBmyulkwIG8prBGUZHCa+V7THfMjUURNC7aYIqSO/VmlEOjqkoBumRlK1ok/1jDjgjq0KXEut8Ht7iLbTwjbUYzAutnmFJE2kdIy9Q4C28TFHzEDqgrQHvMs1UNIXyEvp71uxcbcjtFpfNDdtaXkFO+FuMlAb4SbIUk0WmR6JtUYnrcTW/kJ97VDd4lKCGY58ieTDDvZ8i5qfClCx2KPWMC9u/e/rJq2S54mQQErneTk9cgIMEj9ex3Dw1p6doMDR2S68CUC+DI2l1xqejQFWt+rBG0ZwFWqx642o2+XLFLOyG7Ml7c6U+iPGvhY9Xg5Fo+O840R3c27nYRvMND0+dYhu2pRRQVC3Q29TveNZDAH50KssfkQV4NVIKJLslKxLocqIGn3sWfaRAj32jqclcT126/K0UCW2d/bAQhw8MNpvhWZcO6Qp9HuHADRs4UWLCMzJDZx5uH2VKepcnUoLjKnn4rQ4E8cKPjOZ7RXShq0ftaw5cepz0DCyEATnpo5q+oQxKMsplIiYYVIiid4RFDRAaw95x3ArNa88nKI3eotZ6guPr4tBpuH67uDZIIoX5YFPXJFhM2q8cU28EisbJ6KxfHJAb3BJVtsOV8P5bLQ+cHcxVWujvEo2kRMKGXAO0AhfA3y6hLKule07Zz/o7u7NPZyERr1wU5x9X1l/8TgMrEj0u/IRUAX587C747ZwyvUNY1bjUPvZOFqxsyTuDHb3iPbamuenncXpfD3RktZMxqzMFnY0WWy1A/nBZ1M6OARbmZjhkx5LnAg6KBsjwXHeZQziOEdwwWaKNMcnA6yhAxzbs9B5yT8hQh0ndmbQc/S3wQMVzUil2cH6zAsRZW2mVUEFoHVkN/gKXL3YNCyNV9s1Gz19Q9qwzlyUyJKGBbwTCvhSY2dA6dXtdtx9kVtzQSHIljK+wvDVg5GHuOCBd3zxnv5SpUcA3hzHp9yXocyAjXwSjva/gkcTgddkiaBTR+Mtx47LN4mENp5rNxHTqqnUzx+i7uK9Xb+CM9vfk/vuPY8P6yNszd5w8wWF1hoN+Rd4Ddq5Eckek9qE6UXStmYKDYchG40CK4wpLtlfB8GoukIM66E1OCgZlNE19GzxvfiHxaApGkDID34Xq/om63QtUvEmBLQUNpPa5goluDGmrJMh/bih94AFhZBZfIpy3kWkBuLs61uoLfZoCXLcI1W3gAeK684Irb43bfcFi9KbABb+BmpSTf5uYYqgVRb2hh00jn2K83m/elxxt2U3qX4zmg2JrrMyiuD5ySfxHqEv2FV5+jzeElJXYLkooN8UyJ8/X8vvpmLXwk0wXCWHOKqUytptnFKTpVGOpF+IckNOANfqKtFEMsx8trIzfP59O6+wcnrJaXr6z12Lt+TbsOvGnmqoZ3ctQ1GZG3TtMOhTuQKnOn+1KU/UBrcDTyUd9p9HCkZb2px3BT/rubqvgVUQNNbwmfxZLFNCOm+IoPOLM5vi6ArEIWVfxIi9GvJr+9ShcqqkEHIxRYWYyZ7FBNddVsrF+xDmVnXMHmupzlDpf0joAJZUp9j7z5FYzArZOrneXdVu6jLBqohkbj3iaBkghhGDNj7KXXJLez+nxSBX9GSWY74w7NFyD9fM6a/ExKm7BAMs1J0sTVpgjyjSLj5fubS9IcfX9sduIUb8rp7/mulYTZ3MkHaJ1W7ZOkw94TzxlimZWxtlxI24zQHYE48e3sRVg8EtncZQ/TifaQVpfWdg7QW2FGax7IkhKVcdA7l1UjuJr3SJs3bQMsvcf/h79rzUffTW8q0hKmzvQFy8l6qzz8X0DNKmZasWVRZtC5VLkV9WMKXwBKLAF8D59qlVn0bvUmHjFQ/peRbbo84wTeyiwZWOIT5wAC9sJZOWYKrN8pGKwiKC1Zk70jo8yiIPiVUwcxfUCAiYs7ujEj+DGXu1ZZUUMria5PEcKWR/mFDFqMRWgQS3SKM/WRWRgVMQBY832aq0zFagcgOpFJDTz7xQJbGXgQVi02cHaIkMoR5pzutHj1J56D8WSsdBVUBf4ppFVdM3GJgdpsxxDQkCpCoZCi3GUPNrq71kfoTFyxJXn2JeO+3WjmiApRUBdQiG8AbYcAEMix6rFoJze/PmFmrW7bCgD0t8C3sERPjx4RPKqtIEwfwES64FRGVO/WdIiOOOc+VKDJm6LQ6XBRXaJiweNummcnH2T2iJpu7WMKxWszTjM4lyP1d5c1/olMN12I9am7BZKv4CfgXC07FNJG4zOI9/sNcKSDRz/9cmdwHZvLmEl/QkovqZ2rUqrT4UWnGBAwCM8mo8yZCj8agj3WNIAKR/au0lBoaCdYdyd96ol7t4/01d6yApFf07QctVjhH7HKGoBhuAYERkkYgGGqXxBpPICAB9Du/wLrtSjZpE2n90lIAgTN2B3JbmCbA7qEFvLvjRqM1nWY2vJcTmjChJcJljtAjpZjWQwXclAWSHAwF+iORumt/dyEzrKgsp5AIdTMq6BtJdzoFbuWLWbCh427LImt7/reh52c6suGd2JpEz/kbRKyx9a0PnS5uPQ2864bQ5LgRFSf8eZGyjo6mdklxwFL/QYNTZRP4fSyF55I7mQXzG+gL+J4+cDa+o3nNZNXO3E5JVJqOSZ04ecS7sLjid1T6jEd0h/l0rMh+Gb3eJFqkrI7j3K8Pg2F3G36rvgf6NiMLmsCjY1rtTi/AXMNWurTDQ2MhGTOSHGOb3Myp6/gD16ZkRXKk0omkZGI8Lp77I3DJ4smeWlTlzhgn4uPPb3tBwuQITpsfsNwbEafpQ9lnUXV+HDRCPEEqT0NY9F6dttyaGyaAhCXxTk6paXs1Jf9lGvPTuarkuKsfvYHkB6L6lIONZndsZ2eY61OHkQycyhvCtYoMWeZS6Ozs+soEBnmaT+pxGLsIO391fOoJ5Z7wvX9tRIn3cgyEBduxZxBtaevI5X0hLgpt+XM0ApaRLUcdbM6Y7mypKMzbo/rA+jF8HXcwmyUfDPLE9UCTUhciYHdtXVIp0sPIVzxgXUiDVrOvaYmFFHsZljMOp1iKTv9mcUeTORQ5pRTy4FJsI0f8wRvmPvPOniGAIq7ATWfwqF4pg7kEqW2wC3qUi15n3rIf/rTB4JEXUH8vR8Usrmp6n0CfJvgGotP5eZmDpUCxBa0mdweoDUNd1oqNL2Ows9wnJjvEPuL2/0yQk8OVH8uXv5oapw7VN4hbeKStrASuq+qvZXaZMkqVOMaBBFIDVjdUt5+e7j+PAikr0a7i2KYHaBLOyD0uX7tEdvrHvtwiEEI99sceaaQqfTSguffUYoNZnCVMnl5SV0kIWoZzZ+GNnNEGGIfKR3XZX1bEIyjYrv2WWqWdhjtiHqLnCQD2UJ+4uzErKcNFDmkHqx9v86+eN0U9M7EdIxqukqAAonvWt1/rvQSCYLFzoWjkoP44BS12Hjg0AwPIdCN4FKQsTewrmzEXce+B5fFAMdLRzZObPDsgeB82yKMFMcMEoYbC4aROP7Eup6q9UEuSd/7/BSivzAITYUP/AZccA9GyWQP6voqAwJ7jROuBZrB5twktuTJu92UWnYZLoF8quy0p8B/mKl6TcInZPgcnhYvWNoioPNJEAw7mw8xCKRe6jjUpiAh1wUspLQCFpTGvGTyXFtlQ29Avq96GMnGfoNxdEar+Cu0eb/DuQ9W8Mn5fv+sy4HFSkeW1YDVlWM8iMPfCF4ETtOgjt9RX9hVcjJibqU/uk5toPDoxDERp/5J+KbtTV94AAxJ1GsULISqPDONC2t/+DaobsLXRH4JtdC1MSBUTC4FzWZ+BdOhefDemO6lgTbmCWTb/A0mNFpA4kU1ibuv/pSssILP0dV8dSGdZz7kHfTHMN4sPXE/nuakxg+D8onjv695W7Hy3dgIl2KQnuw+We7jsTpg7Ru5dGxu7+Vl1lbRvaTXnxbfRjxOCSNVrKYWZ+0RLy4vGFQDlqnpMm/Mpqlv5eBVnXDutszJ3C7Cofs3/oWjzw1R0kFCPeNrGNIMMqoAxzmij8HxiAu8PMExbG81QpbFTodpjQO8deNcsxNwfbPt1CmMrUJEWX/o/T+RlXFX1kiM3tpEFq3PFeVMJ+RUiqf0Qe9g5MkD3SOBUVULHNeApxpR+1ik4Q7ZCEnoi+vTHL16/kEFzVUE/yaxdyBqUItz+dpt/1d1Trf1JPXpTItFF4Dy69HTxyd2RJGDeTtfG1AyIes8Pz2ychjdN2ytvnMVRxUBrNZZ3YgyX3p2kFnQHFvSRJR2e6TnGFE3389TfHBXbkFyR8gOXSg+ttOB6zK9Oqt3aPSbJ/g3F6u6KIr4x0BqXilIzeiZj8DSd3VJE0V17pbeGKcHkpIgYjzJZeL9xuSYgZ0dyvys5X+tf88Py8J1bJUBRLDCOf5H0LHUiSxY5I20W5FrwlezZAEtUaJk4QhIingCNxVwY1mZxst2uhqaGSVu8rvUVT1urzqok/ba5Lc0/jjXx6xjl3ApKm5tQ3zL+Q5cNSQd/2jU16ebWBQfQyzkr9VdQYb96wuRyazTVAlsMfpOq0WRuFJS8sl2ytSMdQicttC31vt6IrCVOxjiLMpQl2el1/C0zTjGukM8uCjFUorY1obSB0N3l61h6t6o8iopxyQU1GyCxGjqZWIileQCprlKTfdGrb1CEbg/daRPMlfXWYkT9OxG9XWCXx3v0qc5Sr+MM6T9fIkKFptajQt+k/nXOsOw9t/ukFdk1IooiZ0ILmJEP/gu9L0qxeCHCD6nuX6OV+pvtMZzifSxpfKcrMJsR7NdP/AuCxbkwV/TdjwRKJ3b6Nc09ApHr4S4d7BZ4Ck/Vf1+MjHHC7uP41cqxI81TLJMqLmnSNJvrvsPn54gPkX8blTzzZEEbS85p9EY0DQjYppiXxp+wFK9naQgX0kRKscQOUsYKsLV9DwF0gJoPN7dQV/KoYLGuVjWYPEX0MNg2ZUmpYjrkTFc3NjhnVwr2rTup+1kadiPpNL9a7B/qoAe13xMzLBsCjIpekcWr78dWXjs3S9M82qr1tXGNE9m4q681zjKYnrY4T/rml9uBJXaD0Q9p5eeN89Azt+KCJaZ4XmSLmB6nVlbuxgKHxDoQpequJLuNBRiySyHBf6WLKHS7b1gD72KYff5gGippLAkRuOj0Cf3mM9yIZnaRaOdj4GiXoHXEjbnhUSF6Zgu9iqnW3rWx5aETW42q7+LiP6GZGQJ09gdxHHQ4LOQm74S7CbpuwCh1E3Lny1k3XHVozDN/F9gB3WPgFJLxtsG3ym31wfe07+o3yQ20NM3YFozsYIidNrEnYS58eRR1AySID7K6gdxqVHETndU37QMCgcIYy8XP3tl46OZ0MuFeFWeeCgXzPA5ug6d6gKH18Az/RQ3X933KBzb3LD5hwr7HPJr8bePY7uwj6pwMehXnipKAVw2OAwZtCaWjQtcaUN7jWPkws/78s8QWFFPILf4vAuCu4QyhNvimgbOTgh+NiCLe16y6iM5KrCsP/tGySM6toDSJMq5dIIrpRwfyANYodXsihW7bQ3DUxtcoNZG6MR/BodNNY1d5aAImhSnQpichrlbMzqs74j8k1xY3harlWGjDnO9rVbwuZTyZCTR/a1p90XrM99GiZ7DYuBStF+EZa13jID1r81HUDYxS2Sg8Ng1qKKTStLilc1v3+NjVDjB38o6+rNNIEGAc7oTyLRt7cFaqA1q3sL1r/cxMTN76/NpOCKRxVc+juDrbye+9qTtiiPc4/T4u0kRZzH/vo0AlX0//mY7ZMUt5Z4qAD8gXsnjyB1eJjYI8+FCuat/ZDM4V52PH6wQJhwqt/6yeZUwJJ6kTxBL9Wgg5++hTehgbGdJ2xervmI5aEth6XMXRRtc4wdtMcQlgFqa+r+yuLMJjlI/+b0LS6XJOw/9+FRN9oy5G/6ZvaNhDVBjckiUCoclPTTIQVkCtLuYurI7Pl8+344W0gc8lZXu9j0He5POnA8rY0p3IuxQ2fbzr/3lJhfwOLAzCRhdO/1Dc8cfNOEq/1yAWtusHEEFvCFbYMjkAY9Z/BXitublZfbi1nVHBmz8lMKfmnPsPZHwgk/DKNwrOaE3sEMiPnOjcFv6nPWaK3NCqNF+qfYYLbTwngbCiOkNvIMRsKfONTe59cYWY9P1uUXueSVGMiOz1ioR2CMBsKdz58fdN/kte/U52Ttm9hIvqGdicU6lLDaACQ0YDEX/Kb//srjZu89xPVzYs8c3DW/Skz+yRtAZsjkGnPvBmvVy9K9mYkOPfLsQcc2VHokb9dW6yz6n5Mhi5jMbt7a90hRTRNME0CQgh22vFRZB1HvuTVQ4foOR3LwrldFPrT1i5y3R64q16+f93PsxtUDJcOCjQiFoBIK1h8ioBCm0nLjf0ZrTYApm7x4gLOIbO5jraZM9HME+8HsxPa7JdtRmBBBKnu6oxvycz35BOPndvvRjTPEtEH+IvBbzpODhfFxYOvPB91MLp7NAttrIx3utfb8rcXSWo1Tvxeyr2u8uqvXvznrC1FZWppsPS1F2Sh7FrbXy5mGALY1HZYySg2Ylpq74Z3Ux+ZbYJkTtO7GoUZJTwOPjIspef6xUwQPxRqEFLqNEwhYJyDcMGyvj/CCCptfjBytH7f6PPnmjGDjMIJV53WcRF3rgfZkXPVS5F5JYrH/o135TPBv0nLCC3uzrG3qL730XzwvPv2lTTvvqJ3qLyVdEroeh6ZcmPoT6FKeeMYMwZVceLf5hPUzF3m7SJY/DP6qQVicE1PT6ePLG0ikWXXpB90uOV7YO4LaTIF+zKBIYnPCSCjt/FY1wb325PSpFERJZDYppjCN4PjOy8gB1eVWE/+SVkSg57XCHfZEn4OTGcNrjLi42QRugK6baUY91LJBQcDcbQPL/iVjW8ANd7bXDaLesicoPa4lRQgrLmEOlSWtcJPUXNpTxwqSURsxsKOmEwt0HoyU9qDFuR+0+gp7sbBMOUte4Lc6zDXrhUvXoQuuuCAWOZJHjpvMOXhKK2lm3XiH/TImDpekg4C+RfrH65Kvi6YBZFMu5gPaBj1kGsFDGjwFNriSY+IlLu9bFTl8/eSOzEj12HTscesJSZA1UpUoJJmcXY3J1Fz9WQbJglqtZUcRdStfk6ww62iv5kPOHeN+SX0j0NG0ALoiJGRmfHRsCRI0g04ojcDzIt/dUc1blPZ5UR/zczcKzs3baCceaLbh7z9sFv7Bod4xKd5AaJUoUuRomd7GRWC5nlXRaoBa+GqjrCjKKFQRSGXf1gLerl1vksX8kdf9uGj75y2rMOPZ1ILejbYVFGBTxopJfSzJGNtI3nBNGO3ES/LzjxGHESREFX+/QTnxHcJbtlCdkgumV1PcW8qkyjImqhSmwkn5uC3pUT4I4KbyRHNNVAwDVrCmaLYpOqy4+0bVmWuxsHjoEbVN5JgSr4fr2Zx2pHR2pJbOzMkcvZYYp4Dxsr7+EbmuZNsiD7RU7x2GYLuE0sQe6mSM5M+zeqUSi75AYo3al4mbgLWaJi3EDRWr4xHU8jhwzWT+Q4D3FoCCpN5OU6L+gTer8LfCjQLgZqP81Cd2qPz/lH1yCr3ATHfJ6BLO2Mm4QdPhhfY6jDOAsAIiK63yXWTdpEUr9UutzguPcRvca3K3ns93W1Og8ITL+J3BdjIaGwxbxYZcf82Aw/awY9Zzst3EomOZlSdm72T3o3drk9qcpOp7wCE3f+MEP/kLkHtGUR9NHppM2wpBBtycqWfb7pvSnxD8xk4SjiwVUm6xMOYk9OHM33LRffnoZ4H2VETMXst5/FDStBKI0yYyNscYqnKstUNzL2SzFWshVD7kxvxcbbKZShG07e3RoChTnislpjMCzih7PwZwstKm4pTq4glkrVRz4geFFiUqJrojlxts/n283sQkeENlrrB8rqRHpyWsUHwU/fzvmXjwWzgawVrZrwc5jXe4wdAUz6vQg9taYxyw5ozjfissDcwH0kkqGPVFYUHu9BICCBIrJWJ37JdcOskcMb1A9ve7n7gJOsdYKVOH6vvhNTNu1qD6VsZJmavh51sSiklIcGby25H7XTg1yODLQLJFtDUOHUZS+3AodVTJmwrBKifr5NeKMJ2B8gSKPC1WE4+O+2ZIKX6PUa5npsJT/MVjDtn7zVo20nGJ7tjUbgyc6DAE1f/GG6nrwrtLAMCwS0Wk9jKjAympp3YKUU+6u4bgPsSOFOrLZYb1JrHHDphLBdhQOEmKb9GcYrrXUFYTVU2n+sfQdJYWy3y/OQesDoxchSuXKnsWmbEgiNbcTJ/ovzisPORR9aeJNIP+euyYgjbekD/L793dB2hW1LrGFykA2cOkUgakFNJ1UgQ3lGgbRoSEwbRFyNeqQTkPrJoCaKk83XM/0z8jqiONX82lOtBPrFw15KGyaigbASkMdSrO28pSb0j9hS5DNPoVY5qF9Y3Ex/mjQ71Ypw6v2ZZvjDgWLKpS9ZswkRiEj7Qr40u969thbQa/dTouZpse7Wotwd48kWbQnnZamfbffI1LVv/YrYWe9CPDSheUXs5gUl4gOL0/tftmUnLyxJZpB2C6bSUtU4aPM7W+GQ9MsUQIclF5ZgYfJLj71TJvwYBCncUMrgAGk80GFT18YcIrUqBdabpytunUWV8ioORfTW1mMXgxjOlqXxi1ALhCYmPS4ffwML1GBKInBrZUn4Ec+57UvzbKdNjf5u9jBT/g8D8IVbJt0xBUq++XD5uT0rQK0967Hva51Z8PLUZFqsDqZ7UuyNyeziYv6xbEKWt7bisem6eW9XN+dCGbCGtRGzAOuVBcEbV1a/gEFTy5+TP4z9bE5QfTpXbilIAPthDEgcVxIfJLwsbeQi0rNz8dTeRhm3HZFrxKL5KLDY3WnaIBpCIc/bbt8KsDKEQtsEH7FiFmtXtFMz04/xIsWw/+DpcTrQrEZVL6qIl2Ak578ur0Otz7ulQhGj9dS2K29aUaTHSxQ5uzIPfdBLsKQ0e+nZQ8V5UsMGqwBm/orN+s9lCiomnKtJ6spe3vw4aeoL0OZdEp/swCxO/CFmO5nxr3bfPtEn+4WPtN8X6YXGs7aZ+zokimvSV4hvEp3byiE7JggKvjAMFW4mgJZtCIL38qGs8BGXtKqoIB2qJZ6C+GyMlC0rXA0c6sXGTrQtov7Qfjs0iTi407lcpqzEAiSw03FyCAD+5g0PhjZ7caUT2wI+xKMqMFBYUzQusoj5rYzVj4biZXRGoShHQQQchqFO6IyMlq3NE82HkJ5QhRM1NxLu6IIxmwyJRMEyD2g4hsu2me+AewuLBt3kn9oJgtuVzcydLcSb1IQwc+hl69w++NkkkZ7noBzSZy7ZRLoKi7mZ1W4xJRoXQzbexoToKgPimPbk1h3IDpatlxFDN2yO6vIFH59rXfTsXvZ9o+rO4J3aLCpxMgy0WbB1u4zemZqjFl2fqYYr5VrinHI8jJOhGT5pBgTiLOjBP2W4Sy6pgwR58dbSk9TgAB2Khm1yhT6X34pe2d5qa0RJtb5iUjS1yGOI7eoYQGk7La52g1BtldLKMrOVgqD1IC5xsDQixudf+vezZrXs8yYVvGlsU7lA21xm6Oqt+OnJnu+Ht43S8dQwwbTyjEoc7nP8i9E8y4rmhhX20c3wwG2UaE1Iio7uU+dFV3+7a+5G0Bl9rIQS1rTWGCzk/uKSjY6WQ9L7opwgDvsv9K4/TZ7XalRBSMJ0i1aCo9qA/wzdnllTxIlIvb8U3Hpd6lppN+7SE0ZuC+6/VooAxOCcWp49bFMtHyG9Kh+TqE2PUNmv4Jddf+GQNTPMD1dUXgykrPLS0GFaqO8Y2pTv2UWkUGBAKGE+IiqSRQHZ+1Z3E+kLzGHT5JWr6AL1PbNcs4ZAiIdaVGeo2XVOfYnNOVrtHZISOqPwT2T5Pi1DT5KuuVsanQMKajMLeeQeCA0fKYSJ6vsKi3yq0MfawX/sIxE0ik+RG6NnYIwIsE9wwqA6tQ0fVSIqf/iE2JUggje40XVJ4GhjG7LLNM/+8pBc89tEuGt1aRXRHNT7AJLidyhY/f8lzo8vhAFIf/0IxY52PKxLyein4DuslP9crCq7c1GaG9PYFrY7sAhCMoYZ6KByGSmfSXWSSHOAKbs0FY2orIqY1AER8NxHsksByQG8FsOkhhRnoODes90UgWWxJLwzTqMnIrgfL4SbVZ2hna5oPC4AbyCPJ/7slYCXzcSpiOtPYlP/aMiyEOlXt0JMI4BrK3sAPc1DHFVR4JxvtrvSiqk2XgeZxc1CrHXncTrJKO1ZBYYBJwuOn9SoSWyCzegraS5fs7YwGtHqfDumc+CRyxEpr5IaBj45OpwNL6/y2c6jvwpNqFQ2QRx20xQ6hX6rPnu8lHE2/vZYsmMlWEymVhF7z+iabWO0843b2On4tGQmVPSw6K2xpiLP8XGVmZo9He1/DaSiqQ7CK57nIyX+d4Oh9CzUpsNJx3oyqL0UmuRBaarJe0cavrDEStXm7mG48BiI7w7ed5IetRZCtdyWh/nBK2bxN9vZNgvuLLyHDf7tFYF1wHUO9t/0uNpNPkdHuSV5BBTq+tdfuAJjy9DiNNUuJcLenKV9CQIJlKsqllS4MBTPIPUj/fz0K8AnvW0b3Yqf0bdMClZwUXmLyi6+divRJj9U+6sixwWqWpDVl/85pgqpFuU9dPmV2f1y429FctHn/S7J0tILVpG9yDv/iaxRGkPXisdV9WzKsKE7aZNcKp8U6XtW5qnLwDurdzAmQVJFwaa4P3AYzq+CJV3YV0HY4Ebu6vrXK2QocEFRh9iYgzwI0AlLAiMDYw9s7nnHdXV5y05ZYHVTwDjT5/bwHzl3zCOnRJm0A4Pqo1SpYAiX5LltIRrDR5NwJa3EwC4U1CtddXrFzRlKbAtEo471Gz6sTEP1Mz6YggiaUgIN6OO4hf9Kx41rgWOyrP/2P9vQ2w1x9C7x5CIrasVMvccyLMlgVH3+VWBbjP8An+Zo3Wv3BXaYgAD/l0NqVfUJ+MEQHkdQwtUUDvHkDq5lsZzSM72iS/7/MLG3c0SklBsj/oAdWAHh/2witUT+hQ5TSQo5D5YZqZwQIBge4cPOYXnuMS1JlHxfSqdhU7H+kUbaO6sZ3ru3FIl2QtyaDC2bgfZT6SxMx+PaMVVJY+4zeGFq3J6Jzzc3qIkqX705lClLp4JFmb59wivNd8vVD+LDU1AGnHTXIYNAkdbpMAmBbhba33lW3viWVqdJdl/oLnx6R8HnxmrohQxMYAkTofS68KbjjiTdVF4xubrvU7+2d6i2B/ODmKWZHQsHG0dPAy6G/xO3wc6ruIsQw8VwvCz3yps9vrLsr+mQS39QoJRrE/e2wshhyZMSTKV0Z5+DPXBao1zKXNUuVSK85cRQzjBgNAOTkQeXDwVi68+SNLEi28nvThTvmBcEO0dbjioHVTF3vhpHm4I9KvYqAeiLnhgfNhexdZJ2JAQTmc6cD21/74w7MdFlp843AY6nX9Hu+Kdqy0gZ9XVe4tvvMpd1Qb8/tZ+fWwShZf5RLRyJ8f29KYYBuO+RQyRU2MJGnLniJHKoWJIyNZaQE1VxPnlvZR20zHWYd4kH5IOjf4z7t0rRfC3r8hFijZxX0WcoIpcnc9ETKH9KOJYGMAhul+LOANbDy3Kb/YqNWRoydRWvjLybw2NWFA9lo+m7fmDiu+mgUGKr4YIebaPRXxP0vMES1QepwS2Yd1eM47U7uAxGVLzVHPq0hwmunMxAKejVzNfT1gmVaVqh5MDtxGJPAhM2CDVL+wvoE73Nvu6KwmwMswpEKQ0rdove14iYZEtpikPWEMtd7kEMgykPQejkL7DX142PzQ02jKPIkFV44P0PctZ3AAXm+xxGtWuGNI2kFxRYnkUeP+DN6HJb4VCjVD3bR3ef5Y8hMGKBpJnFL0ucOBl+PzHDTpBRuG9NWWDLuZxujq6EYy35wEAT8Qt95qB+osqMRTkuR0GFXueT6VKTOvjN/cwjRA5Sny94dGDmAykUbfxjdPKr4doU9z8iRZfaSTANQceV51vA/Ot9BqO7GYaEv5L3CXpIWg1yrVXJ+o7JRO60vqrCzZaRqRbZXOyvC1V8mOBsx0oun+8rYLlXhcM+SZl8LVQOjt/qyhhBBTWUTYVn3rvlkE1mOf9tw4MMqgfgGEQtK3ngnm8I50KKdPk+h0ak0AZ7G4Dt/TB3u8plCfhr0Y5tVogts1dmJtUspbgJoiIPCeBFLyp1GshOW/q8pGQUgx+hAiQjUhFLRzPrRFY2iTiQo9SSbQIhbWcKSrWAeILmFmLhIgl7dEnyDPc5ST6HCA5Gbq8psHFRmuaxXRP/h/RkU9Xge9h6/S1xEe2XnqoXriHdOIJvc3AEa+Gx4G+8//UbOGw+Lgj3yZy8H34Qz8vI83ZMtOAftNskCX9F26Xw3nYZgXhnw6IK2iZkHdNoAzDCNr+Y7TzzYPBrimuIWSe60sfLRJBDGUEDZjRw2rVfF9PIl8gSY0bgEMxVmD1eZ8sCvw0SWwlvlq4fXUfRXTBvw5UHJ+MPcio8bsM7obSWxOtx4Yg58rxhNaa6RU8lyKq4vvKuM8nHwsG8KrlhuvaePnnQCWzxgRYqgs13WxSCOYy8usQAfWrdVSs1bfnmRof2xwZtk7G/UJTt0dAzxrg+yDQRAF75QuFX0h5+SfeG2RB8uoEiUBqOXlq9tAzx4wvqbKudxHpDAwdURlX+SuI9EWTgmM6VVi9tP1idgvx2ONKSu1WXP5gkaBqEwh3WnpOGElGsM9RGoESqa6uRKI1hz4jVpCPol5TCNl8GS+c9Q3txwMmTMdJTlG4Gp5hr89nXXwPgYJPqwGvdtec9UMjQw5hdeIZ5uIchk0R4cnL0e/rZ6LppbCEG8EIeJjMbQ/7X8GAxK6oETNJfzq+1DsQ5fqkH3VojreLYMOVKqpIPboutJmZNzLZkxa3Ic1JaxUUxisiiMLtlMv7eS5RTuyf7AgAwHphnZrUE795cbEBm1krMkCUJfHXmmJjJpOGBgbd/Pd5K/1Y09jvpMjcMR/OATwrzidt6Ei+bK+cGHu5Gg7CabxzaqXSYgAmt0t0rkit0QDkNtuW3NZa/Htfd8Lk2z9VFny5JJHlRivYfD3GZH1IS0FuRX+U+k8CbUBXBwdqYzO7ALNxzFPIjnE/qxNtgYA8PxOnRHhzI/5IQjlTidgeXgPWklvKw+xQhMgxPzy3K0Lk2dIIj/HFHo6WYnSUBAHNGZ4HKGZCkQVL7Hlr6TCd5HfT+muuYkOyBntTIs+6VTncYyThPIC6WOgIPC2Kb1ULl+527VwhmgIY//sklkxpDpG49FcUmE5K/N0boXyz8hkk/XbuO+i1JEftzuDCwKLJFklf6YUty4/uBfDEoYmCipSpEoCaJlHyL5VQHNqm42DNJR/HrEvsNQQ+YkbbFmEdROdzLmgtJdWi+4RDCvEfEGwKCb8f9Wouh1XFRPovnC15+xy71IHdyFNAGtVZZtRdmomtbx4OWvzhHyxOMs4cXlJH5ldNvG/6edcMjCOFDhvUhnf/WX18vQ/UhSC+vsuM6ht2Sgocn94tj5zpUBA8nu8xCDRk9DEcqt2BI9QBuLug4h9756Qf0RnOLArMcrRhdbpuBMxH/C4iJ5PMPHq8jLBAotUKt0p+QpkBxC2oez+7ihVEmGTUvuFIOEsN+PneZ8uION2CoDEuOhfmP69axdO4icunBxLlsn+mO6HR3s4ZMtLfOEvJFgNrwoodQw5c9u7UyjtaHKcuE4g+nv7W6TdbOesaWJJAhq5hrMLdT/HkEZIJak/QecbnsqIJOBhrrVfqNdOXdisX+zwR4aoWbL9UZNJT2TZrRhpSiyf3XBqokPrbIeD7IRysTXcl4sFfjrCgLBnmMHyRNVx71qofmrBdQiYOiT6Xqm9gkiAi94zPazhnip6DmJvnGbtuIN/NmSXfZA1JA30ZR6B9csh2GM2VZhGZk1nDDO+Df1rXr8pgXi+dgE3CAvea9KsTsUnMJrwN+g9Xw9/AuA2D3E3VjC3kbYoQ9HPerm+uVBal1wuPW/kPocCUPikAs4gRzedmGYxFUe9rjL6+q5hutiJf8B8c3PsO01W6csIGdzlO7EJrd8R519X9vE5BemT6JId2DtBVOgNgdz3aPX14gT0MQtF+VPNWEp73tvB9A3n0xhVnWZydm/JHxJyuCCrVBNQsT2gKCLL2GGNDJ4vVl/TPddHW5grYx2Ejp9fQwQzmXVyj0YKdTvL5bXYM9NLXjfLnICKl3MS4Q4s3VzRT+suCAjYrTosD3Sp1j8yP0k0IaUfhhJ4p07evsSk0dzth4Y/JeAXNT5QL7fL5zQcinKOZmcrzjZdSN7C3tDR3WyYItG9ihj95MjdS1poMa3UdFYGB3JQ7wdo7snwcREtnV/WIONctjgTk9lnR6GJzOI9sGAISCcvbP7kzy24jan0bwWka+7EsNO41FtCFnhwx1O47OpbWQEx8fh858QhdA2W8gKuI5v/2YQD5DiZ2kxX90BFnsC+uEmffgKGcLGqhmTW847aBZpPNf+oGYLbouABS2AXAAbHYnJZWrVyPkIMZBeSVu6OfpC0Ns+LqlrWAa4ATsRlO96QybQcxZXGs4xKirdAitDBrpzuG+NryAwKLLixszg0sVrPnaRV63B3fmmzLG3Y8UpU6S3VjRiUB75lYjw3Sy8H7UQx6nGT3nxh6CVw10et8buEBMrgBTm7YTuZno9TsEcti5URfLO0wqL1pIAuhHxO3DHxOjixr5tUYy5NKarzOnfmgUt2HVUID5H8rv/AR89r7MooCOG6CPmyZt/Cvt8JN9VJbIL5W7kgBTC7wQyL0xoGy21zajj6652kQvwkCrB/3XvXhjBKvDVS+PScfziZKRjAGmTdo/DTewjOGprnPXT79CX3mbMBCln8IoKQ/5LQy4zMK132OfjYdMRTNhxrsqhyiHx7oD389YPSrR53EWFWMH5eQeB8EjJXcB2ECruGRpxBqwUqxuAz4fBpvMj2vp1xv4CQp7LU7Zc3KzIaapwnznVu62Oc+xaDwJuwsF/FMTPqQIxlNarZ9Mpw/c+pXd21YWKG8KqVGqv/VSZkA/Te/LgM/AoLRIgavr+n8ZO4oXr/MXk+7l5Bqjhul5RRErPIVyjp2Z7XjTUomIhGaNgFu23OqQhM7moRtO5cz7NWN+R1BtKhJmOa2HTeUrL+nkfXlrmZp2zxmBojmMZAP4rk0dEXbrbXkaBHVzKXoPzfBNfhDOsg/D9pZStOFOtPv5yWz8Fi/z7ngXxDf2vbeL5LYKTBvrfTcJwLtnYrRMhp+CDN9ZMvoyzTb6O9gDsw2sibJ12Fclm94rNpd/Vs7IELOXllJT38LGXa1mek1wKbioCHWyMWWzCF0xa4Pmw4Eonp2orRGRljFwbbF9tArH8bXr5yMkUFhvncwAZ6GDdHOSMu7PeGDPo/7EQWmSyrTQ5oyt4C3CK7mCOhcxcdWi3EwlwJYPDLyeDvNzCs5pert7i0+UpHRQTt/jZcpmheP1i3bGUW20NzoO37u/vpaiCkB/FKm8NE1bRnL4okpgHYt28KWTWgILTwtESwHTntvA0SjVS8Va0PN6ElyvZcY+l4L62dSmjWCDlnkaWprb89O0IRlCGe8/5BJ7ld+HBOyAS/EyLnGJ02evOPN8zGopDIYXiCuW/hzH3PkFv5SmxUoUK/2js/lLJ4cZtAcryTVHZMglXmwS6HSa0BHOR03Z4JxOQmdKAYVuabQbHif5oJ7a6szUHp4XnIyWvaZEq5lSnmxXPQ2vwcUvZAic+Rs0uNeKa9IP82jZsjY4Fu+P8tO7Mlj57//62TUypDKnap9jFK67WEaQZGdJd9dIt3JoPIDjqTVnBtIPCuwsuh0os+gJexqGz+nfBiwmZvr9sgK98wEnO6As/VKCVLRScK/Wd4QG6jrxMbxnu4WS7smRN4TsHN/7sII6kPRWe/nV8DirceMvTKcOt1SEpx4LomZ6oJvwey6zlvN626gvlMZ0c6cs35JtHRoGtMhZqOKeUKiueP18ZDATPP3YS/FVVppqaON8zO6sIxjbqdhqzuFA6MUNw3+rgcUTVX59jfTqvaRNfG6zHE7qOI+n5xAesmoBazTGeSUTE+wlIefkIufXXpEpPkBK1ewjcCElxw2be8EP2x6xaWQcRS7ww95DUB1KGNRDyIX6+a2mzU1ZLDb9H5qq4fYvqrWdHS19nKSCvVM4CJkcCMhUd0hjhkYZy/8MHgFkgDcaDOyPYMF9udUCt39iQ99vcPLONDxBt0Y4T1pKcEqajC48eq62Y6Svry+SUSzHO8wHae7WN3KM8ygmF9FLW1sOwdAawcOi6rm4WyljqEcmkVIcrbt0c7t30cv6+ldWBcm8J9T5mMxGj8aH5KSp37bvEDUtCr6lEp7JnExVowBzkFIg5XuL89h9mClIbrRpsxeUmKcDmDKPrgv5XSPJkvgimHpPECeTJpILQqCyo6VsUxUwNNpl/pdukfdXPn7REbWESrCHL2UN5ibaNv/b+/VzbGy+DO707301QsJoSEFY28VkvGXLt1MDyS432r4JlFV3kaa3OXOLCC6U48NvnwzQUUVVM69Sy+qIraKK3gZuI2Ccj+AOVq/W9rCbK6Z0iJ7/rDyslBPE/XBwTE9nyn3p8B2NZwnGzqQAKm+LCvwM3KkdKcZD6GIcmHp2aE40+M3/aLKbWqicFWQUpGn4rdfdiOWzA5dpON8BB728Vv/rWT6+Ow494XKLN4IYfdQH89lp4jWsdjzh9KyYYWl3HfvxI1IBIIEIDQBqAyQN9/vd4AMBuz/FeLvbRGK8FwHkPWNCfvVhmflfsNZYtytP4/BSiZl6xA38Rr31YFhuno5bZiGbEJCbWyNYV53Zyljbg5PpBUDrcmFPrOyCQ83sYspNT82FLOrShX1n/U78SeVGB1AVxGSajpdMLAs8rrWfvy+Aj9CR2DQ5rJkD4EaRoJv6COfu3Bab8okhKRmRRaBU+bNHeOVyZGDQ78PeO92bHGBb02Ntug2fEcsCSch4TrjgSrAGijizRn0YsYj+BlXHFsbJJdLhySSDCXENDLG1iTw/gNPtb1rkprkolEdNPczn+qSLEsqM4CERaZzquUtEW1w9UBRTJrflMbSWwGRlot0bQdzqHxRnpOUvvSZ88ddgjhCxHoQpN+eqoARCFfTUlM4fbk4tEvwuqkBVJCbCInDKqxiY8YMwJwhnXqb6CnQ4Gu3wi3TEXxxpf1/mfEpSOBRsIKJ/XwUtuDv93SE5BzDxImaZE0pu7sqdCTSXLiz+FXTAh+RvOCMlPBIt+7yS/7YOtmzf1FVEmforZ3yb9adtyUjvrb8gSKjiWTykZvWFbo3IwRD7fnYe3TUma5JyLTL1eP42Cyxs5An5oYGo/2R6+nSgT2x/D+TQkmn4hu4jxdTUVHdrJTTuOwAgVgzvUeRSgpbLLU7jpr+NEdWWvzQ5Y5rP31zEWmKaBoZCOj09wDNQZcTfJt3GDWhxOH4a3SN1u02zy2p3juZTwYh2ZmCuG8WFYyC1To51aUcBrmqHf1Vl0IDw6Xmgosl4YbAuJ0hw+pFh1G1zPcY9NaTZYkym+FEV6C4dSPbAvpxWjEgW0HtKTr+Ylmy/yFIE5Beg6s/QJy17QDcQR2QNh6UzZnwoJedWOyTGWpbEKHZfyWvPX/b9di3l+tT1IIkwaP8WFzQMYis/TCwyUXUSgF612oujPX1ZvEPltT55ygKWy6SOTkZ3hE4vsuL8Fz6cEJDAWrr7JrAulfA3t0c/OKs92EthFAED55WhGbNow45sh9HKzcL9yaU0cIEZ1c7jY3fRvj/rlwLOfE6CnqkCmrX9iPwX4AbOkr5i6dSWXhaHLHCQZp+p8xD1w3cymKLmSKGC9349zPol5K9xtTk2RX77JInv11dCZpSGKO0NNy+7v0LS+yv3Qi5kvafM3X1a+bIeS4JJH+D/DZwJIRIeaR70JV38hjPLpJqCUvBoxZf8CH5YKgnBCoRcS6k/wDCtsyWsK6af1/aWcMPuTXfxbtEQ8739yBpo3kOnYDZxBzV/fOEiAH+zXS9Kl6G0ZF6FmvAZJ2bVFQXvUN6qo/iDSngHKikC23OiNH2D7kTAy2xAxZE7LQWSX8QQiG3MuMqNthjlTkAal6BslbKUtqVsJpkGoH4l9dT3BTcSYl5hdU4LaXO3j3kZhRGHH5nWojPxIZlJFjn+h0TU+mETQ0kh04rShTyEcNbqH0RSNbkz9zY/Tdo4HbEQwlo8uwpVougkOe216j75jZNBjOzJwVi/4clYnYH4bzEu2a+wwf5Pua+HJC7Vs+F4nCtyf4omICTUTu6xrvdm/BiM5yKQuVwsHT++Gtu1hOqTGu65in7ADh6cO7yQpqn91z4+1DCStUsoo/DkA+KC/z0y1e6HpdK1KmQbpJNUVxqt4gWUr5v1QLi0ryw7s2LP4AM0LvCpd8kuPoGSulQtySP6BdiEmXgg9AdGpJKeeSzIr8V40nnckJf9+iMx+bht/VLiHr0vXq1FdoOmeKTIb4FK/VzwUfcSLal2bEywhLtlSqnd4fHK68qcZHyco3yYMiydMWexCgNTV8q0TPbGepk+UnImxt/KDBM9ObE8xHuNfutCQwlpLTx7sGqZ1qJAWwNgSrvj6M/7fsRIVuHPbx/2GMuXrNGBxNn821ytGilCY37Bz0+Y3AtFZ7jEbI/SGcjxF/Q0AzulEpqNvhjRsSkhJrq8Cb5PXLRyt7H/Vq7ZBiOn2oi4QeX3tyF5qvO8lv+4Q6+l9aR+XFdKg7fFeWIyAOjhq3jVAvtsIc+Q7nFq4mk6QRQnXqlbAufMqcxmkjsCgdZcRZl1jX9FfCi0bTm8tqMGVDKVcXXhvWSztspW/gZ2iXMrvsqnikaWVsg3KzklMboB/b6pYvVrDC9XmO+iNxbCqig/ekb3jDLsGeE8Bt6KmLwPhxG6b2DVNE+ePLgWEwuQx6Kgq+8YokdMDmOSaM7hpiG4ejYGbJI7qc2BGvX+VlhccR8XI+yJJXxNO8uyj4F6rfTSJbb9vsPt+WXfFxKX4oaFPieuY5YcvIRWGBFBuvkIjeZb12mRskxsRsgAFAiLrUzMsLrlQ3AB/oGOgaCGZFMZG2TwVp0MMVtLHPmCgE1BOLTN3iHIxJFUb/r2JPrhikN6PuXxJLML3xwPaJgdm7XJ7CWfPib72NcpGJFsUBZ+esWqQ2Bs/nXlDNgiqrXgSnstRXgBCI+g8awz4ajrainDsDeJ2/XidzOP9Qrkk9PFm2OcWpY4NEnmugcux56H4iP2ZyYiOgn0OGTI5C37sNnH6fh5k/YNCSJr29uubKWMR3qPQphF7S0J/Bkt6w9pqgHvvZYmDBo0o9UHnK2oNPaVjx+/4hfgT4AKdPTScjzXrLY9jsntpa7w3MAD27faMF2HcCUCi37I+OPRCvkT1NUoDnNeVlt91n9ScEjF9k5mwmD/2ccsqRGlCyTEyAgYs6H7+wzIyY4XrYLOdOmWpP6We1vshjQvXv4+uKm5nzs3VT3W8fAYnavHUcSCoZLlJnLleoNHIzGJYI+PL/OfXL4mAH7ywamZz6714P0evB3cidYtNFsoakYLDREeI7Ga2MEaMsG0YjmVB+s7joRz0V2tzApOCSNExlCNpuj9SvxRhMpwhrHPa4LUj1jH3yhjW1rxGEPq8aQVd+JPRY4PlVB7wuMXRyR4MDzkXrmFBYtzZBJDTFAYVpGiEQGwEjdJu9h+H0Se7Rl7KJ2ZPdCe7VjY7KrQfrwXGx7/8Nl7EIMOnTzAUCHqXa8ss2f7K+jY6/5Lb9ox0C0rDc0xoY+WOjekzJjrAWt+Osrs30TDg6EdUybQWxUa2yQncUxk0PcCJUgqqGOl87H40h/odahCbOEgc/ou5VFYm2eQ3uf3XQcNfPJwqkRFMC9kXh0XeLm9IYK1+Pv3IYj18BT1RRHs46mmcjEtULJo2Gatpl0kpAMbVa4Ge+UJPRpDWe1QzQpAJdEpx18uqCUJfmSbtSRPiWr9js/jp1CxLTh1Z1koJVGAa+jJNes5Peerh0Qgn4sKtIlSWaQM4WkSgnfRvUj7OZsjNwV69NPLRsShprkZ6Dx9799ptsFx4zHDw4LR+HBY6dbcX9M+0HaV631o31i5FD06P0VxgKuWlQ2mDQDtiHJ2LEHwiG0QzaKmvk5D5OIav6Osl9z1mAssLkIf+Ovtz+BwZPv+iLQS3z3MxeHRZEPcJni59QHSHaWvD2wVc4E5MG0VC+yeBESXBYUGth3OgavWtrqqQJd9KBeSdXKA0KP/WiL9AOKdaUFNpv7Y/zm41HWQIlNaXusqq0bsuQLdeTP6kTigzV6P4p2sKdK0nSz855s7ndOSkvIMrZ83PKXJhpOIisHm6UOUb7zo3FnW2Mjc4IvO1kpozUySlt2R/5kq0TyEgRfEmyxcSS7aMfz73CAkGTpiSNlXrrW7YAE2pOfzwB2QXQvoiF+luvDUHmPAgwqYUxS1soKB1NZDVo6bzjIQGWBoezNnPb2x7yYmg8P4GLY9GYBY/HXWpnQ2pX1nSyT+PvnL6R5P9QvdKykbs3k5sFkIKOGoL6W9/mqKlUExa36rgUQlTyb6+Rr86CLUBV/z1OcsziP5z7BHsefmZj+a3SyqzbjmzyGgTTBMzbR7HO+kEOmsOw2C8vCcZ3QkCUzPu8vn8mQM8LAioUvESeEqXGaGF9mPizMDcdegoWSMjKc2KqaqCzw0Cx3VhbJT9Xdt3GwraT20295mhl7mIDeztdM0sXHxVGXl+cxkvYOEtYu1C4BuW8jpkd8zXQwzpNE3LhqgnIz7kpN+01qCFt9vfdyPnJMH9qTcR7Uo4WSZsBsvGOEfnhxoJ2IN0mkACQGgQ7+D+MhiqXfRUEj4/QhAK56u48lNG1wvtbPo0uHCpvMczN6ztbbvXwDjDCTTf5bAticl//PEbyDtKZPvG/xj2kNMQ2yjtCyO1Qd49QYVODBLj5dbTTsMYF4RxV0vcbhuRx7dVT+XjVpU034hxatMlpfJ9zkcUSvKdelOS12Wf5Et5vprfd/Oy4m1L7ow7r6W8iiQyT0H4CY7JMN0jf4gqaSfO/tw2tUOo/ZRkYvYk/Bnnv5XdFUwfmMTJ14CriJ8jJrmY3Qic6Za0QIwj1tcex3DvnqJT6/sTYrPjTAoY6edh6yG8zqF58KbVLcvkEf0+0SEBeL+l9aTI4N7tsf72v8njs3/oqvup3Z42NgdK42KMq58FSts0ToPcXizAmTtEZipOEdmNjxsBungaej4PPdnQRa4I1lKg8RHC/ajdYj6vbthRZT4EwlSM0nv/dUhVdNUSWj2MutbUktSYGPi1YcnCtMneB66YZ9fnpCEieY1QZM2jHmtZ1Av/KlBMOObuTDaP1Pv0vPq4sgugY9jd0ilX0u/JKqrHOTJZ/pscTESUpe+oAnVVyIC2fC2H5Hp4HnXWUYmymg9T1XOi9S3mhFBdcaAnuQwCp29AhfydLKZHPB8wZD6Oo88J8PJE5xdIfJkGW00k7A4TQwg8CGxBQCaoou89bXAYGq08P5fumFSIRStbm51bIKAOSLwpMFSo0YGGbVKBvX4UpFa+FRc5WcRjfrvvX2adAbgRvVBKq0pOR6N2ffrvsj9hHvdeg2yqtqYV+O9t6eYJ6BkYNpEDjKlLKOXf3Ugzg2aqP1Kv6jF5nELDunmiOm2J7bo2mqHElCEgGXTiQOFqd0QGy6vfAIkwLUX7hQm2+lXiNG1/LGUm9XVtyNug6k+FaEdxEiwCLxKM04jmq1No3m9ogJCcxuio8PbIn9mLl1zTajX20n/rxDYKNcKH7SBIYK7f5aN1Ie7vlhNNTKCTrursbwIWxbdnKqusi5rIL3Cnvg9DIni3H1Oi+O22gvjfK8N6kIvD0c3geNhItQoceVL1r0JYw9lZSr93MtMsyZxSHUPGw1DxnQF9Od9EYZQNlQnOGbfUjaA4xTdOLP6UBL3LpJWxnYUA2MRc5UyPHpx3UMWg9f+s/LxRGBSDQL1fnAXjwQHfq6FeUolp8aDEeLkx4nQA5shnk36Y3BSodsTiz00O8Xr0Y7ecdIgrKjTbeuvRfzL0Zo08WYZnKMfSXCy2vkvn+7RmroZrx/DOKh16AO0t3SJ0lqasqFjGyAd1Rb9JmMDTCutgFPrZUK1eHp+xQprgCxGrHowPlHU577/hwTqYsbvfTomm+5MFRg0uNBuGCFs7ctOJXrok6HkJWn/Lba6XTv5IEEUtaJo69L/iy5eIpaE5ltY3uDueBuTmyHlKhyo+FgFAaTO3HYrjyTFjFgakYwsAfECRKuJqmW0/zgN1piguzrZzFLFwymnLrxjCtqZUKCty4hAjMgaVIA5AVmP9uorPT9YCRf5rXAJJZfY2SlNsfHp2sxmu6csN7wRbFxPRsjPRzJhhovfOwQqUA8JRadAuamUkssstXfsmi7L8f+oaA+gM+qXZHkd9dpa9T2rIoxha9ksWTGHjxYJCb1BrhWWfdHJ7bO30yxTUM+pjUr6u7eA17VhzkpwmVT0y3Ml7rA7/kwYRLTfmy50R8fie4ZhIl6IIPRdKBUC3t3yEgKpUpbCPxh+a/58EkGQtWMG/c8efSAyX0pBTXWuL5JyeUuqrlnZt4rxuZMvYc6EEaxPH4W69lGFjH1Jxo1qe0CsxRdoGyR6vB3JldrK5mJKX4N8kQmDkZFAj6Z63w/uUtpD+sUee6IuRbChu1ECxk0d1Xqm6pac9rVh2sxBhDShbLGZ0q/BUNU7gPDN1z6Xoi74izvXrNGNYbX74AbyUHw41RZqh7XWIoYUs8ORyMZr/BGIyWPc+bcpz0jDQZirFKGveCmkXAvcgG4Zsp91MdJJ8+40Eo4wH99XBvoxDWvQflMfU8nnJNySgKBiruASCx4iut0Mn6Xbh2Y/Q2GwjwcA5DBLaWbYYEPyVTluNZuV8gr5m19X6LRr78gPhRHjEObyVUwrI2xEImND8wiMWR/qE1/YgFV7496ihjT9g29iX3vwMwzW3cTRVm4P2yYfYsGRT32IrFnP0TOtOTJFWTsgek6eX57V5ptk62QNwB7+DjabSZ7nKvtxfbUKZaKm6498H82GBuR/tIg4mIr8kvBZNnNJOheTrHLUoyeHcB4zwQqT5DpBkT/LlyOdDfwsP3atcWUWHxUHRiLCzUNri9EbYP0jre1ixOz4YObS0tymHkq8fJcj7j539CvPR094WBU4sDDkN/Uaa1x9mcTxdpOPEodJpfbW04O7laHO0vfxPacWVANWvhxTf+zbqGKQjND/qXv9POVSmvrES1txoYsPABR6CoHaCnti5+N0BcMl042xhD/iX+D9ALgYQ88396hhH/YMUFC17pZ4HrK3Md11/5GT53/mCHjQiEZH1k/x6oC6Z4nniOKAob4Cn2EhK7RDxiGu5DfHSfQ/qi37yBA09evMUhXPdItYA1HmWziifc/LsfQlWG6q7mtrvUpTsHCdH13sjcpzx3N3XQhNKKfw9iGniDYtleEkQXTVtLqPpE5/VGyi9TgwPctW1RiZrFW+zYUhy/w1MavM8OwhoNWWkg+FsHyl1u1eFe2+P1DSqivXTf39cTjieohSNW29FMBDTqDKcMzsOL6B2Pmy9GAWDzRCKeecMvftiWSf8BfYA3WjPBSoHnC/jCeKZ5JSDnQb5rP+CgofUVffFMZGx0R02cY7E7KLVit6MeBo6ztyUoZB1pGX8pBMqdnXgsL6LKU4KdfG+cyjTR7Wx3L98pqnpmANBmOzyWcyNmTqUxjMDsMAx4YIvRjhqbZwhnI1XRIjcHVfleTgGjlt2rONdrmTK7f/r58//ugoF3rn83NUjs2N2lx9YNA6Y4KIxPxRwWOO9gymp5lt9izLNNF23hmVBNmQ5595EiCBdIheNW4fkvQjPKsIzbbMd3pJFw5VfYsxmWmiCf7o4a2WXjpOPW2kLU46oDdU0Uz7yl6/4KjVpYxKtIb/3lmmBp8PPwY4RbD9ykAjZ3ohiA9ixz9DcGGitld4hgq/KOdkOTiX5NSZVDpykJxmY4CXWDUAQuoiaYXRWpKDQ8hL/39l0LcE/zJLDI/O8duQnM9bi67rraRfb9fhxJuV9MHJMaFpejJY2yF04fmcKXoBFpl+XiJzDj4fSLu+Eipu+q6jH5Ru/lbibZ7Tr6ETd/R8ugNTYLOZZ1T8b9jkXG+TrJLFlIB19eYb+HeG1D1lJXI3cTLrk2yXVCUfoG2ryRO+nUPZb0lnghRX5cp3nDYUzgfp+BIk2tMnmGXFs2Gf9rPyb6bmukWPtntHLv2emKD5f3aKTDdhf2RoP44tFKtwTp3FX0mcSiX53IUFQ+rh8ChlVpFRKJN1KnxTMDgP7igBF2cwaXBUG3JsLgPRBi1xWwrD0JDYEMPRwRA2q2Jcs46SHSCYAWcR7V9HzG4Shi/DfKRWsPB4ttV/nA9qshRRGLu3j2xU+W0JM85F1oSgA4iWje9SRUPqyqw6VPRt2B4Hu9bJb4io0zKTAiWHuQ1LfiuaFKfng/of5yEWj98liD0lQbssExI9QcKZZNdlitkunxdGc+vFzlvqfVsOvqdyacVKCMRM0kZn4UerTevO0w0FbdOnixjIcKlh464ZZTMU+338eUbobCdMWka7rLhU6+0v0KTkbrQ8SSZPnElawqcGWtSHL2wFu4IqTFjhFMzxmZWpdtXC/l1hpJm+dsb/Oj+xxY4EutwQghGmN/hKUSig4uAP+0DgX31x4e1rn09KYqTJJbQ2/u+yn3Lp3br+KVBEBK0gX7QqLIhXylD0RcvL6ET4hXcEbtbnjjlnRnrpAaCcOGtTY1317ntoE425+8rL8lVu+ETgGyXIrXVAOu9ZMsVRN1O+ZpLl2TreKIvFHgxggfX5zgTEY9kzf33TAFChwWO3Wh7s3gIB9rRfCvZT6IW8jkRcmk3VXCtjFPqe+hmhzJRF9pLGR3WVBcpBE3jF7gI72cRqVTzYRimUsOkkBNjte+pvC/f526+6564JFb0KXbRfYRIr3HB6jkFYx8uuG0d7Zh8FiTOIt4fsfVYM1o4wvUCPw5n5D7w/ndNeaa1hzUeyS9Dm4ZPKq30mTn+8p6W2x2YgjXi+taJ0RlojpA9xFOZGaMPT+I3Z7yR0WaS7IzP9OIeZXcLsZ8BbyqyTY7+VKOUJR5aJ8bcG4272/fVgcn47MmCQ78R+3ovFWeCOpc32K603By7tBfwnp3Qg7bpOnKrmSPyNkMAe7gTTCLsPzH9Ytrlu7FAcaiAjer0nHYUk6mfZqyXNyL5i/e+55dXFOBb2+my33j2lxm7uRkLHc2gHOcgh2iAu3rU+NJp9mnV7VKsF/D3SQL6Zq4+nr/HRi/Se4eV7Pxeux/fYHrOnMUjLUj1/OH2UoEYUxrK3wkoo7JHlIPgmKkOEzLCzkjTvkIHfnOFRoX9Of6tFl4IH3TaqJeD9xtXmgpFLmezALE++i9Jnl66dy5MYyJ44VjbNXetoRv6PcYP3wgdaXK6q9Q+QgPwV8JQiogmgBlu8A34imR9fpJxbAnAgU/YBnfEzjy3LH14CKaxKKuqjuslqlSAi7ihpHqPEOHV3Vcu3y0h7alxNDWgGYVFY7l+aZb1gBz1ejOzrIWQMcR4LdkgjzytxxanSacQvvadh+2KnXyIS/ECv9EMxn6VZi3V1gLrFl08IwE7vS2Yi3WrndUXBphNP3Qk6G8kNkFU6d2giPSmFj2YBVlFbsBjWdtpjyQBBlbs5IPS65JpvKBqr4keKQh6Q8UD5Qg2YSqbRInkg6sjS7bAZ2FKmDhAzzVaBkPKRyD+3Xo3b1jjd2RK9JhR2vX+FpMm6VnRyHC7GjQQ+ric/QGH/iE05beShkGNdKyB6jotdtFP6et73cQqb1RtNpgZgkyYCGzqtWd3ZHQW510zqCrwxXT0SzNQKMQFZJeLbPHlP/NDyHjG9DW1NukPX/mN9pOL7zEo5a+/nCTflyJDqeAFL0yD4dqBbURZkCrDmez56tgLe6E+32XzhXmcZ62QZR+kZowjLgenw4VtwDmJEy0PjAXLUJhjNjKaSFuyIzMv9PKmGq/ON5kZ8lJpbtAbJIhrPFAYkyA2djCfLPZTE2qzKESQ7WLMgo+yxskMh6alyF/d1Iv/mE4cuQzOpNOUkZ3ihpfKticpPOLq4YXjyw1+Q6XCz14yAfwmOslsApgtLbka9/vz6+Q6uDdzk+ZaVRG+fSBGaxbnnyopga2U1tYecal0Mpst4MIOVkwz39gV2Ez6ZeeNMBFkpSXR8TPvYgIThJP5YPBJ68ghtaxAa+f316HLZ5Y1Fy8nwUJKfJNA8WWd7ehNoLpJQ2wHazhwGBVv4StUaRAZLj3+XyG7aR/WJT9uJTphNj9oMnuoD/U8pdBL1XuEblMv6n4sYVroS4V+WMyPLDoj1h6ShdLHi+s4p9csO51IeT69rBkS1ZbuYQrVR9N1zqa6BG5LhLYUqLRPdsimvtJfyQDdIwt9M7F3RIkS0ftRZzdaWfqqMXliPSPLCqOn+7RxhyRWxET5ypIobW07BaU2NoMOlZynCVzkypTSau/L7nBx/vZRAVktYFuc4J21z4hlT68yMrNpyaDQK6pvtPoBsyWqOvOR1TUP8X0QZTikJs8mWo/QpnRVl63ekdHVukZcsDPGc3FhlbPW2t+YDQJSd/A17OnzPpRH0x8GUdH5mUSJMd7wDVF98UAmP0P6LnIUKgd4ZByYOrNOETZtl9jcRGI6XmcYZqNTsd6rNTeEseguUggRcZqJ+1lpuCN5OjUVG9rNCC1DAa8EhjVWjoPWzrc0aLnftm/ogAb5IB4/wcffvoVPo2uf0RHUUDTk2JRIahdkUl73oUjgW3yQNm0IP4x9R/k4AADGmvPV2LU3AJVPLyOLpohkDkz0pgKDG/bcoOb+W7hvRRU8RNUbDVLCJ+J5MD1oz0r5Vbq0A1ruRHn8eBSY3J/4eRKXUo3MnRsNhVWqhpOChWsTrMvE5l8bd67VbnPMmBLnPB7YjjfesT3tH+LhfNcfZuWPY240uVgYCRd4f4G6KJQPUvTkbiGjXY5qw8YkRRKVwmWPBUjcxMI3cy8RmJoPPOqf2N6yk0RIVzQJI3/9DRPCVgdz9vg7Z9JvNF8y93Xu4cN1iMwBKAfCQkRi+w8EbnGrdojCzQkSLDCznezZJPU902mN89YpHxGaldz2KfpVmud1iZpecv64HgfQGBnK9jtBu6qZSYE6/FXBd3cYspOMFEtuBgTw8C0ikC5cMzeM7BoLVQD/OVWWv1OceaZkmNTaiPnzbTbk6s5EpJFAlPdGtg7XUFL+BBBYsmV5eqA8cBXqkIZ6A5CRJd4G5WNhZv/RlhzrF4Nbd/Mc0SBLO8an4i7V1AEmZwZ0ANApJ/whwmT6ZIbXxzoA2ptC9h/4plzO8K/5EY6jHxRYR9jNW47HWVPOfmSgFnpSuPt8VM6UtwuSYvHTbDo6QlS0+sGb32eyWw/UnWamd8E5PbJfTjncW5QCx91rw7PpsKVOD6BcONK/oeo5TCmW+ihxFd0HHJIClwv7yRF+vPPQRCkVd4Ns6ZWrphIItdzPCAfilQ0UUwtq2UvHGsbQ/mqkf8BAaauBto8BRmayoVclXbxpVhPB0t0mcfwQ6K1pkT1/1JNViUqZBLcu4lGrv4RIqEHXPMNj/+kuPuPc7q8qW1fK1bYRxTJUP/g0a5imGTMsRZzqv8EbxdE2ckiUaFDRBNOfCljPiTRBYBnjjlpcs1NP1m+rFhkvcY5yGKq9acxOHcGvWemhP3U0fAp6bvkoflPHemc92NsK7hfN+KuZRbror4IN6Nz0TxfuLW0gKxrCd41fpV5uo95l6tgFEnha9HdJ0p1I7KZcL+anhDFlIM33okor9eFw80+tVSpLfgDbNwNHB8Rp1Pgp83Jw3ld0OdF2yxaPWP781Z45qRaia29A6+mnEON4kDpvApjWjBikjYR+Nnkm0DZ6HtsMINq3SZLQ/q8oazVX42K2xRxqxc77OSOA2Xc0tk0XLC+IiRNLXxQSwDbaBnexahsHJPJxh10DkaEpAY08LwU9iBK4RSUF1D6ASHiY37uNIyHz1+Rz4Yd0vk4kOWv6mneKNDFBxzvzyb2Y4ysx1w84lkxXwjBK7cYHCnS5Py+YfihMqOnATXhOaTLPQKiTnjVhO2Bfl63G72eUApEHu7fbvkzRcLuibCkm5sXSRrZ/xuDhs3x/qizKBbZi6d6AeqY8EpAeLE7HlIK7B5EktDG2waKTROrVyBQCn1MJu9TFwDUO9O/pdwyEB6z4wQKKiA6gwkH3jgMuagHFRyu49r2p+ax6tRcCQhTtsbDQ7mHXSwpZnXqqT/ncizWGrotzUJL8P4KxjIc/Hp8C8YiMLhPRNCi/1IusJuvBf/V37rClAqI4jttxSC3bUSlX1oKPzmp1PdHDp3Hg8u/zAVNK6iKo4781Cv3gKfHFclbl/Sy3TkvNi6m/tMqN54VF2noRUtj65Db7ll6nv/f/+5OPMPZJ3ZSjIxi1Onr3LoHppe9mISZ7DScc94zSmNKVsR4KPWOfp695vCGIqqjemrUbFh0NchbLDp4qXOgmYCds6/yDBa9nZ+QLRtq59u2q7qDV/xMzhYzRyYUhP386QzmJLVNYCA74NyC9/fEbM2xnFuVUGkdKoO5Pz8L3LrqptApI09qCmjW4CDTj8nLizidTUghxnaWSQz8dwZq8svvRDnuO68XIWM2eDvmEBx5uiwjcShY+XLGrI+GIw35ARW6LZ9V1dGJo3lftDfwrZ1abzVvt1XP5EO3J+LwIxCa8DTfG2i3JgnTcJm9qTZ+y7LVvSmpakQA2SVuTUesG1ikTIgAPflIOX4kzA7McbYK85ZYRr3VNrwbl4S2y9RaLk1Mr5BuZqCf6mNywCBk41BJl9Vprcq/ESfArB00/YXsqambK34LyFL3hxPSkf8Z1UVcP1VQJ5ZP1ESaCvSeEQ4kh2dkSVFiQCO7eFdaoqdcwVL4N2friYBxuDMGO2EWyQzIDdRYg+XobxRR2Pa86PyABwXLXAhopIde5UxCMpMHgfzy409KLvs5m0OK+vG5rdE2wDC1ie/1XCp3Iz9BIBLISiKLeRNfFLMRbkv0XRb70pjBmMzXhN3PqSqRXKuB7eBYhRGsPtBuO1J8Jio7Ga403RPtoscbLbvLcm/vNxS37XXQcq6X9ZMbxzhqTM2WF/8zwy8Yr7kD3ddTuZngv+n87JATMtIDuRjEb7JHEJAll7lfRiR9ln67Saxvx4AMwE2bjgoP0RZN8bg6UfZYDwd5yIkTdUZahfTPAXDRdc9bUYQbXL4XUUxirPlKwsJPWqpJUGuR4Pa33/ZI2Pm1IJcD4wTMMBB670ik3au1wGD+99Ogn1K7BbkU/wl8h4xuwEZvCIwi79kYZvNmQmQ6K0Br/XwHF5xDWGAe1q6fG2G9Gj2YL/+VwD7ZgfYeh8rcz/oiU5/cUMhKl6ZS2xL8pPcwByKyXwFzL4V/bR/R2ocDBWrmmw5QpeI5q9GQTLxNPeRcLW+xlWhVNvraAtu0TVnFfRGubppNVieXSaQBlTD4UIOecK2om7EAECop4OcPBKIU35EsfCh4UK+CMvtxW5kbSXsm09TtTPiSQChHi+IQ/kcKonNVunhPHgARLpto03Ez0Hx0llOtqvyLFhRTB5pnuJjXuhc+I3oLyaXXFA1X69DO28oSuVJJV5L1AkgpiYe9deiK8asqqoFemi/6z5+lOzp2UaOYxe7gA4wcXJfTuxHZgbRQ+i70s27CtotpxbKkgE9jq91IryaY+e8GCK2hfXjP4npwmu9NPS8GNIw/SagpRzHCMSCaeP6tteNxCAt7AIKAk1TzbTbrQZgB/u3O56z6FHgfM56YNylrmocZFIOu1rKTmPmb6MZBD0ynb0anAocbLeaWY4c6/nAi4/kOc61hlwvC92B1jLOkyDVufaKdBq6EG7jVsAiOsFDJbGKe0ncJAPOz0g+EDrx9tVJHcEqsrte2Nfvz8S2315U/YWIt/IKHfFk/WLEuvvoRZnUgZronFRmcN+G5GiLFNd18XtgKLUQh9+v5tHF++KIsQimTvqll9ak91DqNWdVHe6+6bBnCENDfpk2sibKV4FSe9mmca1D4vwVlqSkRxHbFNu6t5GE6Yu1BZbMX14EYbyAoYIT6ULfLD0Jb5ZmVk1OIpR4VlaH+JflatiKdwUC17mkkRkTIfWrCkPP3Yc1bMirraLKonPES+iJg/BjmEdb50Ut0na/egnblXC3ezPXcLkRIveLb8a4s6rf6HV/h++tfTQJGN8Pi8aZiusZCj9PU+VPvWI3DHn+Or0mc3g3YDjMVDcpi6ylM/XQjnnAThwuiHsrgnSF6bW6zIHRginU3b/g0qC6aBk=">
            <a:extLst>
              <a:ext uri="{FF2B5EF4-FFF2-40B4-BE49-F238E27FC236}">
                <a16:creationId xmlns:a16="http://schemas.microsoft.com/office/drawing/2014/main" id="{2B35C294-8802-4F8E-A098-859BEF2C06CD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9374795" y="2041358"/>
            <a:ext cx="2477492" cy="441971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6C8885C-FF22-4608-BE62-58C2513AEF3E}"/>
              </a:ext>
            </a:extLst>
          </p:cNvPr>
          <p:cNvCxnSpPr>
            <a:cxnSpLocks/>
          </p:cNvCxnSpPr>
          <p:nvPr/>
        </p:nvCxnSpPr>
        <p:spPr bwMode="gray">
          <a:xfrm>
            <a:off x="6842226" y="4457700"/>
            <a:ext cx="434874" cy="127635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6956A3E9-760D-4E11-A8DB-B7287F6CD1D6}"/>
              </a:ext>
            </a:extLst>
          </p:cNvPr>
          <p:cNvCxnSpPr>
            <a:cxnSpLocks/>
          </p:cNvCxnSpPr>
          <p:nvPr/>
        </p:nvCxnSpPr>
        <p:spPr bwMode="gray">
          <a:xfrm>
            <a:off x="6842226" y="2567146"/>
            <a:ext cx="434874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012F23CF-1AAE-4DF0-B4B5-79601593F6F1}"/>
              </a:ext>
            </a:extLst>
          </p:cNvPr>
          <p:cNvCxnSpPr>
            <a:cxnSpLocks/>
          </p:cNvCxnSpPr>
          <p:nvPr/>
        </p:nvCxnSpPr>
        <p:spPr bwMode="gray">
          <a:xfrm>
            <a:off x="5172075" y="2567146"/>
            <a:ext cx="438150" cy="189055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tailEnd type="none" w="med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34373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btfpColumnIndicatorGroup2">
            <a:extLst>
              <a:ext uri="{FF2B5EF4-FFF2-40B4-BE49-F238E27FC236}">
                <a16:creationId xmlns:a16="http://schemas.microsoft.com/office/drawing/2014/main" id="{C1C84325-05D7-4D91-B349-69380A94A58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0" name="btfpColumnGapBlocker255840">
              <a:extLst>
                <a:ext uri="{FF2B5EF4-FFF2-40B4-BE49-F238E27FC236}">
                  <a16:creationId xmlns:a16="http://schemas.microsoft.com/office/drawing/2014/main" id="{A3F31424-0323-44E6-9287-9094E12FCA32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9" name="btfpColumnGapBlocker901294">
              <a:extLst>
                <a:ext uri="{FF2B5EF4-FFF2-40B4-BE49-F238E27FC236}">
                  <a16:creationId xmlns:a16="http://schemas.microsoft.com/office/drawing/2014/main" id="{90BE5E2E-D898-42F1-84E8-D2E6529313C8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205442">
              <a:extLst>
                <a:ext uri="{FF2B5EF4-FFF2-40B4-BE49-F238E27FC236}">
                  <a16:creationId xmlns:a16="http://schemas.microsoft.com/office/drawing/2014/main" id="{5595F526-EDA0-4173-91A8-D796B0AD687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199854">
              <a:extLst>
                <a:ext uri="{FF2B5EF4-FFF2-40B4-BE49-F238E27FC236}">
                  <a16:creationId xmlns:a16="http://schemas.microsoft.com/office/drawing/2014/main" id="{75BFB471-BDBD-4355-8898-71161493114E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770259">
              <a:extLst>
                <a:ext uri="{FF2B5EF4-FFF2-40B4-BE49-F238E27FC236}">
                  <a16:creationId xmlns:a16="http://schemas.microsoft.com/office/drawing/2014/main" id="{E024758A-8B4D-499E-8E0E-70B5E10E107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825907">
              <a:extLst>
                <a:ext uri="{FF2B5EF4-FFF2-40B4-BE49-F238E27FC236}">
                  <a16:creationId xmlns:a16="http://schemas.microsoft.com/office/drawing/2014/main" id="{0846EA58-9BEF-4601-B227-8BFC80DAF237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508059">
              <a:extLst>
                <a:ext uri="{FF2B5EF4-FFF2-40B4-BE49-F238E27FC236}">
                  <a16:creationId xmlns:a16="http://schemas.microsoft.com/office/drawing/2014/main" id="{1D083CDB-7B27-40A4-AF39-BF7E5D6F2A5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432741">
              <a:extLst>
                <a:ext uri="{FF2B5EF4-FFF2-40B4-BE49-F238E27FC236}">
                  <a16:creationId xmlns:a16="http://schemas.microsoft.com/office/drawing/2014/main" id="{BE7C4AD5-4834-400C-BB3A-E42AC343355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870112">
              <a:extLst>
                <a:ext uri="{FF2B5EF4-FFF2-40B4-BE49-F238E27FC236}">
                  <a16:creationId xmlns:a16="http://schemas.microsoft.com/office/drawing/2014/main" id="{A5C9942C-396E-4C31-8C95-97B662FE970E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26546">
              <a:extLst>
                <a:ext uri="{FF2B5EF4-FFF2-40B4-BE49-F238E27FC236}">
                  <a16:creationId xmlns:a16="http://schemas.microsoft.com/office/drawing/2014/main" id="{34216171-AD7D-42FE-9B37-003F8D3EF5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IndicatorGroup1">
            <a:extLst>
              <a:ext uri="{FF2B5EF4-FFF2-40B4-BE49-F238E27FC236}">
                <a16:creationId xmlns:a16="http://schemas.microsoft.com/office/drawing/2014/main" id="{B25B0E14-A4C9-4070-8D9C-6F451C439C1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0" name="btfpColumnGapBlocker853696">
              <a:extLst>
                <a:ext uri="{FF2B5EF4-FFF2-40B4-BE49-F238E27FC236}">
                  <a16:creationId xmlns:a16="http://schemas.microsoft.com/office/drawing/2014/main" id="{CD72B5A9-BE9E-4307-9D46-0F63FE4592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943140">
              <a:extLst>
                <a:ext uri="{FF2B5EF4-FFF2-40B4-BE49-F238E27FC236}">
                  <a16:creationId xmlns:a16="http://schemas.microsoft.com/office/drawing/2014/main" id="{5726F45D-04B8-47C1-9783-A0CA5996C681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16325">
              <a:extLst>
                <a:ext uri="{FF2B5EF4-FFF2-40B4-BE49-F238E27FC236}">
                  <a16:creationId xmlns:a16="http://schemas.microsoft.com/office/drawing/2014/main" id="{542D074C-B5E5-4632-8F9C-87897FADB68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348400">
              <a:extLst>
                <a:ext uri="{FF2B5EF4-FFF2-40B4-BE49-F238E27FC236}">
                  <a16:creationId xmlns:a16="http://schemas.microsoft.com/office/drawing/2014/main" id="{74B81A6A-16F0-4A13-98E3-8D6DCFB1DAF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596260">
              <a:extLst>
                <a:ext uri="{FF2B5EF4-FFF2-40B4-BE49-F238E27FC236}">
                  <a16:creationId xmlns:a16="http://schemas.microsoft.com/office/drawing/2014/main" id="{D2F71D80-251F-4622-B93F-814ADDA37711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135399">
              <a:extLst>
                <a:ext uri="{FF2B5EF4-FFF2-40B4-BE49-F238E27FC236}">
                  <a16:creationId xmlns:a16="http://schemas.microsoft.com/office/drawing/2014/main" id="{7900AD23-B8F9-4817-B30A-F5E046C1036C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934673">
              <a:extLst>
                <a:ext uri="{FF2B5EF4-FFF2-40B4-BE49-F238E27FC236}">
                  <a16:creationId xmlns:a16="http://schemas.microsoft.com/office/drawing/2014/main" id="{CCAB14A4-6F41-4482-9396-E8E4D06ADBA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227711">
              <a:extLst>
                <a:ext uri="{FF2B5EF4-FFF2-40B4-BE49-F238E27FC236}">
                  <a16:creationId xmlns:a16="http://schemas.microsoft.com/office/drawing/2014/main" id="{130045A1-55BC-4513-A289-BD98E8667BC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1798">
              <a:extLst>
                <a:ext uri="{FF2B5EF4-FFF2-40B4-BE49-F238E27FC236}">
                  <a16:creationId xmlns:a16="http://schemas.microsoft.com/office/drawing/2014/main" id="{80501580-28D9-486B-A591-603EDE7F03FB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36783">
              <a:extLst>
                <a:ext uri="{FF2B5EF4-FFF2-40B4-BE49-F238E27FC236}">
                  <a16:creationId xmlns:a16="http://schemas.microsoft.com/office/drawing/2014/main" id="{1B562019-F4D2-472E-93E7-023AF104547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633B12-3CD4-41B3-8D42-7C174A57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~</a:t>
            </a:r>
            <a:r>
              <a:rPr lang="pl-PL"/>
              <a:t>x</a:t>
            </a:r>
            <a:r>
              <a:rPr lang="en-US"/>
              <a:t>% customers using </a:t>
            </a:r>
            <a:r>
              <a:rPr lang="pl-PL"/>
              <a:t>X </a:t>
            </a:r>
            <a:r>
              <a:rPr lang="en-US"/>
              <a:t>as primary provider indicate they’re likely to switch in the next 3 year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9E6CCC0-99EC-4C7B-B762-68BC3FF03A1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334964" y="1650634"/>
            <a:ext cx="7502788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likely is your company to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 from 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next 3 years?;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at are the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 reasons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 company is likely to switch from 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the next 3 years? Please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p to 3.</a:t>
            </a:r>
          </a:p>
        </p:txBody>
      </p:sp>
      <p:grpSp>
        <p:nvGrpSpPr>
          <p:cNvPr id="51" name="btfpStatusSticker631408">
            <a:extLst>
              <a:ext uri="{FF2B5EF4-FFF2-40B4-BE49-F238E27FC236}">
                <a16:creationId xmlns:a16="http://schemas.microsoft.com/office/drawing/2014/main" id="{4258FC03-EA46-4E96-8EC4-48578E10574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0355" y="955344"/>
            <a:ext cx="1761445" cy="235611"/>
            <a:chOff x="-2280177" y="876300"/>
            <a:chExt cx="1761445" cy="235611"/>
          </a:xfrm>
        </p:grpSpPr>
        <p:sp>
          <p:nvSpPr>
            <p:cNvPr id="52" name="btfpStatusStickerText631408">
              <a:extLst>
                <a:ext uri="{FF2B5EF4-FFF2-40B4-BE49-F238E27FC236}">
                  <a16:creationId xmlns:a16="http://schemas.microsoft.com/office/drawing/2014/main" id="{AA59E53C-45D3-4DA5-92AD-FA2275E7775E}"/>
                </a:ext>
              </a:extLst>
            </p:cNvPr>
            <p:cNvSpPr txBox="1"/>
            <p:nvPr/>
          </p:nvSpPr>
          <p:spPr bwMode="gray">
            <a:xfrm>
              <a:off x="-2280177" y="876300"/>
              <a:ext cx="176144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eliminary</a:t>
              </a:r>
            </a:p>
          </p:txBody>
        </p:sp>
        <p:cxnSp>
          <p:nvCxnSpPr>
            <p:cNvPr id="53" name="btfpStatusStickerLine631408">
              <a:extLst>
                <a:ext uri="{FF2B5EF4-FFF2-40B4-BE49-F238E27FC236}">
                  <a16:creationId xmlns:a16="http://schemas.microsoft.com/office/drawing/2014/main" id="{05C62B3A-409F-4CC6-80B8-F7EE9583AF0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btfpStatusSticker538999">
            <a:extLst>
              <a:ext uri="{FF2B5EF4-FFF2-40B4-BE49-F238E27FC236}">
                <a16:creationId xmlns:a16="http://schemas.microsoft.com/office/drawing/2014/main" id="{A35BE023-A2DB-4BE6-9430-B34F932644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14219" y="955344"/>
            <a:ext cx="1759136" cy="235611"/>
            <a:chOff x="-2269853" y="876300"/>
            <a:chExt cx="1759136" cy="235611"/>
          </a:xfrm>
        </p:grpSpPr>
        <p:sp>
          <p:nvSpPr>
            <p:cNvPr id="55" name="btfpStatusStickerText538999">
              <a:extLst>
                <a:ext uri="{FF2B5EF4-FFF2-40B4-BE49-F238E27FC236}">
                  <a16:creationId xmlns:a16="http://schemas.microsoft.com/office/drawing/2014/main" id="{898A9E82-8AAB-4302-8866-5C978AAEFFB3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irectional</a:t>
              </a:r>
            </a:p>
          </p:txBody>
        </p:sp>
        <p:cxnSp>
          <p:nvCxnSpPr>
            <p:cNvPr id="56" name="btfpStatusStickerLine538999">
              <a:extLst>
                <a:ext uri="{FF2B5EF4-FFF2-40B4-BE49-F238E27FC236}">
                  <a16:creationId xmlns:a16="http://schemas.microsoft.com/office/drawing/2014/main" id="{E5553999-77D5-4EBD-84C6-CEBAD324D97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btfpNotesBox632539">
            <a:extLst>
              <a:ext uri="{FF2B5EF4-FFF2-40B4-BE49-F238E27FC236}">
                <a16:creationId xmlns:a16="http://schemas.microsoft.com/office/drawing/2014/main" id="{27B95BA8-5470-47EE-8313-3EAB24525BE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9FFB7C0-55F3-4D57-A716-B657B1C90AA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378296" y="1650634"/>
            <a:ext cx="3478740" cy="437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  <a:r>
              <a:rPr kumimoji="0" lang="pl-PL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ou have mentioned that you have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d other providers 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time your contract with </a:t>
            </a:r>
            <a:r>
              <a:rPr kumimoji="0" lang="pl-PL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US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xpired. Please select the providers that were evaluated.</a:t>
            </a:r>
          </a:p>
        </p:txBody>
      </p:sp>
      <p:sp>
        <p:nvSpPr>
          <p:cNvPr id="59" name="btfpMGChart83495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zmFkgK7YQmRN0fxMLdDU1dR/s1c/34lhao7bNRQTsLxzP2CIfziwkhq04dYOWyZrZPqmx543cWnnbYrhemB58VqyD6yxLZmI0j0mnIJwxA7SDDiBzwGCV7JOpqvovxqlIqgSjhQMsfnTPIH+22ekWAuOqXUi2PU95aL2CrsCMdZhd6tzDB+K0ByaLmuGbyyC2FWuCCJ9dr2m4q/5MBoutSaM8gGNO215kslfVF0G8d/nNv9ENLFrztUMWEomAPUJngJwlkpw+8L1fi0ygaCJDVw/++0iw93LNVyDliP7s77J9tKHDRL9WGd/XVgfGFjjXO4tbXWv+CSdmYbcriWwC6trTn8bzjcb9yt0V+5onEHKsKNjVqVUqgoGAkiN4ElB+/31GWYCbK+3rldh5j0L0z38tlpk7dyZ+7XqjmVAGcKHK4sPa1l68qSsaLMEjgZYSpbaRizDpAHBs+s+k6cDNGT5JDcZ7wS5pLSBphcDssJwoP/uU84Xbf2wg3F9cMpKsEo/5nXrsxgPIYg9qGUNYb+WROA6M8W5QoofyNFltEWVg02SXaMOLLWjf+j47K2JtWwYQiXHw3K9DfcOFKLXkTRdL+e243tCBrB2dRrdWSoNQSB6B33UVq4KXHYB14HLpiMF5/u7LaLthRWk0LoOXK1twMrOfrZHrQK6re6Qa0luWjKPgj8ZCRbeswhizsmBbegbxxKeT2eoavkbVS+F4y9fX1GxtLhJKq/+xpMbvxf5G3KGnSkHrGAhUhkycVvtvRAlTdS8RmDgn42qlai97bEXzRiggkHwuNRcRrfmWUC5I3JVEC1k9up6cqIro1AI2XZRNxP+ZWowtCOR3r8/9WQDEwyK2KfXkXTH3aqVkSW/hTWgkNLFTZjug/ROULB5BzEGwaj54O1qiwKvF4zqXC7/pTFm1QH3Cr9vdhtz7UaJaZQwNeiVMVBlQuK6rLlckZ3DDiK6jlR7eZpyfGOxenZkL4xlrTNByHxwBEogWsF0msuzunNNzh2p9N2Qz24AdCyZiaCizIVkKLTfoD980TOoWoC1W3KzCypojLtH/M257W1csel1aAnmxvC8foCZqEr/nmUaVozjZ1mCHccXfb9bgdvMLTpfngEDtSq4GMUcJHOPM3Hk+OCNeFrZjaW72p+ICD2yHHgnyxkPdkCapiUkH7auE+U4DMfYDVNRIZkI+s98kjqxwnyBw6u4DrHHAkdEi4+bHqmpq2ydKyiW4/kBnZsqVyWMGY+NnVwmxvUY7NQQWzlbV0unncSMbi2zPMjiDhLOaRRVW9rJUI4J1e6RkMHlhZmKLjRPZSNghVZgkLnnxFTDwCWz434O7bLVs6f67z/fUmqst8GH12LDjQh5qFNkyIsvWZoO0OM9hRZeySBz0BxIC09qHgGcXZ3VeSXpDery3kDb9s9rBbduZPSO+mJOBDb4OYeNybtygGBdgW7Ashz5E5PkcDn4FV8DN2O9Q0CtzC4VNyIA5dwh6HOxtc3uWf035ULMZU2kpDiKVu9zJCEZP2h69KeRbVCwGuS/kkvHzHbFo/XqudG21U2WF+aYrhhNZJou7hZ/F44PebWi/5781dXvsmsudf6dz8s91fDfORDjOfsLSJlT1HVqklVJ9L509Zqv2qsPItjLcYk7Urw4n5m/Z+kD2WsCqLAlbfY6gAIMUWP8yqeF2X5agp4Fwurrf0KMe1sVz6Ym1S+j0kwyIivl+2cqsO19VunmbWhHJfmLKrlcp1/CLrKhgAOto4IxDu5+qxB3y7lphsvtVTIyddRvUpBwl/ch+wuPXNItflrcCbs/B9SWMQ6XC/ZRgQn5V0mcHUYYWGTcaZc8yDcuZ06Q9W++6ImTLPmpjKX1sotW6be1PVKqk5dwALOqDwO/xax8SDbcMz1w+tJDEvxEuoudH6bdw4T4qe43iF90yHPWgZX1YaPxJc6Tpfgedhrj1fY53FiAc4YGEHVm/FvYXqPGnGJ5s5c3JCuPXETsJ86sf01nV/D+Q3g2/aALRmUdLxy3Gjyg7VCmqKb4Mr+E5fmCuoLxpjqZLlgfSe4PfFMOWA+1if5hR0wsZddbbHBaLiqAQHn21l1zMFmDMhypf06b0ZD8w6bGsoHeVBmhGo3DSPl6K/8pDTtQgs2R10t9BC1CpN7XSb1lrJbv3FDJqFPVIxI8xMEnOfz2z2ndoNlaTAdskk0cTGE8NLDcPo6AziPnInz4jJNNap3sgnzzSH9hfyAz3O8RnHvHoGMIB3giTFzVW81eO+Fe/X/bAllEXnP0zV/ecfjZlFKvK4fKyd+VazQOkaHwo64sSRv2hwZyyBgLtOQeEb8OEmyVDMEe50RJvjEZfBvo2wZh0g7vZqnXb5JT8yIKuOOd2bXHtHuVm36E2BjkKtvqcuPOsbMSXbp1SWciaHrUWHh6xKxdAhPrSRz4kFUJFAAsP/ZKH5ndHvM83RdNO638x+mtksNP7hFb6Qd/4Xe0T2ltV1+6YNXxh0jPK+lKohhyrkXdE9Fq9Azy1ZuR/vA37jf42tDJmiHEwR161W8femaI7hFUfRlqvcxMsCalqwwHtIW+bBfhO37zsHZQqrHLRye1TmxP02tOljedL9kRaPN2KQJY5O57Dt8hsAfUaiASpbayPoTl0ljB8hX+oKos8zaIFkTyIpqfv5aDGhpzVgx+ND+iECr5ZIUfSXlQuPyLTlWbGxAEguSQXMjGjDC46wGA03d27ZfBLpPyO6t6L/6O64flYZAPtxP0ltkVjJoqKNzswIDIoqYtRp3lX2sIFU8cWroX/9LRYrdYVABWfVt5uzGyauifCWykg/3+TOruk6N+IlOKeSliZW0B6HiQoC7n0F4tm/HxJ4FgQ66Xgdygel8WfDCegcNuXb6Mi/oNjayegA81OzFurn/+yvHYG0GYgEiwfUNxZCMovGUxbeJqeNSU9RtsrVRGuEfstTKeBUhf2d0C9hnyV8Jyl1RDkGtgRgqpzMOmscPFAdT3VcaZQcXcozi1UBczzwAl2BtpXcaE1k+6aaoyXhAoJ5WjrcL3ugyDVMjD61uAYzYLQ6/fy8cMxiKYN7Q/LD9c5dKlW+xR5cjEIahMuQAGUFKcMb4jQOZWqrBzEvq8ZVAas6UZTnxwPBrVMLy+IW4xRJH+AQPWd6dQ5oEez8bLUFjIw1iqRJ5XfvLZteAvFsz2tptlURZggrP0MCZ8YLAbd3r6aLEzRXSx0jmdYN2G27G0baRCj44POW32LPJwgjppy710/AgSCI651td5ayvXRMCvMOV6I1KYgIF+nhqSeoFHcmOKpXxY4qntT5FHDNlThicLKpy0j/RIMUEMvLhfikECCkNXcBuX1Ha802cklH3XPTRR0oqTkdsYNJ19jdphi2WpMQTnCqHfrp2TSTaGp1t7ea6yQG4WEsviZlBxhEODBqIeZx1iqlJjXNtSvvMEKUE+IzqR7zuk9paA5eI1vEzmb86Ky2ejXJx/2UvYpCNysbpuLw9jn3GLnj3v+HDRMfgdojKKqxmXKK+h2w9vgEW7qW/A+O3mKv7iuLn5r+VI7yCJS1yfVoUtWjw9z+cbswKAzD2BNBc3/aiuXEElRbf6GkjeMxkJc7adZTXsf/TOO8Y2b83Yh/FrLJ36r6jVySjUiYAGb1iQPm31Yic1BonktCfcie5fRL6U28+2hO1ZGWIiO4ExuHQTXo2X3JsICuR5HrD5ZitOdNiefpzg0VKBkx1wTxa+3cNtGkmvwOJf1A8I6YcegtMX8AUij1nf4NZwDROQ2VMP28vJzLpVEJFhHxp/51CRbhE9XdKmn1RfomTg0RShCkspzp2c0wpiPBDxock4hEJBkSZQwLCFhb4DwZhwk/Gsb2HS4w49ohA+ckvEACFjz908SBDzfq1DT6GB/qOBNYWoELN0wv3Cf8TszLgGM6wClvbbiuMc0Gpe+NnzMTfmOcqYJCbUMjpUIyvJAPN9Hcx2jk7R9U2uD9+cqfNvpJK43HlntrBo/KANIPUxdiFsIj68ovf1xlFkDWgZV0dVV5DcbUGa+xIU6m5RPs/ZdIO5S15sllzlbCbZnamWo92eDYkTdnXobnTvO0FetkcEUe8Lst/0T1IbWxUD4Mb2zijTXjJlsJ1zHlBzLg/IN7h1xN1uYYLbjA9Xtxl+Y/zUGu/WBgd7iBy28zifPYTEYprG7HtZVmz4oP4f/T8piirkaFIq6wkW5yGM3D51zIYbHvcyY1gehHweN0Oe6apOzxHF9Dy6W57ojyof7Df+bzOFwIVajzoPxZFXYpIv22AE9ASxsjzIEzjdZy4nNMsseBsd+U02xI1MGMDkYoBCw59XW/l+si70DKnsBOAZvP9nTVdoC4d/prwUns3XJZOHbgtVjwd471itmitMKxmqtu/OW1cMmrjqODgemq9vg4bwKFN+TDogHzddnvIZ1QjpEFBvOXQID+4Qgu8LT2UCcnFiA+3aMd44fNGD2v5HGKNwsi8kAZUn83JiAgFSZKsqVZNxC1EqPdAwRHmHTGjq5El0stV1kfaPxnhdmphqwf0HUiGJAvObeK2HwRfttSttEBx8pn2PmbKyYk3rY+Tku9CenXn6PUEmlVXgX05xVtggUWN5palwW9QILvUOYjj9XxoM+jmdhBkxI6xLj99xiTJgz5FmXojm61MpFUagjbjsq5crbKAEKk2Qor18iP7+q6A0quAf+5inboKFZLf82bBloCdAZqgl+bX9I4du/AV97hSqYMQLQwqmVp0qz11VNpc+rgKMGVAmcwqFiicMqkS1ilgV0DTvH2vT4e4TioVAHyBn7qSYXaw5Gp9jSuj0bZIUvi8ZjtKL7tsp01swtB1OmVuEtODujTZZX8rAFGqQ8jEOdCBqNyHDPqrsIB3tl/B/iO32QLm6NLIMYe186NZD1F/A6/GYx7O0JA7qJ1JvhbRjR9jMuBH/iGmotvZezT3wd5bDWRVO76MvuZh9eAOgap0k/+Ms88Qp45h8ySsAUrFeboHJ/Q+wT5nt6NhqQLViJH6DKGsOzkipnWxfDgzeWwIAYxZb0ePPBv9i2Cck9zd7A+d54Jqcaf96f+wlyOq8fiqN39e/LDF0hR/qZgMmMX6B1mfC8Uk7sT1QQEJZZigi1YJQKMG/iV1UBBhSje8g0kCNogzZZGYUgns0jTt1aPQwbGmdB/NHsOGrOffWHPDoqMGWxH/0MRZqo2rH7wZijopnp8cA8DJUoL+F7r3IgQ6yl2vS9Qoo6rJSi5SuAWtbDs9i+1a0eY4Iv9PNloJ6pm8yCNmU55MSXeyiS9IwrFYNetU/5XZNQyFi8M/BCW5U9jyserQ6Lny/5by12AA0Blu45z7qATdBUSyoZNPuDe+/A5Db9qEhglJ8RY1SCvM7uffSam6Ic2apkphw1LoXnz02IwpYL1KLqocmnixKCXRo2zQLquiRGpLCbpM5QExMTvrIykJ24JG3c36VzujirIA5JxD5s59cpOGv71kmcj0XW+m248832lde2AKp80O9a8LGXg2Jj/SnCihUUkp90uzaQu0TQlGuwv1a4zj9l1yAVULyd5I9vYHDfeYEWqgIzmCm6kH6JCyP8fXYpbfZALfnYQ3pqYt+9X2rwQNsnsFKDHEZ5ChH43pPJhu0GmEAwsA1leB2kCYK4c+jerpyIrPf27mPnQfwSOEufTRBp6j5CHt3jDmvuudbYTFt26Yr2rcgrFTd13+bm67cEsUKSpABpQOe4Rj8WlotQfTuP1V/iWK1XCakghiQVLLDTqYVl1pIqCOAjDqED9qMELRi3A8Rt4DkBuaElj/3FniYyai+fS6srADeXFmZTRv89bGcxKrBNIooGlTD8kE9G9cjksliNIoBlJzoWV03uolCy/7//VyKhfhcy1gsLAdbS664vwe72pIiqiBNpMjsQwtKaxFfTRDV/DvWELSHRjx32tpWahTAEebCTZktps1CUGSBenry7QwizCfAaKb/lJy+TNM5DUDDq2LFX6XuV96Jnq063eKDRr6rG+qyEn71y41/W8VwjTF/j+w3A2u9R4WSYhMC0AjfvzOHkVHxBa3j44JsXyFaqCuwqPSUlEdD/6wN1WUY2VySsJRIpa+vnnjPwN3wnztzZQ/WkNSR1QVRD1A6GyCrVfIFCPc3qx3gqmP3NxQ8SlQ+4X6JnizpwvgXU6l7X56k0Ti9yPC36z7RFM5j6DvZkFqGQpR8lIPCuHZI4pVc+7A2Hrn2GJGJEDyuw0cmJ352UbzfnvoqYrckuXHcN50CMQJsAXelnTMgdEBfmOBjhda2/Qgq8I+FdLUjq8Rly8s/tEg/f5tIj3dWCI1Z+iafL8aoqInbNtkAnatUvHcJ8nnn4akNUwqUu8TOtxSJwIYOeJ1uixJJmk7xW+nikPid+ALyPYiLq/byW7xx22H1GzUCFBs1i1SiVJvdtERLsvJGZnNnWJqu7SPhXdLydgpuFnANXuPRZiABzKnDWSmprLYYkiH6XZuCvsWJGjRqgnMADm4vzaA16cJc05L3Ep9uHAhzLaD+o0elnLrG7i53bNPg0EKkTXn/zEYCQDZ5pHtSVzCa4bPPGFN/rNFWonUsGUPgxm5YUMSQWOTYFQ1jT6PfPod/fa/pFWrBHDQD2tM3PoM0c34mWV8GWy9K4n4b1MKjctg+aiEzN6yDXLTF97lW7NJgiAzX7rg2bXTd7/lh4ymtiOvQHpUxnhMSILA09/rcixRi05IxWCFl6jeyt2U66uNLkj4CVDJh6qf1VLqE7GYxoWM7elt0j3SLw1NxZls8CJl/59ApaYNYtPC+KSaEoHpNXvqCMmt2sgN51LywsIQngaiesKQmx95dKs2t6boX52WLQBoepvvfmw5LACo3U9WaWZMKxu1z2k+3WKHhRKSi0HrynzP5TW7ppl3AlebcTHzovdDdwibGGBd7l5Mz/p/h6LNvukNZnea1Dtzj3wnjzx+o0TBkns4RLHDByKU6WLafG+ChMylICVPKM8ltmVyGopCjmJJ5wfhKI9rXBijzi37tBuk6dJK33NRkBSKoOWcTien/8UTU8bxwIonEiLbeR5pyNNAvI0jw+mX2WigHK5hQq2+LF1gP66FYZ4G46G+5o4XQLvKJZ+FOsMX0EMOFyH1Uk6rY+hxw6bXhkKgmxyKQO7irggNcO943wQ3iPyppUqHiDPp3BpI1+B2H+DC8GlkDaOu1SfdDTx/CZVn2dwvcH5D0YHdNP9305QA1doQcBpB7jkw9f2G+pdT8Lhr55ZIc9UpyFHV05MRGUyJmR70esu12LywWo2ORrMoXU+OG0aN16Y7ZjREFB77SzjSaW+EAODCAEqYoU3/HSWQLDFcSNnmF8e6aY479omm55C+nVpWZ9hA4ynkQgUloUJT5CbYeoBrDfgDgAVTIkHFtjp2pND4LY6rYSDPV4gcjRtHoLQolG1fVJnTOv0WLXDNFU1sjBruYH0V4ChfVGCSFcvNr5eXQ3u6ciqV7XuRVTttNO50TD5JZvkr6XBYq4TWRUVoxt+CmHOKDLVOX9SlyfvsTSIJgYytcOoDIWDJ0OjNf1rHlsgbA286MvLvDrML75kmTy828zxutwOs0sqaVSUPp5xIYUt/XZT416AV/SOySu3a6aw30r9fWQ8IWvMvccwKo9KH72pLPmPNxBUFsCU6tx+FSgjazpRLnXUBGiBd7wlIl4TuXJpkgzh45EyiMt9C/0MmBpoG+BxZmjdL8Y5QCFbB9FPvvhkwvkbUYV56m92nk6LdQdh7H2foKuMvSs9Lx6GyGWQUWvhpwPuGUPl547K6/PL4Y24k1rfcwiS5WiznfTFow3NpDRXSDutiMKwgdiLf3Td/RDslTYhPyyEuhp7TPY2ynMXna7qAca6PVmaTTkg8++H4TRBqEO6PNssAuZPJH6YsQTfUCb4vyXjKgmZTXaAaUUA6CR320AU6bVevUO8MZ4jVMEbMk/Qp9aHPquw6R4Ey5FIJ4Kqdp9Y/fWpiKpRopJfjqLTqwNWFmawkEXcEvfbkkvcSjwWvtkfYSbwu+95utM6cvAHpZ/7K0duiNVs+OEj92RE2H3qCqtts06KkOTKrWcObdCfoSPp2XD7O/4wYbQJRd2AGLYVt5KRLb9U126QKw/XmgIR/oAbk66X+KhV5dmlZc5qRiylUQ4r4p0fwm9hAogqTv+/Z9zgu0+jP36r7y7EJV8eV3n+2e77TvCHhIgqwBPXAIHKVldcGfRgrehLB1F3KOeGYSCQTp/rKBBoa/s+SrwJPLNYrAvxN9dryDvEVyXTs5oWHQKCKP/2j6S2/tuSuppYaWMUQ7TuT5bJYoMp/RMxEwjYXPelwICS2LUzSiN6vsP4QJh3P2QCyOIw5PWqg1m0pRc7zfj1DRcc7YXmHkHEGpDzrv8nVXcVdjgv8RpB/ky2mwpZIpB99qHaKoDnBcKAq+q/vgcc4gX5/+o9muu9DfXhKlcuVv2jdxiNKu8MSZlkHAboXnh6OhEBUmVkZ/TGtN4j/UqLw/9elV5z5Lhw0143U80shcxWcHeIfuYsFtt7Lj1DHf5IVvc4oc+vRYinbuTpyCn4LB0FzKLTv1OJiq/QiYijfN3bEc8jW+t1ISEkqLQLbt4Gc2JRDzC9ixcEoQGbLmn37MHlarzaEZafcu3LZFYhxIqL0iDSWx9QkHkw9ODeYIwvwmFrDWjPMJzjsrmEiXUNu7nwnGaIuhs3pc0Szhr6PpWz+OkYDnL+HqpAv4NahKeRcUj67Yzx8BnAmel9RTqt/BgkEcpxvGFeKyQ42BQdecHNSECdMlFIpHynyOmYK1yjLrYN5nkE+nt/YlSn9jgD4XudtHSowKINS4T4u+I1O/2B8zr39Q6hzRYGpPAdsig0OHs9SknJ4agG1i3wbzm6yQCPmG3Y9kUgm9iLltNMPoFNct6npUCBDuVSfCtZFZNCpTIwQgINdzhMpMwkHRCbwrM5yjRGS8ED86JnDXtL6AXAhc3cHY9u7eO7pNC2/JBjXoZU9D8oPHV//Ko9yKgSfq3wlOakBb1kljyaFTP6RXkwb7+CWXJ9CitTSTYQrfMh6RpwZJqNpUj8faFpNAm/CkPbDfn/KV7AOzh/j0vuCoext1e+1fhIunvzKuxFC9XIN40J8mYt93lyN3Ytndf+iULFMhZ552L/IyiQv+hBJgZFBHUXJVgH/GHj6s6kmg1gypvUp1QfW0WCfMKNJ8+DJxQdb0XNBnKSBtlWKmM0rhMojcC3smpQABRNrYYsX8Qcx5oUI+vMjE6I+ksBOAnRq6nc804DktoBIMP/OYroxcf4IWvqwkd95fTB5dwQtZ9pqy+ZVoNJxLjJMRghdCc1kAiFfIvy2YWMcsKaqnYjszVnE5t6MIT2TbG8qH1+KpCEc3CydvGjl3HV15G+iPHiY+NxgkR3VbWZ0rnInwF3wMpSQZ2TI3EX3bHl45WczbRssd/D8yO0bOaJqzgJTzmyM5zFufaaQiAz70DeFpg6v3yjrJE+PdXYHyI/7OVe/NmQVy8z0QGOW4cmNEBSDw5mExaL+jl9K1IFpRfIoy7A3VB3bV4dqN7dkp5BxWGH3xEOAsU7rzjJiB6k4IkB+JSresPHC/NnAtjqDNJEnnOQqN0aEvdi61BfI8IkK7avB6/9bovi/HdjjLKbEk1BP0RvrwAMUYkZATDhMA00b57MUFPb+SHrzvTru4mlKrRE/+TN7Fa0G0P/yVS+H4yhu5tYgVi1aJ0CcAe8frNzu9LPFRrmmL/p8D+++hyNmKGiV8/Shb/qPwor0qxodi5ZMPN00ANYSzgwg58Jz4GMfW8z0OR5X6d9ghA20YYlplMbVckebzUsbDaIdJ+AitPeRs6NJWEth2Bsz69PNCx//0iHwRQrGQR0P9+Ix2saG1n6MP9lcE/j/bvaJRoUtGaaq5fqhnDa45xIoiiLfQlY7vzCfJViQilhuniZfRczc94XDIB1xH6zYpizl+pLdMi9pHL7hhWGSm+6JTUq1YC1Cf29hQIGGlWIg5VXQyRgltcZW6jNw+YU5d6lg8n0lPov7FWIZd7FWWuiiZiIkoARyfTH/VcMj5j71hKLjkAofkAL++dw8XJFCXUH0Cg09v3IoJ2EHae+QZpP55fc9H1L1HcRI/xgh40IkKBXib19UlEH8V+tpa0M5s3P9RQN2Zmd2R7qWwxo/ceLjr1aVUm1WWcrAod/94pSR4y0+B0vcsG2OO5tPv6p8Izq71PI7iNtZG5qyG9wg/wRVrAYKr6r6NqW8HFRZu4EVO4Qj0a22BvEuzLiIHlwSXIH9SqWMZ0WIQC4IwXbsYh9NT5ECeVggcVFTOiZNbCHpMQ7giFX/yARtTBQgmj/a8QwZy/ICg9gHVLzw7sPDcj+fCS1ATQ4BwCmkkLAbG4vs2z+CBXYxtbxBL2uz4MlYchQ3IsNMPUVg8GkGjWjzWnoPpGZvZ/RtxPI0Voi2DUSrnMa7iRXtYzYTorAhQBMq+5Bi0+IA4rt19iJgP8yWyHfKep4CGWbS6HqqTS+SBn6z9hwEKIn7oG5+et0fmmAFL/9KveupHEShWpEdzBqUBePp7ezjvPMdB8IR3wOKNlCBdcw4bprnSUNQWuKw43q5vjdavIFiTJhDwz6S/T6gOMKR8xyud//vEgegZkITG3D9Nuc2oGnErBvh/rBYwZ39aNZ0jSYGVyG0Vjn1Iq+U4RhaEfirHRQyZSdyBPNxOWxocUE1ZgnqFLdtA8UQtSkmJRTitLJ2BjVrcVJ4vv7lXxz+X9kluKqwmALqm1E7Vhk+Y7Q4a1tRH9iy5Fd8LBN6DnL5XDcDF+19anXa0rIxQx3Z6j/rSRE7dFuChTeK8ihwaj/Ujr3m8N3jZ5aHZjXhVATpJgJTw9fTR8w5WTVXAefJFcuKpwP7FbBIsp9EaWh752Ky+SSPGPdEGbBslMkWJ81mYC/ZuhzbQ9bni2ti5yJa35i9YMOzO/z2WfHRvrt2j/8R65pki7eGkmDr//LQ+YcoC0cvrLjIUtRpG3yAsKQVx/XISBvYvknMq6kTlJpqjt1fTlc7XTccDRneljJOkVbnjz6Ec395M98pOsp7Fc4OcsgHUpWGlo9F6W42SjGKYps2KjavAmLUOT6ORBAT8cSR1RY2Qe65sObPyITjf3MNNwHRlh/Fs6bGF0GkBHR08LSLOEDxDD7q+NYVpdsrNlc+vMWLgCVzMrKROYFYi9hhveo6Vsxp2PCHIxGkqJ/rd/bqVTpGq4tkiDzlmpjIrvRVwTEnKMZqR6smzmDM2M23kYYKNdVbuSvZSxhEQLd2wk2H3dyLqqnroMox5ImPjF36eG7i0MY4XQ1/IXSJqfXArgHyEFCs7lJhM3D0nxehxALQSRON/yTCvZSWUNl+dFasxZBSIWMNHTAx8ywnLVGPclO9J4kNV9ask5ih9bQl34zs7PyEqTK3qBlT1pw7TX2ksfmYFhzKJVW9uM0Aqv0ZEP/aspJHqjllKvshmHF+LZVKdcgji7r6zboujcj04JFNt//hQAON4GYakUBL4A7TK5DieAyX4eFRdruFkpmZdo/Xx+VaBQccQPW3IogNftLBmz3eYXGfrR5IjrSRLY9gxjjhcsfED6+Boo9V/gZUu51Uyyuz52bkwExpjJq7A0d48hltHelEF+BLoPb/Fnz2EMAevnDlOlXzLVsg8W2lR9QLp1jWhAKhSJH9bVTQFLnKPxnDa0wFH0700Gp+hGcopSsGctuiDCCrCQa4NZhZx8tlYMTu2OYLbJOxccLjwlMla+C3OFwEqIuO3skMxwniFwKtFt89yEJUtfdVeqjmAS0NQElV4hfBX5rbv8/aPuMcEtzEkN0DJ+7OL7f8VdXYO3h5zFXydAk9ZwuiBH7Wuqd93OLFFuknPkGi7ZmDrfnYt68pbhw6XOkc5uWSf/9b1oprrFuov/cOzmoBjZrIuEKFb8ywb4HBI0LtinEaNNUKeZaIrfmKSQt687AScoHbWgGqFO1bbQ2fpGJPbuxbq/RqFtBqlEsQJR//KIReE6QRjeusmE0fQujdwRok4c5AhS2EKA/bdEuZThFwR++kqjIBNA6nQPN9WEuLN2lp2u8nf45H/Rs+ylfgH7fXSG6QycEIdm0z0YCOdeltiOK+yTT3m/Hxlv6vtOayd6tzZm4cDrm0eP/Ju6dgJY12JVwbXPCfaKIfCu/HmDvEW8AsFce+8+uMgCnSTFyVQ2ASK8zcvDnJFCkK7LTLU7EHBP/9Pj6q2cadxTtv/uFKGZKTXIN4VGstYj1UhdLMeJ/G7IHkdBoyizOMe6UgP6mgGEzqE+jfFvCiLUJnSvSK6/2EpVGdAwL95mrMKhlTazOOzz8OnsccQYeFrisv8drw15u5mByEf54gEbSf7oF3RLVx/FdDDC/p9VG11G/HsAaiRu7YZiJw1ZXmvI8jSjQ9bml8a7+QX81EdU9wA69VT72ZYyduDSKiRwSq1EKo7x0CtaCKqfCDGdX0hndSghQqDK2YT3pSIXHi3YX0cI+pPDz9pSNbiWM2Uq+TfXVO09Syq6rJbtPldjGNmOWczrNzfYEVfyUcjc3GpSEPQG5p/bAZbIwgOybB6qLNDcpnM5z+CGAzsWGie3LPOGrL8FVpD54pV1hXrJQPOpsg9Dyeei6PsjAjkqioYZk5vyl1WrLsf4LNDvRtB9h1TuSaXSnmDD45nCcwlolkQzuI9OMviW4ktlLcg27HtxkRybqEiMFaOkrVO1I8xrPiiWqE9lnmwdqHrS9gC/YAadGtsFH+YujrVCjjHGKAoxRNcQHvbOwpIA0d0H6lMKgBHhZTJllTeSG8rdIrQYhIHTzDs7qdal3BaSCJ13ht8EdPT3KUpA65Y1wpG2kZ6Z72qSOcFkGnnELYBK/Ncx6Q77ZD2OaiPHSb1c+GsATW+Bm4eQIEw7ezG0A/aHpiYBx23kfy0nnEdKrr9hWOb1Jh6glpmCDpGDsTGHVhzxsuz31AIKAZ8w4F696pPeaKvu/0nyKmdgAwoYO63Z12bvrOolrXgx95pry4okj4pJAXBz1v+rmTuulDTyoSowplRBsFZcIDFzN6WsFNjKqyYerwYNkzUke6RGecFk1e4TF02tJbka1e80i0EydSfG7zVYSYwi2/T6xYMdUnx6fCjetKciH5KA8Nz8rhJCRu/JVoC9qMg9YyJLlofCDH0TQ+9Z7C8181tTCrln84ORVH1sd3wpYeaXvZabTATjr+xCNdPkNP3KtYNXB45KyVM7slifCoHFteGwjais1e/ZPBjRx0dKqn29OdRVhkfCD0xltUwVNp/G+bw4/nrs7P7KK0r0t5p2oDR3ZGN0J63v60pyRPY/ununfWSK5K1jDCBGNMffIUIycIK/mZW/SwA3fS1G9HxLoH1Y7Hk6NpzG8lsfXWCVG1PVqedqq5t6VsBs6v+nqsBwaUeLpPB5Tmx+aD5tCn6fjo9huuHOCBLOtWedbvA535vOGid0jUxyfq36ZaqsvPwdmZYqB12KQOuufB8044OJyFmgXNaWx7aHVyejbCmw9f+Wc93qvrfA0SZtBml/1137x77wSsYVImTzDu+b7gJ187DzHdA/3/+pE2wP+rXa8fnyVxskpTHASdYdK4akxIeDYgoRaOmuCPlLcz5xNfHEFK2POAzNoc9UU8s4En938eaUl+EUSVnXeh5JxRdDlPGdPdPrPlq11dbJwvwhHpX/ktNYnKUQ6YuszBhEn5eLn0CBmnzR6eVFNmNplop5+TKkh4ssRXnfW9+RY8ebZEZJficoXd71DwiGB+Bf9zvZMDfNd/ZSeh5z2ECWoGtVUvmE1QkGffPm34x1axc7/Hi6+M23APbcYoU5icPC01bY9VpuOBCqTJMqBtg3eLKYvg3yLTKjHnlWq4n5CkUl7dtlH5qxWiqjotuqvWG75zz/W9XDr9fEy7nNgK6cTtdfYktQD5nX6piL6hZPe/PbsaATB8ZOcDnNsP5JhljvXH95/VmpHv7FHqto78aug/4jOFUsH6ioAk+uENO9hmoN5Z4ZYBvmLzFlujKuzl8ROi0D0B60bguGxfh+t1el3Xkk4U+/0RoxklufA56fwjdgj6QzCpee11Z/rgK12bhWA9f7bCHho7JHLK9HrpIyQPu27wYuaR56HZqGyFxeJHxdzkk4ixUbP0c8rCBcDYqkiqR5iDDMV7y9r+VYkYKzpWDLO8GTx5krgD1QBpzBsP/8Tea3d19F2ivdWc2/h6AQQn9YQ7nBeW9qs5H7AG5OfqaMesKbvdwRA762fLcY6NFxonzsB0lUlLF7zxK6kx95bYewe0uvwnVp/rv74z7xccXXn/F7aaR5Lh2hshVNaGnButjemeKAyLFcqsS79MylZUN/l1dHFAlcxu7Po7IuMP9qllFiCsA8YHx+ZmSV4II0h3p8US/eHqkEN6m4HzEJC8gaJBlVXRq41E4lPzYYsTyp9n4sSwhzotIU+VMOoSftTMolyT2rRg9mY3qsh7pDzzAJ17m1I50+9/XTHViMT28RO/BkZOiAfpPxKxu5/i9yLe7CvJNWOsV8hm0njofFKkdY393K4M7GYZq9VWOdzm47pm9XHTdTUw8H0eITYrelEFCW8NafYXn49VfGRGJG/s3qwT6X739qgh+YDz0i128zK2dSd8YTYbfA5O9HxY0NewdEBlCvjNxgFsRieqFgYzOk7oAZ4I/6NsdOUOQ2y1LvXZidOucMoshRKBMzHwjYyoRQzloRvRvIzkbwgngIjQJmCvpMZPjV8Rh/g+4fLPbIiIVFtPbjpISmRhFSzOFylEomuFUrjrSkCvyGpmDeHdTBYtHVghQZNj+DKdFylqlEGtKepLT62l2RC+F6nq6Y70dod3zwHl906Yhbgmq6SlWs9+cPb0ZDpTK+80biz2almxAHChzA3vRm/3QinZwhz9mu8tjjZ8h3PWXgXPESw6+fWjzDe6UIb5z8rFhyn7feEnvvo89Etzj7A4TVw2GzFAp7X1fxfNnO0354Wjp41q01gsNS5esfIwtuuqZNsO2Iqxr3BNQyah/HZImUjvLtPbCDP2LmvCxLbErRU1IkYeI64azWQut1MJ1YFpaIxnNb2f095AOeeT0TTtvtRGLWC9D/cywAQ7H9SC7kDql7iMGCBdAwCEbgjOfL7n/QCKoVP9dUUT9+f+ayHSvO5+0SbdIMrcBUoDVzw+UWKYXeSIo/O/rc8ebY1h/TSJ+8Ff+qHFIb3Svtj/UJ0dNtPRd0ETdZX8/wOln4qJGfeO2w1/WFeIWiUM0pnhqxFwUYDzUzT/BpSq6aTZS27IIVkN6Uvuitt21JfVcNVrWjWeh/5AtWU60OgAjx0BaRNos0IUomru75J2ytA2/uEOBLNksLjoXvoYK2yGyqihnLzB/vqTsC1G8QIQRUBiDHzrgKaAi/3zmlL5esks939DYkeEmG0gXqOBPM7cZqgYsLzi/HYVfJiiGQcQvfvbIQiPB6y+4zQf3WRHahAmta9BhnSCw/ChvLH4Ey+er/2L4Vg10f1l+q8U13pLmR7SnwCPF9+5KSTTh+7C9apyVOO1dTfTCcNJe1TMWD1ZqOzJMRU+apYkhFsFpxjNYaMMYZxkNVcxnncLPrDPOpXGakSWbcChPt0MOlZvWiiMNGk6jEaMjwA079zLlUBu4x9pgV3ROdwhek3yQ2ftIZpe54ZS/HinybLz6tam1OCHrrtlxe1sP/lnb4ApRq2jfxhcZuaUpPlHBI4BveQapxgcMyW54KgoGpCJYitkLtz8lJ5dunAI0g/vtW+zNPV78zZ9heftoUuUZOCl+weiObCHC8eKA+CJsFvldMzhhGVL4Tx/Js/AWKl6SQX/EjNbjAiWL85CtLwLPgmSnTav2BV/bMAYsvnScAMx8NVsFY9LNoPL3GE2Ky6t2Y6MgwPkHVnIP+kvpzMvk6lJkodpWXsY84rtSGh7OHncVnRJJJ5y/wCmjw+6zDI8RJgGQsZrViKx4uWthEBwcXWL9GJcWIWzCSkOlVJFGMx84Tmyd01CvCiM+5bqulbBQlwPJOGW1OximpJcXBTDbf7tx1zjAkIP06O9IVivswteLVOSEKGibsqVddxf3xjC+VRMAVY+I1sGzjJny5jjE9yRLf9rNiuyE6F9GKhRphTZBVKcsLCfnpfBWcv1EnMga6YgaDnxrKQkB9D+ReTw3llE1zAGxfs2Uoc02WADFxhCDxFkUAeGB64u4Z7FEwl3jNHg63fJnYY7Di0u/e/Ev1KzrkgknKNirRHiW8hVF3lURekjWcDbOtlJ0ADEsuBF+Q2HA9Pst4mOZOLgxkZMqpKA8DCmd1yVYlBGXQJRe3p6AZ6gAtOWQepgmjktdLdQd1/hhe/IiTFS+HEGOBDAOhO5WQt3HozogGLpJNqF8WCbeVra7Nbbt2EdJ3OQz9fo3jE54lZHBORuaCg1PErSwZRbBo2eGP4gBjQ2vXjGtvIrBsgxon51G6rKGpucm08rXuszbjqK1f7x1SzYORYuxA2cStwlZ0LkDWsvA0n//zsxLDZybX4GhXT+a+2E6B7LncjPlwcFEn7sBCMSPTfh1b8Ydj0wBsGQ7aobvHAQ5Lm+0lE6AMvTHyJLjWf4I1wlCi1R6OfXVCqD7M41j59qzSEYuMWSrSjAsTLGcPRl9LYKhoc2PfcilXn1DR44C86S6ls//WiTa2GwYMQWkm3Z8UpYVUrtn2TAIzXmIEX+flZ/I9Nf+mvg9Re9Odtycp6+kzdteuU0jUWzX/eUdia1J0wMjzWDGw7Ml6/NJx5McsdCKLGgPLINHkK9SLzK+jtDExloWgznzkqz0CvBUiaapJlZSvh6wQ3UoU2l58S9Mc53S72pvRaYaKTVQyIOBnSGqlihVu/OJY6pjY+agkWV58kFF3u2hJHo1WpnbOXZkqZeGyqkTjyp/oi9oktd8fZrGzSh9youd88rgZok9fsciGv7FYI4L8ClHHx09vLVPL3yGm5jnKF3w+ttbgB8fHlW7Pe58HxutIfMHb7T/CNW38IIjAGGN1DZG74mwbcOBGvkcLjnTxKcM1o59R+ag+foZplVxv9J0y73I3XVkhnMjP5xzV+yYfmd423xtwy7NTvkOGNcza4nWV11sK9tUOkkBiZ20OB5WvIQnRqjh0i+amTRB9g2xK+37eZcN5ChJwjd+U3GC0xtLEBz3kb5pS42dHNjeBLhOo0AV0ct0bjDO+G+ggPeWWWB/5eqfOlZAk0hK5T53YTtyWnNjH9Fk0OZfJx04PfkInlVaILLqGyDJdaKRONCn12rY5zPxKoWg+8YwyfyBiUTKUJCA3AOTcU2OYAThNfblj+MsRmWeMsaRg9X4ZqpygVtfvwXZqsX20dOqU2W88lBcGFhV+5RvZPTgMz1fTaE/PP40wPtVKNeezk8lO2T20MAUwI2SlrfmwkyIAKwbtnK8UJeO2afnR/f2vj4gP74GioBcVa5ZMsML8npIf91hThD2Wsh67USVuJ3Dg1Bt+pOqYIVooKiCcvGyUWPQhLy6SfizzHbKakwmUeP9lviwtEMvVZO+5a/vU5JIErj5PFB3qEfCEiKTjF+u66rk2GU7Wh8xJ3UEi5z5nK2W3ERB81iHT11DUuLHTOt33ftF8QAzjFuxi0pHLZooPW6hIhD/upuBuRDRVYkBV/Ht7IKwO3jp3mfAVKUDOy14La2pwAD7DZAKt8h5YeGkOvS4BThmd912D/YWMN57Et0AJG9jmLK0ilg9uOe+1/PEPKCRlX5WYN6zS9rplC9gdlIMNrfHoaVOKJIl7G/O/xn6oQnDLB3iwVfL8gkfKwbETHnHe5woFDTwvbzE/rH6995o7huBHyCYICRH++yzP9lg0izVtGpYTnhIeWzpTmABQm7rtH938IhanIYaAAYFDV9eN3fQ2y6HRX/G5Q+UsLZQ4tE4S5pj38V73saToCGOgjVtY3JE8tvnohnSiA6a9XdGT9Mx3Xo+5/zfzpeanx7NIHU7vwIySMiJ/XblI3AeYVYRL/y5ydRuU1JimfITiu74id73+RJVsPL2tMezEgv9BdDx1STI7iDiIgkhE1Lw63AxR1YfMKNYyvB3ns0lk7EDUX/anEhuBQavBERTwA/j0Ys4jdQ1iT4+ZtnY68pg/jSFVWDI/MWogP3kYofi9iXIUqBvTmc8/ET4SK6Fb94ci2iy8ce0kCPHO3N33wUXNqA2yzuY7V75ivrBB6F9jvqF+YR1nxyTEMAmOkbH9TIZ+K0NQ02UEZUDijYI4toIusQGtKhjlElmDyowVCU63hreXfxvfXycEnFkt89PZNpiUT7FZf5Brfpbx/BzG6epTPCmDGol8hWFwfsJiEqX3DWZNnozuRzXAXd9v4HplylhIYOVlwYCjzHFttidmWeVMCWBgahH0Zeqb3Kbf+Ivm9rSjaSLNCKESUXdc3iX6UngPlgZeWEfqOrsr0Cm03E45Elw+VF3kT0ogq/Wre29X7KDihER5tjyzoI9BOqyHQ69q8V/1MjfktfMhiVfuDaxwtYkcDHL8ncwLbLe4VUKR/CIZRI2zB3X8VdZ7U3ADkUZY80AaAPhZmFDEPr9x3j1FUaZPRxnVNxCRnpW+Y5bRFn9HTxCbZNvSNvDe0jkJjaRsptOmpyQLlxc13+ZDCNuXK/uq5Mg1FImGrrkOA3EUxOc9AgyTYqvfzicdEAM3xs+i25wmiqRF3NFnAmDCg3fYUdwkpsBzho9tEZFnjFu35QmHBHLijr0TgwlyUvvaxlQHtQgSWvQHmOSZozpQ2WUsHJ1fbP+/E1IY97fz8c4RfKsPby6mt51KfAD0hnNJRSdOPb1tUfBH1dRf7bC9JEITOxcTwhclW2KPicsHNS1iMI9/tpP85ZDZFLhfEVfopMLjg92BTRMMXup4TDlCadlJq373ftuq1fEZTGyfpQ7H6zKdoP/PH1/1Dq4h1Rqwe0qph68DxjIRgPGo3IwdbTctiwyoEcSTQwa7Acm90EmTzYGDG8UpverSerbjKT1vL8nOhrx/5lpXvuety+RzDeC2LrLJQjYBjgfYShdG1KpF8FB1/j0PJsDS+PXqBnZrqBp8WMiQ9ftfi2N/0EXKOy0dPKoTyMMWSmVlPGpRpewaVdunZtdS+YeFn8+8wGnok37WyW1jSyJyJcR2/V8aqtsEHttFWyy3l7qGDhQYDGu4oNC8pjez+rzVUkxLm+ja22pc5o0Vi4so/t8OLORUUfF8bhxL5ScM//U2l8z39OJW+HDm/ydoDINkzYk2pcRYtC0YjMWLta360JLuLic7QzL+my7DXy+K9xiSdl16h/MK4pwUMhqcrE/Vh/fWSZLalTdsr90x9+yw9kIPXfG2sDzsuclwRBkYMbiT30Yfzgpkp9RSsMWF3r0ssTw1j0olHvI6b96gNCBvFgGRUlYTHSBcSc8EX8lmCrJUYux/mxgWYMHuej68W37ZEIGeS9p+bpsGoKf4Rx4op8H3EPIbv3yDqPc12YgI/9NE+LXY38ELiNtOnPLLefaxGe0XkM1dd6r2aegDN/IESWnJ0SYItMkpi+3uEQRjJpzUhIsR5u9QitlZkaCjMVTr/2nHyz4rtucL/h6BEwiC+PS7yoVhHs0lzrF/UPb1KQmm/XgGSLcS8C2XxPJgFsJQFIThR9VM2Winakdk0XPGgCaFwFT4Q1hDNsIfGSaJXeyT8nAYAulRplaEiyFuQ/X/Snf816CmgsD03L3738CZvIdrSIfZATfn+IGmimj7bCiLaOQVXoVWU9AiwPjKCwaZDGkFAV5uha+UDZNKJC7ES+J8cTfxWLU0ejQvkVkP4U2O817KZzOVEKoxPITA+1Tal/GTpO7CqFncNGTa/GbN+H0RoeVMObfivGpimMw5cDMX68JXzTvV581Hi/aWXc6xS0BAlJKenJgqULSF79n5EQghHHns0VRpV+TiIzoBeyyUB5T6pp4z4hTVzz9q9sDVuIvbBI4dKanxerMkwdR1piWvUrusAXCscIOnhEhl8QRIpjHpV9Eyy29W9md7wgAcjNRZfFK6QbuyL4zwoy6QVBMqcNoMbajNy/mTW765rIQLBk6NQlE8K7kkgIu/dnChy91Cj3k+E5ueJQkYiihEk9siZ0k2ILBshrAe8J3jvAWwEMnK5/DLV39aWchnKiBFbmwUHY+G1BIfqXT8WPysHtC5/wJzVF6q1wYnKBCbuGMVW22eg+CJJSPbZKCu6I9GE7oiueeKAkujtovh3T2GfzDUnbz1ASakfUmlghW2ONomI0+62xv13r5pDg5srAz/33dhDRz/4aV4hiXaHlM9wspOwitA/9rVBFv9obvVFId6Gj65Nq+JgniC3KSKELySLmaexR9b7kq67MTjOdtGEsBVxcycHa0yVcNVybPIeQdvIKjPDri9FnZS2tbIvvYCojBiYr7jB0RlrJGyWr6vVLbn4BanvgZkxBZgamXDCDrfgN6+qNrqUb9TfneQgG5cOrflLGSClh4Rz5zdK09wyc+iN0SbOKBHzXfagYwxspyRZKnGcdDLzkfhC28cgRR5gbZMdusG0FaSqTdO4Qy2g92XzOL/nIYmH/1gX5qXb47LQqI7lGJeHMyRk04SK/WKTKarNNQou0XjzLb3BKUnLsNSFK9fMb1WdIJVKOBxAnS2kJScYU//H1rGIlL1uKVN7YZpzSM6ebSnert3sy72HNRWfIq0TPAk8AJUi0gl8h872jGfKHNoFsnNg/lnXxpzdJTdVUTWU2BXf5h6EXjatU/EPj4tbWSvg0g+voaLuYPc0AJbDST+N/pMspRSxc6j3HnXeTXrKc/yTAPEu5UXHYTLdRwzetTbI3kRmvxAEgJULeuqDJx2dOa6QtAay9A4gVc8DVa1AFjMb1Bb20HiLe4c+d0LsqBu2XNoHeiSZd2TXGWlG8/S9NKa9yoqS0VhfwJEzCj6GPg6hW3Pju5y2srmNit+0r+dtrYwAVOt710BHmYJN438JW/BeMr67uGH9tPWy8aVZ/3voJ3J0YJoFzyuGd/WNTmGPBUfmc7mrUs+ymUS5FeoAeFo5aEWjMf485szfj4qxjw+Cx/wOpQiG1suD6N1F9WZQJ/U3VwOnjpENKicfg8f1NI+BUI1zFsgY3rnj/osCLelfyp24s2ggOfvNp+XIqRfVEqgI6ZNI1U5TnxzKXKdtCr0MtHfKjPFfR2g3Lh4Bxgk+0huVZeO1W1Cn/rm1cUBefX85Ww2GHt7CV3wOYXGpGcXO71ldje1Z6xHDvbuZyrc/C540L3XeENnAhn2a/e6EhDly8rdRipmYeUA1t3/PoIebjsM/DGTC2d1aj6jXHQ8/eLRyX3SeFfwgRw5PkPyB9MFtwzplxXwGCH12x7pE0NOGe1IEAtl6P8CB8/DPDVPpSMjlJrNrOgVuHC7gssm+eng09Zym51kVHlPnu44HaRN/lSn94aiZcf9p8G0WaOc64Qvkpo1lQiesEyz7CSM9f+CSeeqxGjA5u/rLeXEvA4pSwGgA4X6B22++WtzRbpU2RKktXiUaTWLyII1SjyubKiaZpYDvgN+p8jh5uo3Q/cOGG2OjuhFawoHKy6GkekjoQIZKqfyMgQ+dzWyJHXdKH95u15Rt80NOWkbpUAchNJq+rix5TrqZo2fWHF08NhDoZuVOK/b3XFOMXgLC99qF0INjKYB6a3VZuk0MOPmWjNR757GTRLLy+94y5uWMwFa8bLyj6J08vIOaX2lrj2DBtekSXDT1AageBbV5G+BkeYmTjcLHeJ1LruMqGgCTwRyp0q92PuGytCG9z2kctj8ZLYfdzFy5RgPs2HpdfFcmfso5g+unNsvb4Tp/uYrQDEVdjKLGwFKSRzubqF3kUNtZe17Ln/LcMu7rgVIWx1B0FPHRu6YWG1TJ/CjGXxJI02+85MQOcvblQHn9GhedjWJHrkBNv1WJxRGGf/Q3t5ofOmhq2JdlBOR4r19yLsbJS9lpNUD0w4tqrIHQ10b92wdIZ4+eiGBzcYCus1MaEzZEkAgPRQJsIwPUzn5vl5cenIN2rDB9nyq1JWbKZeqpdMxLph5dzE5kKvLTWCaQs/KIoeYO57yXN0Cgbm+El/3YUr2F07vREcn1En9mpZL6qXWvL6cMtCytutwKIcs/uO1Zi33V1tGr+lemncapFpg8Uvv9iwBw6JK1vgsqi32/Y7DMVngDFqopqpx3Jlm4eiWCoZJYAZL1EZ3lXDptvi2aXP3r9uonXgIb+CwSrBgJSFsrTEvCBIt/gmG9w5BPaOz8nHLPbNkr3TAOhyi6/pVSsSsqAhtNoUjkDYCo0fnbSqPlps5dwhGo372ZaCCTYTFFOV7kTpdKHZhUO8X+Oy3r6KOkTcSlBRAYpvii7Taj1/ps8S4EdR9izP8FCQrL21we2KQD9Bj/b1grO93WYXVk6VYNzmQu6GBqkRB41l89/CJ7x3MgeM3ZG5VyDWmCOEIkPR0IE8Cpxtj4R6xrl3CM7eHVmd45bgM8pWDDuOh7QC49irJTCGIuyOD4U8ETkDN9CYILGPHCIaXO0O5aGdH5g1zYwzgZpbgRXRn+fE0/kI6VyN+L/n8ThXaU8guSDe2CknxBXQ52PFnJ/GyE9Eey6S1U5k7wBrhR+UoQLPTG5uJw7vdKnPc0H72chmXRENJSjoXZurbx1kr+6HToiSyM43MxPlzhFODtrLK0sN58UiVrHBZQbRlwUEZ5mP9FgPFLxwFl3GFYXfJD0JoQh6t7inR+AhxyvmXGU8o0NgksKfQj1HR9MNsDt3r+5zvS4i40xKBhTnw53p2Ua/Z/CGfwStVygAwb4ASXL+iOx50WTWYIxTZQ+G0TAXwis1T4KJj4+/R1qpR1cX3WgobHUhFqxGDO1GQ0ajQXg4NPMvsqH9wSaIPFF50Dobwfw8/uzvdNjnd+Jb9nhyszdaOpx24+a8rPq6Bqf4z9ZyID0y14NKPIqYHvOEvTKciR5KmZCePcP0uoeWr81QcnRSw+f3OBWUbSUaybFwriUQABmwVzs7hJALEZN3khI/1TtdGF0vpwK6yBhGzsOGRBlG/lW+NAt/smD8UYtzP3z/a/ED+oKJ4UIpka5aHpLuZJg5QK6sUYNAgBc0Yhyb+SCZaOm7evMB7rCpn3ycrOcxXHWssYH7NemEnPDY24ygxiA7D6z35Iq6+3kzJKZDHxkwDdAVs4bL59IZnPjdP3InH0vC15cIUTTLD54Nz7b+5UnbzojnKeIMLIKDuOGnPcobtCQLWSjQ+JjRv3rUOVxoiohk/OTduEHwc7A78dxWBkbs4s0ofyt1MA4rBdmsJOPFJiuXv5QJ3iXF80Gg3wnp7RCc7pn4+XCH+pnI2v6nM7ZwLc4+FJTkmDmTpgDpAOdAdXWdFGHwnOl2TgbD5k1Qwd+4LmEEjhLXTWqvMLwF2mrAPlGIkldSGCa+wfGS+dRgKS8lLEA8kDfxcoItjMDUFP2JZ6jfBHRy7TPSshfzgTo56/42E7SHk8X5vn6UHsUbLyJbpkvN3nuuAdOO4lGIvq0SjGRwU9X7AfxW8dzlLlhXj580FG0IUHrXomBoCEd9xW4CZt0hc5YdNN3moMwgoxDIGSPEUYOgTvF54AT94EeaYAk8qkEDdePRA7ZBB3sfgKDwhp63KTT1ljLx7LaXCiK0fvBX6oOVgbFxjgd6vEiXsmYovaK7Fc2xMh9J5rKfdv8WLFPStbomRsiCz0Mg4bNCI6eeLqdVieGa1q7oB4/CqHLb4iI9b3GmTKYvOuj0WHdmWYUnCkw0iIy865ohveW21j2bXAN/2V05WT8Yp+EEGCwdrZuzLE0ADxIeo5Ra3HFCCtB+IeXW5Y1Y30/zGVHuUuhaoT3i9u2zvNx2p9QcZF8BTMfOqwxV2zGaT0cNjKOKrA1p2yZ1apbot8xBwGRRBr/1EGGj6WncalGEyjc4hFv8+WdoSNxLdYEKzrNKY9cdXn/fkyTEoDU/s8abjVc03FoukA4YDUZqSR0O7KyIrXu1VRu8deMxpD5sM0wpzliPZNiJyxfYd+e3KDRFVSUGrO9xJfn8xsKRIonbDp6IkNWu6HW8S2pBkHRTBGRLhkwcSR7EdCaRZTpkwTvAOpdIKwXPa430g7UM/ui/lhzZMOpSWo9hIcw8qVaLTTAa+cqC8gcX2IRkyQJ+11UajTJim1wRT/mBaJu2usphQRdX5k4QpK5aSVlvG5sZRf0vhdeiQMBvsuLx66jmM/uUXfL2LoiFAY705pecCKkdL2M4Xccqx1+ZBxNWLhI+teBnU7e+Vda7DB/O7wz0Dmux4iw8WeByI4t4/Av+Ni/mJuXPc+Ag8W12U7OWHDgWPAaqs3cWLHlWNVjKdqfOHuK+zxl/SmhgFM9uS+Gm1Lw3etVYYLkIJEYky4EBTNfkKH7+KL4eKq+C32fY7sRrgo5DDjDwZqmT6iAnLMP9jbI4DvC1Z/OXw+X6GVKBp8UZbsY9jUNTizApyxUhoSRlEj7y65BUZHkYm89vKHiHYUYqFI9zQtTLtgf5UJuolCsyirViwkVqyxSIyjF53ftZiOl+3bgTU+kC4nJC/+uC1Gij1LRPprpjeTZypHsyKJLZBN9UwetVK1Xou1qZpq/ZXTJaYPHXC5PxYBS1dvVQxN5S+naHrBcVOQywYF1hP0T6BgZn4Sj3Tt4K++Mw0aQqPy7tIO+Y0PIGFrGh6X/9C9mlcgZupQmFPFjLPOg0etQkhcp9lDfYBzGPSlD0cOODeiiUUJni/Glgd+7m5rqC24RKU/DBORA/FfnlZ4JsMPgAe3aED1c6NQfdBs032W6giS6fpmsmhMA/1Jj0AHhmPMXyr/0bWsDMZjYE1lyT7L369XIefKsCze+R61jE1Hh3EC8VWopFxS+AZ0bOv4HKRoy6tFR3zCtaneYIO3vF7+PGN6Qv2upnoAi92ZJnyWGfzF6H5QbLYgubfZQBx2CaCUK/McknqnN1GyAd9NbnUq/lxYzqEzcImqWukv7VhtfvS62TxEWbjVS/IS6MgkxThMDQXXazKTub/xr42HZOIhZZSHLOHP1orAmMXo6mF8aO8JbcK17yubFjLkHwn8wVcO0U+rHJeO1SEJlTDnasLeQhjsoNIVEfBoSiab3SCh/zCt6qihBcTtrp/njL6gj25VKpPyqCTeiTqTkX1M6fe5XTQRJs54NKeEbt65OBh0cB2OZOL3nS9YIrKt01+APt1i5nb+2lUnIhWn2lTNIP4U0XQeVJjjngD58wcDTJgWu31WJpwvMRPe22cZG27HCFyXm7J1H6EmaubDqZWddOPpgMXHyaUL8iWJPtG90GWfFpIo/6/NSvyRsWqeE/nJK6UdhTqvVJ4xU+vTdDjs6RjFaDaXSTKI/qlaa/z0RwLBjXoghj38bjmCVxu2UVwo3cHM3rEn4dUhEjMeAtqVDR+rRyxtWj3yhZjQI6rA89CGL1Cl3ltPkL+ovzzL+RzLgmx3Hh143LNB3uIX8R518X4oZ+zJeoGOayXtRctkMWeN++TiWkaGXGbrisReDeCnWtQ+B/cbwHhIbNZacGVEMpbr9nuaFCiWXBaNO3gkyRMuvwe7yKIp9G3nVzRd5ef1oOe9TL3f58MbDPEMJ0trXxPVas2YoU4SxugZA/EQtnJqL6d+hh6ZYg+EGO/kKn+6nwMvFwuVVV9cjy/op0HK9BRFDWiNK0xh3vdnk4lxHwZCmcaMtDrZ4R4EMCruWyXDeFpDr90Ee32nUJnK19ysVBLHbdyYrDUnK1MipNNlxnCtT3zTHHxNF0d4PMTXTXiWwDPXe0+NTrvLzNFFkehib+f9v7nO0UsvpAkIl0O3uS6oDbubNyGayW3hNtPkbHpN6b2+6FUlCvzJMh/gPUGmGJi6xzmrnte/ZMx3LT1leCnDufMP3P/zLHY/pNv0wLpNW5H1fJP+DEPrtaQ33qwuS1eZGZS13OjPu9yuls8mkNauy/PUJkbSOWV9VTjnLJ+fZSJdvBQ1DCCprdZDqla0rEJTRAwWr4hLQK2n/zuMfkwXx6kTEesa4EwjgRbipcu6Eo/ndojOAFlTtCGDqOaLd3UIJwdsmh3brrDxQo6Kz44rbKx5TzAsm6/JQ9J2VilM60ei+/XwpzA6EJNB5TeN/Pv7aKDwiLrYMd6htnubQxPJB3y/yVz5gikiigC7UfMzviwUk4/fyQ+r/o5IehCSpJeIEZrkg3WSPmWkyOL7coUllN+kHXaeyHWJkckWJOLblxxzb5HHfCA1mVWIdWcj6ZJDVn2nlQOCSVcZrMii217789B70eL5KppJQqn6QvjKRVN4gYo9uEdyGsJrGtiHbG3/q8QjStjQR4rUApLcBf/j43i77G95hNIcvqEuCPYD2Ut+2YyyC87/AcWE8kZYSanwEoDn753Ons0cCROMwaYOqZGswTFDGa5SXeMciFQ6MTKADq7Oa/FiuhKnUZJnixL/YAaK3NAGP/Bfo+Q5VX5i7iv7kYXcHGzboM1nKQLG6qDPo8Qrs+wfUBOi+azVINb3oEuLJ7GfVM3QqPxgCJRnrUyKVyU86PdBnzI4zT41WfYpPGdCqTnLIGnpsskohywG0XUY1aOV7FR2/AGyhPs3jvEWONq8GcsN8VSUR1KQGKTASS9UV27dR/DAK5G0v63mjEcQFvnN6GxQ4KZmtyjWreOec8GVhD+uLkvoUoiN/1eM4qS6umVVBFHvBIjkfp2nnI+MXLR7i7ySY1IuUtWtNbRfSOeVbFVzA+pWsdlGlaJyt3xbKRo9K0s3vZCSGVtsZVY4JvZe8KfoY0EA7v52ugthNy4yOMhf3euJGBDQ6Y3HH/f7CTHhTRm/OfDkr+JgovFe2FJEa18Hu2oNEwwpDB/57IdJqOBzSLxXg4iTxAsHRxq/adFE9vOtmv7B7WL7Yme1i8NbGqXb51lJYAkEYp1YkaY2b5tqownrl2KHA6+TxYdQFjQptE1kwpvqzpnIgLIVmzDRiYyaV+Kf0Ii0snrYgDS//Ta1vHHupm23+DBaK0/UhBUWuFK6syjIEhB6wrGQ6LaehZ0R3EizSR3LQ1GRGTkt1ChLcL6TtbcfiP2cXrNXUMOO0+S8PV5hh9h471kpWHlYZzSwA340aa5zw9+2N3oaOtJ7jIehPECVjyXzNaduuEafnwD5Tl4vLyZFA1ZRZn1kL/3Bh362mFax5M8hRJ99TxH4hN2rX/7lkBcA6jNA4i+yVjNSU92sJhtRMTXxsCZpu+EhV3vD8gsvOMKCUO5pa5sVbsYV4hFpMc+4sj/oejuRG4YrDtCMU3AYG+g4L9vUentI1HiVw17oJdSUY9yG5X2/lWJXNyQPCDI+rZ+YPeknkn2+egiz+oGRF+YJcLmPh5FCrd7B4c3ekGkJbjjHsbT951e/KIwLl6Q3tS8Fk0pVl10Y/5/uxNyRgQQyU4Kng7dYA0oStpTHjkWyylzaObWszAUNX8bJj9En58b9m9RE6x4+d5XGBvT+Utuhx4XVL6Zo5HcjSYWQlcoi9yxj4dXKSJCRI/Ee4jGGeaG34T2HR2UNf+yjq8Whl59pv0in2eNnvrZl2g9g6CGgzhBgC0e3l7SSHLbXVdO9xHJeMEOqD/d2wv7qH0Rnhrfb30g3GuZV7Oy59ClxKY+EDffUMQBGPT38a0+DpxSGSyBjND0b5tF7GqxgW+Y0P5r1iSS44YUL7v1oBg/V0WjoiUiI8aB3GAkgJDv7giBL51c1JVxhaA8CvTRf5cWr+i0tk4veB9T0KEuynbbZR3s01Tur6tQfqs56n2D6tmmGaEojtp7zvva+e43a2QzivW4lMwr3dbwHr4DHxqckh3G5gkU0SKNUf+lmRL3ft3lhcOwKHBIefBItU9goz2a35ZfmmKHlLyMTnL/jTpAzgLukI60TILGozlFRaitSeXPFdUNaYe0hUS3cilmScROf4gCqePW2QNIBIjZREiVRvdtwq0MDe6Y8YvQLmg35c9RvkA6rOcfnOGEDdSx16bIZuruaJx2+dY3HktuKP7+1ZYxbgb1XWmLkPtbUNfsqicM+3OqDi8caHAqtkoXTATHMV0KCRtbz+M/PTRSzav19XZjcbZbzBglYIWB8Fzu/mgu362zmt9o308IhoseFaYPGJ+tps5XBrWaz0w/RbfIQ0jRxC5BG1QYujNdKyDV8fI/yfhejKFk0Wg6EVl9WHqgUSZKhL2z2zBiBm1y/qhrJ07KWf9qMj+zfiDyT56rnOOU1tfaT3gRZtMr4m6FM/J3wEdg6pLUAAKJB9EgsHM3l9iU4XWa5/KM3Fn5NNeVowp8cjo2F5dpDfwfFnhYvsk9xptUEcN7j02MEB32tJHJB4/L0oz822mjq3YARfEfYlQ1s4S7W1H4h6h9n6KTWTBVqHNAkYZdwuzSpNO4Ww4Tz16B1CQHafHf5mfPm9FM1axem56F/zjahJMNCdBEQZqNmrwqysAUubaUn0PekEKcAbzbDz81RPfGUzknZ7f+TqfYffzFj8mD1yI2zrK9rBN1MdCgLuXgvUsjzr7K8MZJ53XmzTnq66WFLDYm4RAwoPk19qfNW9991p5weMqvs4pCPBD2rAyYYEP0ZqlQKQxtL+0wXxs7H7jo7ujditPU6HBo5BiKrJIAqSkM++HPCqTCBXHLyymWo37A3Jstv6Oo6a29PtE1XOmneF8HUV7R5Z2DLt56f+Bv2/ItpVdI+88NAy6uaxT6268fzmQhUWF9FSorZQlQ+tsm3T+xbOAUXFdy+J9TyouV9S+miPSGBXH03csxM8kl2JZVjohvTBoMwa1NE35g/Pg6alIHIkq75iVZGy2eradRGZUmIcYAYis/0VW6T8YJ5bTTW8wN0hwUifhq5O6/zagUghlh4QdDhRhC2BI0Vv5ZUQ7NkBAbwUFPIt1QnEFx1ejo2PsHeLxAInN+2cR2m6ZzftswJqAhku+tpUgoP42x3p4+hycf1MEutfiEURvJOVwQzDIN/vDz9j/XH94GR+cIH7WSKtSjjgLLKJx+8eBWKphRXML5qqjOL5SI56BlE/l2EUAcX5diVPiO4t8t8A8x1HMRqU/JJOC5p76wZQakiwhqTYpyr/JUCYlVSFOe7eRtfNwHIZqpYwmrlLJjjo82FkD3wJcUmJcGoSkThpNtmoEV88x92OxZ8ZapWmYgx1dUa8DFAbKdPWTJ8+CYqfO+1njZI/FGh88yVQiIaXVJRYfUHBa1tRkrrUXRYpXWmahAy8S8VP/bCFVhaFWuaPbQ32a81o5Twiu9XJWXIQAOWrgAZYxEgJnM7s03wzq5FWXInkfMuau8nnhPtg3da455PrEf1awmj9/Twta5D9fJDwYjKur+r0jfoB+h3FwcUKOiVnvQDkxES2Pd1SJ+s84yFs8t7bqo0c0EIHQqMW2XaozKyHyYunSK/nCIkgdZahkF5yimn4DyQwjc4CQ4M4Ic+T8SsBrmoJSZgwwi015KKh+L7uELXIBxqKYOejlMQCL0N4+jLbZnASeTGc9EE1H/D4U6xzmUeLxrETOklDT2jt7HmTU6zNW11Bh+7VUuIi9WJzz9I1CyqsNTQfetDYGfKvnDGm1CB4NX9cJRk5OyJElkD0/PZYD1u3nQuXKvVtP/p0WSZ2gynofVKFbBVMSIq97HtpjYBA36EVKFvCiMI0VGM+Uyemz4JwzkKRbEcLpvH1/tcPDBpBmKzAcM4Bh8vqItI10yZNa8x/zP0C35siToo4VnQ+NfGe25vySWFa256BdQIzREWztVMZaqO03av3UE1n0Zu2AyN9fsgOoRMNVZy/CuQXhnp3vOuk+q/PEZZKQ0SQjnJFd6zyFWONSyQyoQgMqB1dhKAUZjWmSZg3QHtJxOSFbdrZ5oHgC6W12hjavn4wkVn0F3kjimFsi6WKErG64XlpL6y3znyr9fbcmw0KS2IDU0WMtr8KN2oeqACYRI7QCPMIDFmjNWJ7wuCAEQaGD74WvZbfQCVgusnkIvp1kLAzAw3e4RUSHG/eoKw8zBn1vpwxI7Rwdxc8SNh3zL/m+KshyyqKllIAjSuDXkOxbQAF1aaFr1ZowrRjIf7B+vWj8ITVyiJ9+uCkVXfxdQ4/71r+bnTYCp2fV6OcX8i1pBkRDarKQxfKZ5XZV0YLIlvyMm02AqdE9kjdsfjbFjQKEC0hw9vsAs3Bzmdq7J3+XvodV9y2zjXRo4x5BG9iGzizLRdp2WFaALf44T/TVD1RHpNTXCX/O5YOU5KUMc2vSZScV3bmHC2y9vyNQwhFOhK7p7bsSYqa/C/EQAoaKndJeSBNjFGR30dhKOy+z2/CmgU7qKivRxlXo3fyQWBcQpZcOiNHzTgHoYNbWvw1er7YGhm7jiNqSvaf+4lsM7GrRcnBOc1HdcYGYWl7LwomWHWmQ0Pn+AcFpJ5ovB/yuGv5jsbpZU3PowsU9/aFM8xc4W9NJobDQdf77IDsZ0G3w1lkUp012uGQPcQ3hAeiJA9e8Ub42WHydH8By0VOuQRVBrtFl53Cs6e35N3lNhufoW04sVw0u9Oa4HFYdaYPgQIzNdXh+UvS7eI6lrTK6aPYs0pXhuHG+JYZKAJhlRsyZrCJ7j+uwOas5auy+biIxaWV4FxBQFEHO0mKfDGsIWKwiQg97YoPUkZBecpKQ/7qrTq3PraYKnUAUoI+zTE3j6cF191YBUmVsZH7+RhPN/3RzgWCvLcHAB2ylWHtmKwwTM3rbyn6sQNhJgQTIHnvmqBEByH+piwExeV7XzHj236AYj4yrUbSHeXGqzyWhJ7haX3nivLqN/Hv+0NAkrvT57WXS2oCEO0RE3mRd241frjnbGXSvs5rvtkXKACLWffkx050GojBnkX5hyhSMW1WmeilRl/vwizguJo5VsIP5fYgMQmVq58+TTZBiKf2oXDZ88fIT5+mfjjCWPxThJxPCNik46wUIRhVWlTDaXroeSrEbmHVY3ZhAglFoasXO5dtSXR7GqIkdl2YFgUMGY4t3w0oXjtwZHuMqrtoDvR4HGngz40bCsQnjZEFgtAd4RLH+p0W39EDV3aMufVJnYUur8lxwZQzYyuseJT78YVFBUTgj6wcGHKdsnQRvXdH9GVQKp+w1EvjUDcKzXJZ34h8CA5bHB+QL7pxoX1f+ArldXz9HyWxBpNX/KlD2uBRJnx0utiZHlsshuq4NTeEZqV572Y1coDgnBBOvy2ybf32ppjmdtPxJnOVmAnPEEpxPVMB93svyaRyXW6FnDqNgGcP6DyK7EsJlfE/w8MkcKjONNt+qc25Q8k9rk7gNkhE1BpgGv13UB08C5aGSEdMAyFcQgpUTZYPODhZVdGfyUzVqsXqi3QGqPx0tZCaDYOVoJapbLUGzjle9yLAEOFOZAJKdRYh1/+Bevo4xV0JXm67L4ciZ2WOYJrmF7Tq+8JdR190wPnFWmSQQAetEDfPyE8QmjaZXkEb506yDazwcV1YPAXsuvp/wspyypV8DMf78pI/mlSPce9oIQFtK3dRyxIxcFWutQYiT6nWQz75AZ5sXs73wkRVCR6+Gn0Sp/zxiqsXLeVdlkRQc2D/LkdnknkQguH8E0W7uKBEaYjWU6HUk1sODCzs2XvvzDqhyqin3CbONBK/6FCWSJEM9cLg+IWqgPIdzYap5qWHJo33Bb97QYO8cMoC6OUmMx8Licgr2llZ9VK1RN2w2x1BNgmPn75KVn3KpjymZZZc7CYs8HC/VuPApzAbT1fgSY8GcTziIOnVdUCM/6SzQ/i4xKpzPbSrqX2sKiWhETWQ5IDfRAgVMOuTb6NR9LWxSXH88qy05st+64MJZa93jmeil7xDczo5KiTFMcBozpA5ZcgTCebaItheu5K8iMenByI2ZaSCdLeBZcym9Tc4HDfqTAg5l2ZO5XI99O6ohgOsBQ/nXt9ML/iNYUIcX7eWw+OifUlJdJLfmwEdwONB69eTp1CfH0qf55OReEe/s5IF/is8gWEznvJe1kncej65DjJ4kIdjD2yGPP49JAxh8rvB2surLWvY/0iNEq/XEQg7fALEn0TYZpyctyCI5Q9QfgqKN3Pj3J0+YoMT553cSzXqON4t1TbFY3wWoQmJZcXfArcXQp1Eh2Kk2HBCco8cSx0azoXB50WQhrcvsGn0nUGvZkNrVss4TYgJmbKvEh++wux6UnfLWb/XmPadk4zLzZ/2G/wP47dSTyhjaHGGa/W84Ar+1naRCTsD+DkbU3NNszuTUpPoHwR1lTTE/1BfVPDiKUSvxzCoMgqJE31lM5Gvdjt2uNAnjC8fSfiSg7ry6lLst+7mPW75+pIszKhv5EwaKgFAfphDLcs5CtGUzYAai3fR0qFuh5umCZHufaWkJ82abyY+HCV65uFTj6GnnCT+V3imN4I2bRDDKR2mVQcddTwqQrIY/CJTmbzPhn1SfClZRMvBbq2laFu9E5cpjYEN5GKY7nrF83Zmknnig9B4dv5PT2gjpUBBDUgVQfxmlhu13RE1Ypek5sAV7IoOWZesjHxOFGCRX7JtgZvEV8V7iByFS3J/LEk9o9vjbtygdP4+3lqsZwlKV6XTdHBH7YH7c+qJ5G7MXotc6DXf8gbHvTWKb9Ro7w0jsYSdbk8rTJjInKsI7NQZLAw1scDbNRtRIuNxCEoMet9p2sg65WZrdF3xuASPG+7DM+LY0kWrgFD/HgMuXLnZYrpC3vkySyCbGdrdmhbXrf0KowZa2c6HwyfnhCmLSxo4SjkCc0g9Rs9Jx6GgzD/wcf70wcNHwT46kxq1JJOQdClSnck84zySHxKIwexTl/B22x6Q7eJZ+TmFsp1WZzgIdD6+wnW7wzjZbjMaFGpRf4vNbQafdneFDhxLvWpN0C2wcjCRGQdp4Da6e7KQ3BIfMoWFdy4WUXoWHvc9dOA6MkOTxHuUIE4SGGRo7Z9ebJ1hL28pV5mu3hgOz4W6hIUc078hd8KeReV69GoiOG83KZSC58XzdGG7XyDXbgHWea9TRR7sfMgp8qbT/Be/3CSLp+l36+KP7mYJSEbthMZEhvRfrtcvuA2LVZPYo1FAZ4RUEmD9VmYAff+youiTiHEWgwjUpdQHqrTDmoR4m2o8Wql6pv9VDAM/4UBz7IzyYj9fRuv42UdaK92i6sjP6+K7S74CuX/RhpLeu2AArNn9oXMobbv2EqtLQd7I6CNkxVHQ/RXv60ABpIMtDwTmjoawmcfQMkiUJTFKJy/LamAhmiYHnzY0Yfpp8AwlErP2hCnih0gUZ5Oe/JMkXKZHWRh0SxsgoQfQ/uCWtVcMgWPjTIi/GrBX8E2xnsU3OiyOWx4xOU6wN6XYKjdqCrxhcY/e5LUBe5fAm0J7ossgFsPhdA23Y5cHGVK2Ulla/etpku+UaXr/GKojMVEzxnAuP/g34MMzEFswSbjNzN4tSeIiMORHkoW6zF85yUIEhEoh1yD+JWkIz39v9S3RguKpwotg0lMkHi74gGJoZOCLoo3rkgqxVjawRHuOZGUTHcDZv2fUJgCbmJdDII4fA6czZv7jIvzfmCBYXIw8NiXXwGHWrMzM1IS2WrmJM00AdSS0nih0rUORizSx0CpofaNEJUIrs2VGKjlq7+Q1e91tHL4pYfuIUfsztlEDZ6GYvXrDra5qJ/nMevdXSK+A124+KYqO+JQOeJraKnMu+DSLBvXWReFCfbRZm3poTG/JH/H1fkhFvtisn+o0kph2FyxbJ1JVEM0p48cBdS2PdEqVa0hkJZBZULsKyQsCRfK5qC8GomqaB4jCjF6N/nEjv234u3Asj+dznlxDJQbVp7F2SHzIXb/7YCt0UyY+AReonrsb5SrlzP+iZ31C9kLFExf0PQ7XaHEJTodG/j81WOMk/NUOTILs/zegQNMWBhRqODVxps6sCRbkpkOBXLID95F0FDo9eAw8QyeeeLmKy6qSru6lVRD++F4nLXy+ePBzszUtbp7u8UDzdGA1zbbpCzeWaPmaUrUZq2nmGM5+v5Bg4EIYaxJONwV/vLzGtuvkqFP8hc1jXHbqXaD1dLEUD9eg+LW9nadxvrJkdrG1ykgktBylyP3Rlpt1D1wzSL8EL56rYsYLTLq1sq+wKOYOUoo3Tg+j/3YmBai1qTd4737hxUDMR1eaxMEnMp16n04KvbuDv6o2qPb9SPO9Dd7iVHpcGaoYyYhpasg6FPdBbsNvoYMkysxZw1LvoVGvqqaJMVkQ45vj/lFa+3/0aLg7xxTgFKK2bBGuw1bkgtszatCoklefNAJRcyh2IE1bOpWhyYbiU79sA7mfC/EpEpMC5iktBB0kB2VVWfS2ATv/iog1FsVyyKfHkED329NrxzpVqjmPYuNB5euCSFisOV4638I0+PPE7SUYtjH+9iJV+f6hTru8CrsdJE6ZqoRkj/MF6fWreFKY33XNn+jRKTFasZQ3bL91CPbsfUyYn+KBmMUsh22CEnmI08oYjZVLiMO6Br3eWlu7cKTgP5LUsFeflxPTCiPiTy/sIj056157PnnP3JrDKmILdVkZdf5fl7RDyBpClo/c1aqZ6vGkK0nIN/3nMaiyphYTeq5racJby04PbWVrEJWqtGpwaSSQA6wLhbMPuFUg2XAwo/tRW+toa20euY8MEaqWvAvogr/2x4h7/YQsYpVBzl5xQFzn7uhAT4yRD/ROXVwkj5BAGt/nLX5GAnV+Kyw6P5iGL8e0Wz5EiDvLIDtEY0u01UtuEnUcwjFWRRlIM0eWBuDJEhU7I/C8kRumWso4/yziHGYSd+KOuQjnHGjP+Dp1UhspxhtjJp0xWEurdGxZZYr0uo01tES29SJwSepZfErR607TV68jitCCT5hIBMNF1mqZq4garBOhuUR70d6rTJ1ogFc6TlRMScze9lo7Sbs3dcRnPdFxQpw8yG1TX/eKzPQVGUBJi6A85Vszytdz4ihyNqb26BkvURyZ5MIqbgZVAJphkA9BpvAoX/MHgq/qHs4XcdY+ZKMZg5sd2EQkrp+zP//d8kqv/pOZlWLQUOB+X/MyDFnD3z1a5iBa6Wr2Vj2JekF2baf9BX/UFnUqN44vEhQl8qigY6Q4/pTvDgGJ6KtQ+0imEgC62bn2FhVBvyG+YTMC7ra9jIbZlrxzf07nEgzpP7ioL7g35MzKvSTWN6knzcUD3n8GZAaYLZc9gOqiF0YB5/qId1jZtO5tB6tjHkWqUvaVy6rLG3x5S7/vU4m2KRcR38ANKVGwRFrN8+n1Mh1JynquyhJQ/H3d3Dg0/W32YgP6YpJtIGrmT1wMW8gtONPveuCPkIn2kg7e3GnJSZas4v6nbAxSOzM1qIV6egPTB1r+I8IQKwfLL4Bw3BPUic9g4HntJtFBJ6zwYI4IHIVYhLfDbVKRw9Br2NEpfpBRKvZGUO8SkOyirj93S6z9fthn1t6G8HLvCUGgIEmoT6KYTAL+esPABgPS419v7670IGzs5nsMsvS6Lw5jNhGF37wUcNLkp80gT8lzSEvA5mMEYt5NHf10VaiK5wn4t8Jr80B0RTZfm9/lHvG/hQlTmQceGBEuZnTqJyK/2JtC7S0RDJq7aT6f/THSQQ9F6ldqpkk+LrWScKijKPsaiJqcwMlgb/Ni3rG979GzGb4ai3lA74+3UU3ZnCC2h7TCWIZ/8GZ5daESBN5/XTW1jEhgWSREjAJ9q7UGY002yE5pOTRCfzl9OuY1/lmrT7OEdq3rZ3ShP17Z/sdl6kDcxU4+3UQBreitAfqxQIKbPAGg+K8UdbM9sey9/R+eefg9KRin+fNpHBYl31XFNB3Lu+PewC9Zu1+FSNEdXJuJAn5LOKCuL0sZmdKPZ0pWsrQdFPDXZjzUrSj2sXyf451KLyXOiavZySQpV07jsckjoK+vygZ6s+GThbinMw5l1TDAFFw6Qmd+FpguMTo790gbSY9i4/ntlGI3WwQh3zGPWED/YdP915Jy8bbFC8l1QaSL/L8o8tkHgUEpWFJFmewfwhdC1D0KFtH42zT/xraAUrnPuBYiBcdIhaEM8j/QiWIMbGlh7vX/uywreXFYwZccVM80I39ObMeHUS6AspC/0C+jFvHpoF7kOTbxN6GaqVc2EC+uHGPgybma/V1zvevQjDCyc0LnmEoWIJBF3AWBAcEn25Nm4W3i4C0v/5/x+hwQJg6plTvttMDtN+Sg3/HTmDregv+PDd3VsbP7BDVSwJ2sKfCelw89TcxFLMys6uLWKIAo5rLvM6vlqlMpc3iseUBlgRidt6VFFesuQaVyJxUM1zQpcmqW9SpvCsCM9kOpTmHHQ1rttjb83GaiZKAi3LCDTR2QY7RcYWtawVeKhIs8VmV3FHLUXlXPbwXeEJ9y48/sdNwEpI8bRPGQ+OJJlNJv3tGBQ58ZKiYZbeLuvCqzOR/8piYoXwrg+bbq9U7Yn2W3MVWSDmerQfXth4FmDCBRrmDYdiBDGua0eZhVn1YbYyvbosSh4XF7ug9Mq8lvc/E5TtasqmNBY4SKCXd0mPQrxR+4PEz8kLe+RH6Aw83XcJOmQ3nFvgDZVk15QhaIkirOJChyTMlNzLPM0fRWNJBe8VudVWgxoAB7iNDo5Q81xgsYo4Ecyh86CK/4M6wKjEbK0UrFWL2HpWxcFUu8XX6jA7mTQwNMNfilRjPbe+HNRawyvrVW+50VrClc8XZAqb6Ms8Qv5wUuD3ZOzX2zhMlAHeoqIg7VT5BZ5Ccls8FEiDV8L4BsgAE81ddq728YHs1w1MD6TDpZDKXVeIA/bux39MDe5b3/Zl/x3uTUy8H4eL5npAgC9kN+HOTu/dDTnh4yIQ9DBaqplrDM0e8QFxOqSsZLLutUJyhO8D89XH1Xtt+5cNotDB4fGJdrZt0D1WtbsbU/DadNsrvJ+pUdV8VKsVzxA7h8bhZK32pV0oN71cLFfBVkqqrllJF1kYH4DGXSWqwLgKWq5I28Yp0oepIBSqu++GYqFQzhC9czn1RpfuaDZj7+g8e4Hzl2ATLf268KDsgzGQrAP9N9EWDpBWLKvqMFrlVhuHOSh3Y+iTIHr3wmyYoa67GHS60ZXzTZCoMARY8ICRypomc3NhGJC/rwecYc36VEXaeFxYAG05NtyK9MT1utWv9EL97ItPYugmi3pCkycw33jWGha7Q34QriWeVw6/mxCC/qJ7WOK5lGRLmVQNiP9euiblXGqhmWcs2S06LCDIo575Ijle8Avz5UWskxjSkmeHBUlmL/ZrVTlHUo6jhEzulfUMQVXzDMZyNRpDRSoBrXkn1wc8c59BZfrzcOcoNeLBL3zImW2adQb4Sduf58DOusl1dGPgQmhT0yz0JEvpznQe3XdEjXi4BB++8VedqFLkuAlNaOkfXcBpVRiAPPtyHUKbUasYRV7AofupgKeOnraky1d98hBMcwkSy/rEVQZqjrzIL9BQT63O/1RMAqb5cDka1L0sHf1fdLFm0WPWjpe0Y5IwJHaRF3nosKQv521NTLzZSYiHOmDctHXS4oNlDJ5wYRTxABI6lPJfQi/5Dx+uI4AkbunSfQp/qlY3LzWcllvYgwNFZgJKtnDw/mOI+AQbkuvmOni+AEi9ZXTJPNnCseLaTM+2fkur/8N28Do6Fx7RPYvnTM0oa7TfGCbrPsBAsLTq+nmEkDNA7qz6WgHEFYISJcUQl0AFdgQodoLqVzU1Sn9bYuruRUYlbnzdsRYa7mZQ5/q0PY8jiRN0e+POhKlhHHpDgp1uxL6jaTPskRFfqxNrf/0nwaqqHBAj6Zuyl7UzSZ/u6KYjml02ecTfUxNMS7LHXXNHEcLexSTynUC0fjbLsBoxEWHg4LtOAF8eI4m9PSf7wR72BlJjwBaZQgl4HrixM9YJj0AoK/Rby0eHjcAe/a/pSoVuDETznCPfCMfi4or09AWTO7A0FhJ+hmMBNO8xp5pyulbbFNge07Bf/xKx0By1EyXy/6RUKFxC+nTkP6Kj5+PwveZX7qpxYcz9/PgtO3NZPxa8/AFHpH7NTjm02JQGtvf3UPs8rwbKkTYQhQLjxtYIi4JLyr5Cf10AhociHlbdH76u2YrfedppoQYRCUJro2Nr8trQ6z6pLaEB5dzYvfk+74p3h3WxDyYrXPsFhgK0pCl+DEYQVvCYOQyLwBJq52r/1bah5YFpLKHq6eo+enhECmlEq+0veC5nr0op46fMeTZs0mpdRozRRaD650C1UH9we6bzwnv0RVsLqw1Brn2gCG8hY/txCXhuHocHCw3fchYw940Yy6aRI3dyVN/wujCRzg0NRIH5wKqonO5IAF6Dod5wY/ABKBOfQl3kx83Yauetd5lwt/EpAJjCs8vrzzMDxkjw57T6yFGIqICSTkntxeZN13/gn+sLlMMkxLv4hId9+pS4Gh76zSEvubYOOmf9+V5efZ4aKOdYZOwfuqYZqPdtlsqYYv8tGjJqTB0rSVqObKul3s0s3or3GM56o3quS3yUIvrfwxQBBUmzAgq5C91otuYyqa1B+fiKPYq49i40geNthau4x0yUj71oVnSEbbw4BGal42hYu8EfuZX//bQwl/H8IsTVWdZVNZm3V+A8gXzUDZ6R0dVG3EIZLXIGxx+hT8Dho2Z8bgkXc+X59F2Gvi6AQh+2AGQ8o15PoGQDTc/d1j9+YRwOfZxp8oAlKH0AgTV4E5BZcztAXhO1GKUDze3qpPw0eG/NI1ZdCq5+4b9X/mc5986Z5032/HvjTlIbaL1J7BpYnpC3tlAPRPyeEzJJFdyHlJ5AwN4M3gZyMAGjF2H1h4GZQAQxMIKLalY4Agwc7mXVFgWzEIgjWMyVkRnZx9/4YemHegh2fWgCup3ktVALKX3ziOxk3//QBLXnkqwcv+R/PoQzdj2ZQkdmrG0alwq34ef7eZ/O5FoV7EiEGdI1z34jlfR3EaFRFVVuGpKjoSp/oVLTnO8RvtXT7DEJDPxOB22n4A38qUA52v8qiG/Msrv4hL6ry9EwrrutvsLcPdwTDFLJ/dNoGyrc0jhMp5UW0SBP1zJ3aeKFN1OSuQshgEaJv4dYXSTjRQxKGwL1VWUx3bFhOhyh1uQmhK5pQs/5z2Zf1w5kQLn0KTPDv6RPB4VnrKUoz3V3qKBZrp3EykBbCs5X4mpf71ti/nuz+vzof2xZpNzB2MfU+1UxEDI3jngEW93B6SZ63ee2915O5N+pxCk9eX/SLDsYYO88jSlBN+k16bHRoS9ValFf4lRuELIOGIFV1PtsxaVl918XZHNEQeUxjwm6LpzO/RE430AtkBTrnW2nAkOahA5ADvxmeQWb8Rq/XeFsXqd0Qld3UqPRmUoLBhxC5yJ6PL5g7LFW+rjma2TIqr4rbva9iNVW+oMLJ+h5SmUYwfRBwXQX23NBJdzeuC6j9LuP4ZytGWils1OWn0rElWeXhU7zZ7DGevUsXP6Lu6rHRmcfOiitGEhT9Q9PU53C8n8IPpVhkdGeEe8qEJeklKjxfus4PJJUdgZNNBo6WDLdFY+LMahnDbbP1erGNhhtBQKSsNJ+23wBl4PDqf/bUojnoFDFf9E2PHXmL7on2b7U+uVsMiInJ664MJVluUm+UDGyxdhEsKv9IbgFPVfodjgG/+TV9/Yomny9v67QBORwDLq2UmRo+X+2zlbiP9bKYqEf2Wh7b8rBJK9WdCiRXPGVcBWLzgRhf/VoOnTyFcFaG2NAOvh5jFfxxeMEf8/CyjoCnCLIGDo2sh7fG3AJwx4Ya+S6/vvLE6HQ31uEGFL+xG+F4ZbesCGuWQR+DK/cziU6VEA27PJrrcZAX2on/q/5xQt3QLqm1bZbyVIvKISwKoUb7b2n3H8AuLiNvonjcm7KeOmqPJ5bqJtk/7owRW5FS99Ik0hWC69biwd5xlGJGV/1qU9NvRL/FKOKcxodtsm2156SLaD4zDiNdQZX4LCEhnhfuz3CbIWE2viDC8E3GnaX7RKpRe/bKIvFizq6tiiOMGIv8enMI555Byeeko3XlwpjL5ZQYv8exPR6P1T0IV+ajTZ8QTRiMyFo6tXrpwUgMVysEpY/wNsN1Zz0jlZVr0dcfLgklcePLhb05AFb8+X7VyVCRqes30ikGBa24dtedwTYKzTkUNMtnhZo68kzrwBp85ZKewtqBoPWsVfPh2xk1FpJuXPi2NQpH2qnCb23GSid2V4/L1cKKLxB+4tIP7hXvuGlG3S7LwONvkI7TZI49AtahujmFNFXPhx4fcSVepu6vTmV+6JDB/7vXQjeMQFrVjHgtNFWCREXhR+GMFOHAOmyX/CMQbyCJFtxS4k66F3Ry28JwVMt6s8Ek0Mk24X+QieIaEC4eG834mR2OcBqUREm3k8ZOqVknGcpqmOI778zEaQpzRH84edU1rgcBWWd8vN8gVaP1hLBiO8OLf4khtiEyxoJj9MTPrN2eqKbaO0Ccsql3P41YnfAjSdoePc9saEGSgCnYaKqiX9ZemCLCwI4YNYv29l3eGkur9zj5eDl5QSXa5CtWjwISHLdqw+MN0K9lVGA+NNnRjiKaDztIoLzVQ67hDdlGYw3KREWUDus/a4HuwK6/Vllvp8dxVpS12EgC6IdzvcDGZatVHsNefU3g02feEfECux88/k8c5ZyraTtvrQXoD5d+itBOnqDTO6vNKZ7ZxBDqF0fA0EcrYFHIrzFyz+9yN1JQlCla+r2N+JqL0s5t+cBRL/CZGgHDQ7WhWmMst2oPaDHASknvsX64RVtdfAygCG6UUqY2Npm+97Z6QwNKG/1afCbtqNUxzLt+Dlk81rJJqNiN1aQhvjcul9WGPBnlyJbTmp+yTH1hTWU7zCy9p3CnYn7GsiqHlJcsgr03Og852wsfyv850TMsnuP7RKzl+wRCX6olv7Ml7DjCgcjY4xeVbIn0JYn3JD350sO1g1md+yz2UgnG4KSH26R1a0B0A/nz3rbEcAJ+Ozl+/9nssJ1LIVVAik9I0EPR9MC7kSBSHn2do+6TCHWUbA+XLPlR17H/6ysY9qXIhr6S7oBvkISaonAWc2v9eEXEC6lr2bGDzVU1SsnIFEeXCVxfBIPn5nwz7H2rSKVFmS9vTx4TKlqdP1g2bUsG8A0d/4ln8FrcU/iKkKaRL5MWKI7L0UqxwZ5PA/TFFK8KoiGyR7CAF7SomqpEt4GxE+8TW1N4dzILAGa4yCGlCrMF8vkqiIFQS3Kyt4rXrTxcEEvcPdilS0R2aybSIh02+zSa3LU6DRuhvQee6fv6mhAjSCDZEjZ9tAzIPng0y09mEo0clk/GmmeEzo8hP1pjcaK63fs1a6bEXUeGsYhUt61BhEP9MhFt9JGeLsGuD1kfJKsp49iMTSylp8oZ2rSLgywMbK7fuOMbj6nTvpqxhXXJrgpZ3VkJkX7waLeiR2gpCzfj98+t8hqAMivD8KFmCKBs4lJiUiuuWECvziuI9fUw8F8ff2oWZvA50fHmRxILpXlb73adsKQFGDWw3bEb1MQ+0gVMBLTCp32LdifNNEp+E2qVaOT0EO8bpZRN/8ctCytCGz2zNHJ43QzyJcJRtg7Tnsq/SyysLCvZ2dabKPDvh5kCSrIjAlknjOqlz4jlHWU/K2O49C0ymvZKxD4vwvfGvB7WSLRdh6CqVoaG5ITBuAXc9IIYsHKtxgV+T8ZQEwjuQrm0LMj/N8EscRQffDkeGshIB9M3/m29v+KBLvJIOI7U8qYcBHjXhhgbj7A7i8ZnTrZaYsTwDfxXZNjMV5BGKDkfmrJryNJsjTGLZokjN8RemH/WC/ldIpoNpsB6UAzVo3vhqCTNFvV0EOHEcJaKywDz/eiCdzmdYTg2awhC1HSxQKYXvcX6a/C5aDdBUc2vKPaKdBziaAgFnJoVvw7i8GLVeribDsz8BmYdpJqldkwwnFmc+6miQMMvnCN64lmW1zn8u+ymcskDelA0MgZVXmWSY5F0uUXPXoksqRiQecQYBD/vCgRheNV4FvIAy0fLrgjpPaHe0cbuUsgthJar2vGbl8FKo3KYrQPOwA19LwhmI2mduQQMxFCPbzUfNw8tzml7S1WM77yuf761T2/JGpePxsjpCfOXYSDQc9c4xCbVIyAD9DpO/l0j3rhTaFWHqr3FuAT5QnO7j6qd8XS72f5TGl8gnIAikCWhRMvrvD0Oxnhp3LuH7SogtZH9ReGFIapAzn+DVadmMmOXEBO+Njb370nEEX1VehEDsXeS/oFdoL78c7Rc6uN7CRgbCyPBAFEBHqznhnfvQlpY3qx5ifv2zafU12npa6iXOOmk999W4nnrFMQifdq0K5uwq+s46QqK+MYQdTCmiT6qpERGKMnPIivfI/+zFBW1+93NsD4y+GyA5ZO+nchWUcSdF3ieKkTovVmnvF/2zbAlsGJ66ZsZ5JcUfEckkuliYABvR2lVCIFhN3ShogDBH72JUTxOFBeCL69cKwkhsgFxD87AvaUXQVDlM5piB3Krknu7XEuopFveK9DbAFpZn8Ao08CwzBLvsG1m7PV3IQ4oDcRO6UlBu8ZhVZAY1JNMfzcjLFmxjtwx5+/PMHTD2oHXh9owIv0c/hlibCPSDcDdJTiFrout750SuJct9XkqYbFoDQy3KOnfHT40rM9KtHvw9DHC10Q/tIy6CdGPEhq5OrOcFgFasjdGiRPHz2uRrahs6yxoNWILUU+maXZlyb6SV3tsJdEtQTmSjXde6EHJiXcy67Xh3xED1N6SiKcZF36jgILR/s5AnXrvwrdBztOk+yL7z5h7RhIbmhoRDWLz6C3mlA2eeAcovmfxsdRZzBQ4D1SGuLBfW/ZnBWIdfA6WftaL+N542MkuLZ+LwORSK+oNTDLXo8JvnfIvRokfclHwl86jICnt5Twf64del3Unpd4/XzydSPhs0pCxtNUaKwU1EEtbKkDd4jNsSh2o25+tJXoO3D53XElHCjlRBOdexBo+cG/BHR95FKC4x3RkTk1YRWJHQCdZfVrgbngrPyfmVG61t9O189NZJFdRgk/bkzm1uN8bZC2/MKiXTcyZ3ZnQWQziXq/VQ8PsUDgrSP2ftepsDl0yi0uj1AKF+hoDBqKkkleOx/70rigdZ4JbsPgDZZDofY9/JnRHK4XS63WmDZVc6Raou7ODtKK7z1g45licCUq+Cg6OTM3XkC0uFfD35v6p7w6XP2fUL35ObXPjAczngLO6berLeZMSdP8CSqVtffQDeSKazpYuvyPq8W+78Bd7UhqQiUr5LZIZsP+Q9UmsXUW7Jaev25PAl4qdDB7kvKgrWMCtXbLAmBkLq5IA4EKfdYYBGIMPMwAQ1uyu5Wfz5jWDpKFqRoNttxvYtngJzvYhlbmscNmSdJl1vFNks+xDnaTh+ct7PwnBLfE6GxjCTHP3h6ih37uUAXRHgGD7VRKZplVa9A7BoIw9Xgw+QNRReQGQw3HkVQfk1NxyGa+xnCTNcmTQKNdaXdJrVJq+VaUctMoknERJXZZ5rE6q6/izDsCIZYI8vKZJvRBMPR2wbasohDEOPM7mFUHe8lLK+/YjUrqtXuJB9OjADtn/zYohSIw8Aaujh9lSVmHFmvRYiDCHbxSlNLsOQRgKuxa8iJPkYyvWIfEfcCheeLaatGAQWBwD6K8sbdlrMxjDfOUHC0iuuv3QhmurUSMK1zRy36eXrrQnn/EVQCs2yMn5ztkMEsMHRI4qwzUsXRW5My8mWaoi8jTiIwH+x4vcqC7lTlG8Yc1ktyk/CXCpcON1pRJY/+a2oLjlc3wANiFwQdQgANB4s0U3eDkDet45POI56pFNCVnZmsLb1524ZAahs7BsydJeBDQBA67Ow645PUFYkErkhzcMqwBm7RZalh2X7t4Z9O+kWPTbXqGyASjtiL2MapYJ6fUnyai6q/Qn+ie79SiKLW6xIrM359XpdoSLMGOSPZItVaiSjUaXrZ+oD+mw2iF7vy5YewIINtoO3u7lRSMt4tQfzR423wAxkt7LuyfK0+hUaAWal6GSmSsEBuBWay3zVWyMVAw1X2dIoGy5r7fAQiQiS+MfgrcNzw5KWdBATTuNolcRzlGDGq13w2x3DJa2v0yu8NeswVI/IN19LynBohnUw5IdbNwoJd7DJ4LIF1hGxXH04vd0z2J5L6RjibLWwLufL0Tyo/+JQ6Jox7HwmUeq9WZdGLHik+YJq9MLC/dki3Mc645qSZgeaC1dzamfDUz3p/9KHX9TdQ5w3W2uWc8/XzMxXdWaMoSKNXow9hlujp5xGyprggP6A1bBDXxx5ltWu0tQ4EHNi2KYE16I48Nynl3o6VPbQ/sS/PO+FUCBJr1eGEfrt15/GJeyVOr9OSf4Oe/UAXTdfhtJWLoVFuWQzVjUPqDk4zrPEbPK5SdzHybSILcwkWR9bmnHXm8NoUAu7UNOJ8SQLWNUHuaspcpavKl1TpQMeDIt7RV+D6oPKjlsR+4abg+gwrgRxX6w5o1dBWtlwRg7r7N1Kszm2VjQ90EHSVjU3LjoKZeo97hg4j00LXnLqjL2mbYKELybirJYZT++rMWTQWTD3JTfMT9+8GL/8bgYeWS5/K+3X1RjvVn15+ipB6e2ovvrVfCiBLia8CcRtzUe3xYNqpIhzHf6yVQrv1lVCf1bf8/3LhwuXnP4BLlJr6G+Y9xKR6eKTlzhg8GEOL6yaX1lCdFEcwB3rDdSJLJjYh1XJmnyb4Qa8fKBgsM00H1Nh1pvMFsEeIR+MkaolF5K9y+CoBdkDvWHPjgf4sl5b0oKSBkvVDcv3ZxWADwUwoCgCY0EOPK4FIPob52RF9Wh/k4BAwf9Hna6CTRTgc/Gbh4NIiMY9rtbd/8+gfb5WR6gRnnohD8FZHws58H0aXotwjz4+l8q5Wr53LiajXx+lqVHLuKKXxYeIdTkrS9+t7Fv1Q8u5YTdG2uG1K0Ojnpk76Fu0r0Ja1xDpmLs+7NFUTY2t9i1wmhzIBhHiOO+3WQs7KDP7du5318mBhbkqZRI2h78bNfL6ifHkYpB76zBAhAqg1DraCA5u2p/vpxCeJH2O/kyRz0+WNyoE5BuJKF0qcwRuAreGYihdPYBMa2H1ImOuHChmsD5WuvHMuK9508sKEqYMPgkNaXf2DDbfivKUuIBJguwJn+/jV0ZC9SZSMdkRCguDYiWJx+cbMvAKNNxDxlilAo6vZh3VIMRuR68a7P38oWjkXaa7qvTxn0YqEBKAjh7kJ3hbrHfkDl3YtCEbexAY5WsnC/VoHlCYjstZY95NaG+IhasUM8BFDFCfSEkCarmvEA3qYEClgVuTkYPzqLVSZQ9DMxkm5QaDply2BqyDP/d7EaJ+VgnIwIrm9n9jzMcu69HWGGJrjF6TR3iPZOVwJyX/2DwzJOjvmz3kk/1iomxJbDws+QBngBJw3+3e/8slNdp4Y+e6ZMj2H1LTmchcCw9KNucjzRXfh4JDvVPEDv22n6XrORILdYKYhfUp18ckE4+QC07xH3gMvXxq44mLdoWylt/ThrGIVWJNqnM3VyHYVEqJz/YM5pmsCZDmVp6ndjTvh0a4vOHOOKtSIP8ypQ82GTaQ9uWyD0MUEE+zf5tIHKYk7i5s1D/uRiGJjz436ns7VNiaEdC35UchyA/tjDg75Gpc1gl0MoN/KbYeT1RRZ7GxYLs7RaEt7fTg9LHZKcXTgzxJ9GXygB7xXRp1oP7FMwvaQj/Ckh7EpvldgjO+LsUP2w1W55WTFgyB4aWiozq5DNK0sNjZC6TdG5usV22d2GZUN73ZOfw0lpYHQSidoi90XKEaMAFvbhJnMNxEvYAafbgPYiljIX4tvystQSh2WffbEpWLIlevyqOAmYOawzkreEVZIs2lgoyHt3Pk1zPP4lyhWlDwwMV8AqDqomvRfWKcTvtJOUki+65AtDUItaCcaus4rJ9ZndHQgNJX36i9b8TMHJX4LD3ESPjyUCwxqmzIq1DrKWF5QVoNAnGobChV5sQclwxVNgOEDOjBwGP+nPh4o9nJn4UtcAD4pE8LNyW8JlO4GtzNP5a5BAcFWCQFP/hcFo5ZhVXVvY/+e5uiAwzdMRSsMu5zIy+LE4chZptFGHzLD/3u+YNTsjYCF8LzBsEMwd63aHi3CajF3Adhn6OEeNXKBQlWZoLHK5AWnN3tmlY6cBDF8tL8XWopI/Im9tpFmMGBh/eXt/opESyzduos0ZwyB3Wrx08jflKIL71sH15TM159XXsaHS0AelN82PIzzWYST8E9SMugLJa6yRFEBXtI38WP9BqLtgO1CZb6zovKEcUi1knFON1sKeKT4TcRHrnxdn3XJlNsaDtl57M+0ro6bSWAuSe+frppbp2emmCmxOzbTH4ykUp/lARpqubuPxnhEtiEZJ2T95DmXvmVYTnjvae0OJ9dcofJlHdW9HtmzxMzi3vk6Sch7mDVwqDNHqkfEIhxK0aVKuM1ewy7ZEFeEZvxTBlvqScnE+k4FuREwhYXE27QcLqWr/WU+snGT731rhzRRB96wtqEDMGuw58pOaaHmC4wGoPoZDsqG5vpdSDIQ6LrtIOeZPMnjiOyed3jo3MA2fZjCuuda3WCmRteB3KqJbsZMtd0Xg881MQYLTqtRuZ2ZaTY3NuL85Endf1MV+P0AL92Qt6hul/e2sbnzpe4RdnwFcPnICm8nctmzusaF+xPdOAvtMgldp7eZXkMsp4jO5EIVFbo1e2ZBTGvIHNDB4tQqKsriIU8nuUiAQin6gXeJt9/IGdbj6aBS8vV5Q51Or0kYbChHCJFNnB9dBWd5y0HSo4emEpitIJg0U/jht91T/Qy+4DkfCDQHRWjWHLEMrZHVifQbfIJeCQkLFKhoHK7GJEFwYavAaILQaxHhpmsb3+FIO+ROVaA07lZcBHeP4Xo+RZwYNa8IrFTNHURSkCZDt3E62DEW4f0xJdPx6my9HoDB3Ev8dUmRLCouOagtOp52stBKScHJhEkgk7R/Y9XHfOS3X7MS7J4T6xNtEILexL2SuNA6jUv+fRqW3r2ELvuZbeHDfdsHWWfsejiVNWk4RTcmLOdpTDeFyydmQl9i5pkOzRg/3Y9Exmh3ICBKPxUJ97hUBITE0jkLHy0G5Ai9FpkMAszl7BoN/x8KBKYUciPOF4d8TjNzaMXjU/aPvOC+5ujjjKJlRNuIS5+uR7RBe6n5ypViNlWumLBx8yB9oqFsRxh/3KFG7HnNEsPxsP6jaIbJpjEEyWYT8NbvP2bXzGQSLgpdUIknAAyMmRQ1ucnSij2q9xOx1hNSi7NKk+rr8sxavBNyIWmKm/ruSt+Yh7wi9SSuNRYXOLNm2nqvZLO9ESwzXYIm85jfjbr5g3GCuIV5+bFNlAUYs62r7kfb56VC3OYW3RFx80DLx6yq9aK0CakZrEpM238aZLCpwhE3JpYn0qYcSLhJ8zA3CpL7lRwLWlhwdDlbqLHh/56OMsmaXZwcYmMV5YlUrOgVNAfQ7e21/DdVv57yUUa4le6irHYuJpWtdyBs9+u6oDCUT9sf1mbBQ2/xXjTn5RkL/rzRY1Rv8n4keJ6VI4UpTKpEDfEbNECwhX5QkKqAGGbGInPpUXr2Imi2ucA3uXci0SXdyaVgMfFO2rYZD5aLNOXX4AwOqbzuc1cZk5ZWiftu8usudz9I5+N6T//xpMEHbCfmTgpft/vXFmZs6XlNZWOAGnBzGe1nWXCyIUp5L2HwJsAl0OwDBlobFcc1f8Yy58iyPd+beJu+vxAgPBwDoDSUNWajc7I38XQFmbuH9foxm8eTymnLaoQXy4HwDEqU2y7BwnT2ADQjAa+IuDJ0fJWzHRusWXcGnG5jac88sZR0HSHPz3RsTc1dNAYy1XvzJ4bT6Ob6WDJ6K5t1UATmByPfT/mVRPPWGkuY6tImmZWLjuBKuJ8QB2ooxZC4bj+sjGPGHI08JBgEgIQAU3Oes9PWN8rj9ahD3vyK+vINl4cXMbOwFferefM28BwmHyDAit1X1h6sg2l0Min+Q+KQD8KmYQsiXE2tKeK49CRJXYhuJRHyTLCB3ib1904tbQXZJJPGDMVKP+8H6UKaS9v+JlIxfPVtaaOmpRSRVTbAOJy5FW/gG6+zP96CPrSuE5WLoj3oqWNV6VS3k29HJg1uiC4gqfHLKN49EOTX60w6iuWxyvBQ0JOUy8eIeL1XfaagNe2jLBXxEQtfuE3c5Zte/ivLYu8AzZzxJxtrOMs7Zrn7bZPpR0O/YZTxHZeON7g5LE+wiAN7fvZXBKKX40lRRZGyjBxEDJM22tjGxdavQbBQd54zubn56KcYsPKB3zoDHL/fya5i1WBzxRanYgDpEux/ipI9z6fxuFR3gbDH/NQrDJJDxCCXvsShWvr3yF4MbGzSn+DOsw1qnkBQTLc4hn58t252SasJS5cLIOZo73BbKqI2Q1GSclHuGIfTj+N3N0n3f/Djw6dkE5PIHjKbXgc+LABiGLsKTsN4gBX23lRCRt8hfTWaRJKsOrORhzmZg7f5DKPouffn3jbG6JrKMbTh5hClvcH0IL0/SzHDhR33A0i952gFXnI4yElaZYFIXCdICY0O68HyROde8vquzbc4huCSYi8rnJen5zuueZqr3QLkeKsYNOxgwDHg+9rQDReXpQBaniHwnnONaQaHSksqe8xVLOETiC4NUkq2v5kk+axkM/IDe+1GyhowHWeVSdStkEGrvDbXRc8WkTps5Xm6CHLoR2F8KU+q8jh+FwWOGrSoBArNiTInzicHB2XbLwoQNK9ys/IRsapVq3P6smurthZfkhNzdsCqZcGl1v3iaVnJi/BcBnvUld9Tj9+PEL01GWEswwHkJvQWfL/rBYvvXRoiJpbpv6C9vHm5dTsDAZSoyosPSGeqyl2lvmofGrsbE3fg7fzMMrnPzhgDpgClNlHjLWzIK9JEiB5WboEoIDXl3ZsKp726coWwFBbkPZka6/PAgrlnbdgdL1ULwcdDa91e3tnmS2cFncUJIsfmDT2kH4o/swYjt9uKhMujBHmeVLiiE9sWTuI8x+x/0Qef7FKSnTQecP01OTTx0FMQMGd0sLvF65zxICURJRmWMEOChUFoX/T/4zlf4un1jo5Wq/YzXD2yR5Gp/eewG10LHRWk2ZVn3gDjIqPlDKtzsqiUkx7jsqB+urS+yTFMvJqGuvTCm5XsKexRb5actchMj1O+REIptSWSEXeM3UEzUB8/+Tm6iONU/ZGA1az8Kb1K+NADaS6VKqYkylh4Bc/u0IgZKGUcQBMsxuLGiEGJkIeGlm0cnYeb2ECMcMe2T9LyiNE1CrQPxe+K0uIiBEFxz9v+xdxyY4iWFSkWUrvf2Bj1Zb5pAtuSf3eSeLnzai5y7TREE7U0TEQlCiNV2BXpgupD2hyp4LpaXph2BeUHyK2M631gEIRHKmbD09G60tXugKCR0qxT5fBaNcnQE1+KTITqyXOlnmoxlGtCeb6mfFS1xlXYAbeb5Q4mtmDVdOidi3z8whymfSdUTOjrYvKku9nuFYPU8HD5ikKsugHxhH2ffEYiSbqiGBXMOnf3j+pnRgydLHPlyXUiRQPdnAvoCyn5Srjm7HCelLHnrfTXGLfmqd2NeP4Ti5Wt+DQHk31IUUCirD91T09XvrXwtMBSY6d9lvybbsDxd73HD8XLscGJ4KiaEfT798piaB7Vw4qjIXzYyE5bg0cJKRZYrYzZeWPlBetQJqBOUr2mn+A4tKnUXLH9I3GhJ7eB3VRhf/GHXvYxkPmhABraIpjZeFJYn+MPC9tULM2Bh3KwBr7KoZBoO+RwdmwmNleG4TVvk0dVJR13Ze58Mkijtb5lOAkM6GXJJH0WTMnQfmh+Rj25L/vUQnFpqXpeiohbg/2nc4AdSZ9laCucyPTIcjdALOvGf+zgH/DiqHXTM1pfvulkmDtFQenbuXXyAS5r7JeEHL/flt/aK63yMEhxKYUCQQ2INqmKdNxitJe+Bpxk6nR+rYJ4kH5IOjGT/yuohabyjUnWAvgN+pt2Pr6znGGQEFAGhcaoEz+qC507yFCkO92bx10ANW0FW+lJap8WRrIrsE+oEJJ/eZwH5zpXqNk6Q45RsP/AT29OH5PVoAi7TeMZgkNpp/61j51bnMdJxezkdmNumrtQdwwB5ivvSF1m0AxB1s59m0ROA8GzJYI8fiQagKA1TdA5FMfzt5+8JlZQclmBRXHccG9vp3J0crqIU7MdgN5wao/6Orl3dldfaGui1bWMchUDIQRtlWNYNAhPGee5wDlNkZWTicZ+TMLbbfDLmw8WmL4K1+1Qs6m6ORearysDJl7PZTVw9KK9m/JdtkwCBmAa/QcN8fQ7Z6usiB5LVwCesG/TegNUlkpMNDv8pW/B3/2jUmICI6/c8xt7YLaGQzw52Ls20DCoeSqDpGb85FwwmnnJvZK761Pf7KMYQbMkjdbE3xtrr5EqUCbFTJvTiw51PwGDJ78bkR9ct8jVdZbp+CJpmeokcv+/vKdvRtqDAxkeNLMyPIb5bvNuI0ZU6h/+rPpYrvMy1x0+9FnB4o7NQbCNtTSb3UydXIzRxR8yFUFIoR0HL6hum8FCZJ/NewAQmD+KkiVPEBPZ2LX2lknvd08Nd0QV0KD7uZWCHiQDft/EthPcz3VJO/++sqbVVFgb+WbbuILpT3PAyPmHV4+/4smQG0Az2tY8KmBLaDNAuGXphoIdkoZPaGjtHCH2Eu6TRJyYSA6a1zfhxfkpVYuePVxUV61aOz/XcchCYQ+2tR8dN/XqTrVY02Si2WqyJ8GrCXd4TpeBvoeNVbuUOnPuu3ZM34aKgwcjJ1a1uLmHImvUtIoLbs9oQwjiaV9Teg8GA5EIKk9LVAvI1AW9dHz3ZwU19yv39uXvJH2tqmR3++i3Rj9CIdaPh6CRm4e9PlJRRUGgdejU3IEuc9Fmxc+5lTu35XW5L10nIU3XUgt4pG0+V6KD3mgLlnyfwpD4OqUi4TZMoFPC7L9gf4uisZ66Bp11q0z4/dHvk9vUiEi5zFrbOR2eayG2QkP7G6BszbX0e0Qdo7Pa3kzSVT3A7N5cCCfyLoyhEK6cl7vYu4MzN1exNnKe7aye6Ri5izUWaWY+CICKSUN68GXqIJibIpk7j0kiSdXBhWbuNf6UCd6JhTtAsMYE5M5Ws2a8IMf6nqSMH68mgaCMMtDGCB6H+IrspSgtPh9j1o5KAOy6Gc3nEC0P9KHjdmrNLhIXCwOxGBXfJGt0URmwLrL6PcgZv964k5LOtEnI7SGitXI/V3p0iPN62dXNYyq41ZYxaXGkMnvYkMreJxOABgaTeTjoHNQDqZjkiuSCt69BvyFfk32S2WXSTG500hmdmdyHucZd7uwc0s9W+/+ebpQANIgm8eg+xw2+MRuR9fuyF5cICB0My/YA7OHjq6fmG6Mecs3CLiLRCex7Li08MmQdT94r8CCwzhgIY7eau0qkv16Y2LsPIc3DvV70BWEmCJx7dA==">
            <a:extLst>
              <a:ext uri="{FF2B5EF4-FFF2-40B4-BE49-F238E27FC236}">
                <a16:creationId xmlns:a16="http://schemas.microsoft.com/office/drawing/2014/main" id="{5AD3AEE6-20EB-4C2F-BCEF-A2DEB7A778E8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334962" y="2038401"/>
            <a:ext cx="7502788" cy="4422667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6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D8olcr89gTYVdcqbCtdArH6Z2k2y4aISxjp88dPRA6bnqbHRbzygIpTcypIoUPuI8iXrrqXhhrZFIE+LVZ2kX/FoJs2r+BDDh++58iYuP3SFs1xTjAl8hjlzcq4bHPQa09RLJr0LboVP+rNalYCQ3HAoMXXgyadxR4oAWUxQLwe3LO6g36zm4tJ90997UZRXMjiZ0BsKhz3zSI07Mit/Lw0y7f69LYTMjl4LiZ/G4B9g5mOjwEqg5RD11U8BlgBnJj9N7iiMijCl9/U6m4JOLlt1a/Ni7xRPddbTxkWczslDuhSfVEHtzNaL0fHisDeWCIII1SnekXbT+bqNZgfknbMgfuOTengBSpzmJBXVBv8pQjUdbbcbhBJKUue8XUr5Qj8dwDhWkJHVTWsfExLshTUsqql9JSN/zBbkdJIT52XgYZuRDUfxDF/udv0IVXWqRAAscjR4C+gPzld5S4WCCJrSs7ByYpFn+yuzkNdvGh+ZDyxDPIYSj5duMMMebRLIvijc6HodCj6jbs22zOJTke8bH/Wi2uytYFtXwHd1VezkdyW+PNEX94rbU2TMpbyZdRZbOJjLwoICCoaeDs10Afa37LKzLjVOGTbts+i91ESJAl8ZWc4G47KCDoSBjzFy6FuPEB2DtyN9iaLif6kaFIm+bfMkqByaCp7qtT6wZ3wR5HQjkUPlE9k5o9Wcfj/HsVUsZcKzmpankkEUy8bwpiPlrSWVaeU6UHmP8uYEhz+h0xDG5YErr+epJ22U01ISUxNRK5kpdcpmRDnRKIWeuLN4C9Me4SVLyl1rCKaRMSYt5uEI/rImMnj7ZSRENnBeYkP2VCAhk+7avwwTW7ATbYwVI7AqPhAoeLvxKuN6Z+1vhf4LS8bh2zBNRW4GTtrVawq1l8zUHVl2ti3CW/ayIVlS+FpsCkiin50RcccDK6FcNjoTY/du+FHaT89SOV9fHHBQjM+6zIGFjTpVIJw7n2R/a3d3FC0oXcNUTni77rUeSlmKdBhpyMpNDBCxVu+XEs3+CB91z/3ArT+xuDRH73G+Z53wdu/sUFV0ZcLwcV0/o5x5oqoeSF+4JPiTYmeFrynlE7q/fnLWAyjo50nyNXGD8xEh/JjssiwbvwIgBRWWKj+trN7XcWU1ql7HRBnZ5Q/scBFzxsrjMmMI6QDhEt6c7d5D4rpmQSWTeUpd6rkxbOf2wNhNCZx7ZchS378AACCu7nV0MC47ndOFLX44aZlt7+5EaISDJjwuMVXIRCawy3y1RQYfWRJU1sSj5h4TjB8wSmek4qCd42ershYssa/0viL4hdzmkzR5qp/wvT4OX3walI3tkwirFIPYEjKtDVJ9eiQrBnivG+aTY+E7kgkUY/V0mEM2N4C2MtHOj8orFt6ogpLYu488wJreDlsXAogEypySQb4GB7wGH7VcJ96lXafA0IjziUNnZaW67bl62WFuVJhMN/UHKfpVs1GE+xqau6qth3/WEh5pj5xZaECDPQ0R3mNYUY9XyP3sFwlP67zNQK55u+Ucmxx2g2AGdi2yZ2SllsdYiA++g+6Wy3apxRiNl9f8W7mfYZTs+gj4vnYgOCOtHBU7sOcvi+30ia0n1+2G0v2yhUICVwM79aKlTm2Pvc+FBBVvYNPj+0luxnEQEyN/TezMyi4oNeFfF56n7/pMIUdd/BnVgJs4arQtQYfm1rBLnZiDB7NhFFmAfHpSQJN9Xu6y8eSZyzon2pHgwa/SIQrvmAm0iPUhlQ3uNBTyJGIdpP4enJ3Gh2xsE71MILwcpocnNrbpAGSh02gmtO6lX7oNwzgXW4/xsup8PMmJ9gJmWGHgAwdDMvTNUpcmcs/CT0yGAhU9Qq84uUuXSpkMV3oiHyrX3Eq5UVFgGr7iyoN8/t9oniIPx47MoaLMIwGRlFOuL4HMo4DWR+dNANfS8kpjXpIKNJZYjMwo+p17x6XKM30TaJqrqeVeT3acPxADABoa3flgM2Tj7PCPtbyn2CludT6q/vTMgLFNZH5p9a+ix+XrijWTn8WH0SpvQ0PPEqSARa47Vi/L6TGNyVUKfHyfZGB0EdRZPPIEkZLkLcQt5yJOhNbXXDzmjt0u/4QdjAaPzrycxKSI+h0pX2tfr7BlHT2eZrPj4fsLIMB9w3hbLf1hPJ2GfQJTmVRvnC8Nq88Ux6wHUTzXWWGzdmb4O61JLvg3qOWzjFT9gZiP42NHla9qF33Nq3Iecl9go1PwjtInp/aXXS1FdDC6/n5jR6a+joX2HSk0WnkVvKZw3C7SVKm9UgdH1XLQrIWjlOCBnxQ+OMSrT1BsnaxO9J44xHsxNTsM5DA4I7im76nJK8waW1leORtkcdjoN5hhMHneXkQfdaH7cL4ZF1Nx3r1s1b3rLhjcDKkL8QIt+5l/Iodk8ssLhwWNCe6Sjz+MicEnuGwIs43osNEwpPL0qBo7EIk60zbBSAyDUum2T3xmsEYjxtxmiLE7vKbQ40xtf2Foi33XrhnRM7tmSH4j1rKuDiJiMv2PeLj6vaKKe8UioLn7b3lClAqTYJMJbE3sBNRE+fmpFuf15BcW87wRV23L6bW5wB3Qk/8gtcMH/Tt/dl9euUA9jj0qsZ2DebzZoAQcwHSzd2n8bFannyX8fAg4A6bcdfftAMzd0b0l2+qdWvY+x2aFxayPziZBp+B2tZel5yryhhRiZhmokA798+79VOMh42qgMFVWaokfZ/Bf5p8G7YMU9xqKQzlkM1gbJ5lfObhBXpNvYnE+FX7NgdGrUpUK0F9da7rXp2FSOzTXvfiM/+ZA7Lg9VVzKPTo5YccpoW8BZSEaF4Ia4vI8y33JU+Coa30VtCgj045eyfY27j7M7nNjKO3WCK9zgRWswl8oWxvBxwnPqQMuyVsaLobBJvIAe8WoDy3yzxxSA2zn4CqWk+wjun+lgXNMWTBS4Sr9h3tj9eEhbjffrh4SyMSA2Ob6J+c7CAcUagHVkso2sHRYN5f9DjYtatCVMYy5ynYDVexZ3WqgtuJdcBBLzSoXoBwPyTijuFn3V4hln7bel4f2pmT7mm2y98rEvlZnye6Z+i3nUH+NY1G+izvAso9E4GWT/Dreb+FHWLcd7lnz6mSqDhPkohBf7wviM03v8cnPjuT+kohkTFRTe4P+212qYRaZoSbG7jszK4EBkqL1AKjwHtTUzBlDJTL5PA1OZvfk6Y9W6vF5qTSsOXMraLFrMnVW1W1WB1iZTSTCsEDkdMhGz3UMWA29nstQIgfl/6Zhpvg9NBLfD1TBecONE28pS0lsPXlu7uSJ0qLVtTtC+0q3SN4hMforirQslw24lc+Wd69tLcy0wpS7x4bxd0z6MhPvIptxl5nVtt788OI6eoKsYJuBLzrXldZjrnC2UbxrXXeV+4wC4/oF25n/8RCsNV6MLKDqod8cld8w8tF4jdw78tsRn0AD0oEpd2bB5p3gO0x5G4ZPapldm2ZkG+SA/fvZmkcgN6RFrfOLPtFCIvYiyUMsCQLM3xsH/2fi0lG3KOCvb6MYhb+rW61BPiug+RILP+geVBV8mf/3JZ4MVNfDZQuy0TPrICXZss0sL/1NJyafRSFPDGAciCR+u2y4qddxfToVFBxgIEo3k3AF1BPjSpNulCBuaR3q9Ps3+KvhmASCD9RQt2V8xIgY6u3wnf5vCixuXcvzSRrL3euKztTY9E8uEB4G3/0I9MAoD4f7fst3it8Jz3U69LwLlRIx/vCm1CLFi/RXMa8W3PGnOe2A5k5f1wFjfQS+osN7yKpOlO/DG8qoA8HnBXiaK3IsHMR0oSXNI5HxnUhnOXlzeXPWPOCXfHoGvPfw9KckM7UyUtoOpJGW8lxodvCO2aBouVLvR3PXL/6vl/7Gp4kQn631eLUQo6lDsFoFaolBRic8Y0rOaL6/1Jx3/Tp29fr0hRJc3uSsdPQlbkd9Ld6EjJOx9lEkt/mgMMdQj+ZlQVVTp8gnnrQkyQiguufqiHGmPLG3v8X/Pn05+/XkoLhrCeFckege510928QYtOpyGEaDH+oMifhY2ZJLJyny8nGn8iVuMrDV5WrUc7xlQUQKsI9Tae20oTKGrzXdwjTqwBjkgUW3nBud2m0sJrlLkTVpV6fXOI6dsJJKbcQ3nXkj1gLobutaM/yyVXpeQ0NxS00tqZzZLhp992hQybZ3diQS0AiJnmmBkeWjN+hI2Fgnl66yiL7KfxwreOdrX83RG8OC5cM/Ac+zYbSdHhq2tj0kAy3rUUbTbyIG5TJwKLdU08Y17eUoRnKnVAGWfmwhQAKp1g47MGr/6tZ+CZcSHb28vEyKOJTGnGYOQnOMPnO0J4qRf+eze/mOXzPCldz8sG9zX+ESvk9g8nfY22R0Jmk+u0IOgNDA86B3fVBYqACPIAaO+C9bfNxOPvWMoZPoB9+ehvlrNS6SdHnJmwjcHXOWiAWEYvP7fK8arQCamhEwfhouCitXEkwJ/Cy1vAaG8LZV34rMKt35NYhYE/P6dmsrOAazpo01XOECdx+ZS+kpd4YYfQ8UDgYjWha9d+yMg7gBvlaznr2ygxID/YGuzC04cxb2vvM0X6E96VKwhBbS366MNV95R9/Qb7IGmy7V4U+ZmKDzGvokmSS9pLuIVAKsQiKWoaTv+6mz7keEHlHFKU91jFqLfqenBlqss9LJuamgN6Iz2sYE5j43GZmbn/M9iG35EGTYTfqHVa79ujSBK4fW2w1T4ADqsJkQojAdRKIOag2wZUuMjdgo1z/au9aAq/HOSJVi64abGV/dK9sH8uGbqxkMv2A/og2Sdfb5aRPNbApSykjk5TVTKoWdOsH6WVR+7pWJRNl0ZI1+XFumHf+CDei3iWlo+k6yla07u5n43lXA/Pl7q083roFE3/fIR+p16Ju8UKegmpQoPNjcc8N/5iuBCQaeP/1VXJZp/0zX6ZlQU3uiksW0NOTu1YHym6Hhxy253oeynI/2nvLHmxC2V3whIsZ/6I/7y2P+h3GwOcpD7obUezAAPKgZLAgEvV2rnUjAZVutxxQok3fITSL4MIPc9H95cpDMkrnoX5WpILC7BhzSZKK8JcwAvENUF78oPbgrmE9PjhXs5a0RlgekLGTvK+WwWjkys3MzYyh+mwEbrbDsuBtgly/RfnItGNOxREH2pb7w46D0Q1RD7YGiACv/HdwMmcGPQAN1WeTD/yPWKUbdyuYBuQlheJzKEkzKxLqF4hMSc/6L72N5qk98kh7eCV+e10rSrUB5jDGzJCqDemQgNd/yQnPUpNJ6GAwu3ZjhGkbdUU/OXs13tuMzckmpQZzgcD6UE/dMumfvdmZtFm7uynmd/ALJXW+ypfTiMvqFcbtkOqYuie0Kd3iNph/I8t+HqUgx8F4ixPm4vuY6LGwmCvTk6S0hv8Of/FABs7B/Z6cnYCyh4JcI73JNJMzlfknKlYpqVphbJbOTwnrTJwJq/DwJcdPuZrKmJpY0XUFMWB0qe15C6ao62ef83fBIPichyI536ihvl5QHc3gOduTD90WnOXEDOoxF4Nc42xAFH9bEqM4mZMXX5CyBaFARX+o5XyKYxEMShjST6u0TUIZlh3Bsn0Hzdw0tmNcHViYPVoc6Q73VZDqQ8X6JkSTuNmVKD4MIUQ7Jlwfo8pia2T8o3jfwl+BJuU5PzHZs+GnryqXn6/LiEb9j7vNmqCqYzmC86/CaZQfF/n6ctB9zfm9h52ZmGE0cqTB0Ti42N6bAXYyUgC+iD8Q5oz68On767XyBn0L6fFm2w0VkIwYtQwKWetmAWWyfNNwL9WRVQbVkygCwDNRyGl6Q8RTAo4wp63Ai9y3C6rN9NYpeR5NsJeeAOLabwb2HUTK/CJpRmQ6PRDClgjhZyFRPJtX2ECu4bxoSwL7LDVkq/HcoO5O1ZS/3dTymLYxGw2/ViGqyMp4NVMmWYuLG9KQWgPQk7ixOomT4u57dOnk9vyeu/+XRkdAFit/hZyb61djl/IsK90/Ha2uuTE3Y3jXqYsdi+/OlRzASs6sgC6/G8CPNrI309qC4isHG+WUbC09RRNxl5ukYSxYpaZhGNqaf8XcoVT66J6YT2Dp2ZfXpa9jjoAaN4OLOHUDBsGYRGMfEjh8XN5Ze9H5pkM/WaOvehem+yb1ipcvSsaXkkR928xDYfDeEcKiT4jcNsM3HfQos7GsePSjTpKa1Qt2oKGU6rK+esBopbDWEaI4yIPrpTeaMO2ErH2ssBDw5nnl0bqul/XRjgUHYkQ+yYTBN1W4HocIAwnxRX6hjjghsFOoqSkgkK/y860bUaenCTuysq/EQqcHBGojk3HoO/79VXwe/FSJu5GX4bTya8d5/O6N7Y+s8dgHtrzZdG3ZrxYQe9lKvZG0nXJAfWTPNXPvtPGjfDmdFHF3k0hQ30+MLNfeln6fe1tY/STMa5AoKeprvf1Vd9QPet5NArtzpT1R2v+piHK1cgrMaT2tSaBbeevHUti02z6QoAfmn7NmRD/f6gIe7R0NDaEDOhRKDQeHqxis6dTRgKGa5oZnD2JgpYvAh09HSPSHcqXUO7DNj+bsYQzs/4JV4q56l009ufUQrYIbql5HMXmhAkQmk+rXBxlaq44zO0fT1Pc5gVKYisiYOt4/doYLlVDosO5qC+Vz2qq96aSSS3H2ZizrbaPnuJMR1aRUYJRzIUCK5H7d0ZmMh1q5oiAb/mbWpPj+nr54Sw+xKyw+jViJZmShYdz/i9mE3YDVzoCaJ+m/5W1cdCBwTINMkvszMfFZ3UnOgyp8TRRxlNqA5KvHeiKXt7E2NCLeKr5Hie5KZGroWiKY+xp6KgJJwEGTKBiWm7sYr7UCbGdUUU2NUCpo0HAwR/8xVB6mSNR8JT2KisZK/7D9LTZHOgZX7IKwD7CT7FfM0DR8rP902tPYLyfxbivLDHzq0xjiL5S55IVAh2G9egKDRluGJOUqfmfjtt+Xyy455uKwpWLUw2ecmo2vRacYz3VlnFYj8CqpsD2wHj6p3mP1dNKIH74Y8gj8VhUnXYb+ZHXwq0DdVpzoR9bWzCbXCbebrzrbiWfgg3FRhcnbcL91v9L6XnSIq90Oc2B07aj5v31SFhLlln3XTi+2ckA4UrXZOeEK55IXRicCfBZgfDO9ovlPmQ2K4uUUpsxPdjA40ghcJVlIFLZZKg4av02pCQvNYFItiKvPu36KGcDJbuyW7yhVxEbg6MyzhzQdPCR+D6ndUZzdZcBqhHCoBirEyhQNHuaHSQsizs2QPXbpmFjIieFtWbXWtsOI6nJwgUmghV1gwyK9z/m9Zskz2nY/gg+PlddGDgzRMi/7uBITGBiPMZiLGAcmBBpS5fjz21AHoEkrkSDnX5BH0GuY0Y/xSHA7Z4eHRTV56MAQ++D4zdSUj8fBYYcCdpBHLsoYagHXxLmj8Kqe7OsjrX6d2WuCd+fMXRgmzvScHUVdm+jTMDmAymHG+0rgc9kn+fpzgf/arIPFQ/nYXioDQv/vyYj84he8xuYzbzz2nCQf3cBy+h7zdSlm9SHedtoqrCUN1de+ld6KiG9z0lYHUjl6e0heIkv7EMgyiWxrBlGHFyl7GvzLK5eyyqqnef2uIOT3rMcUmMjiF01kqfRmF/FdClqgxyT0r9CA+FGz80C1VI7XNpqyernuxmEYBYUd4XlhXyjZIjtmSihhLdjLCsadWlwoH9J/ywyR1wQ7ENzVfATo+ACKxZkSCGQ1GoKOzB9C4Mm819u41xBG/CD+KTs/j1wDT0wNWog2sbirc230frhsY/qvQsWXwAlihwkMbdsT3XbO+/R2cb1dw6isBdgZ9Kfs92F2y4NmOPstWeb6Hnuiv59kd8m7UkoYNavsWhNPx0tyD5/oLgYYZDJHzZ5OcDVZcb05pjF6kTPW9JCt53Heo1AinSee5880HLpmdKxH0J+gm8Y2y+qZemqjFhE/OlghN2d2h2SknlTlg0fwk4+FN1WQlpVd07zVoaX62sACbE/VOMDj4hW+gzwW8GGn7OANJ9NszhTMLas7hDlFCf0Ipt5KDwPDogeCwbPvPo2B9D9X5nuYIQlntEdDv8uYO8kJaE6kYEs91Ocknku+rT97VXVm7KyhYYyihnk+yYFSCz3QRTR1iCfiyMbVjMuSgjz/MNxuWNqBzX/WOpLHb8EaiIo40chf3KJJvB64Nfa/bZ172WsJl25Cx0+iUXQqM/s+1sK52eUHlmxIeaQQrnMvJJxPX4Rrq9KxWiFtvHlhx8YCRIm9eJs5Ram9vDHCWmud/M4X3qeeofOq0vBpXAihuiKiJeLLiX6TuppClUqqPBmyUn2zTjY8N2c6Z118Jgb4OCXIBDMxGKMyHBqo3751KY88cUvhciFEKNnj8POLnWLlCsfGbvqMqDC31V25rzIHW5IyZznwCgWIiqghBdyuGvAss7zIRrtl4DoQI643CAbtTHyo5s6GxzINEaQTNfJTrcW2VMEksJQ6cMcwBNCqVyUlTRuSwido8cntIUkRE/RUW/yG0bEhcgLtKU/dJVHlIDLvGavUx2JD1uBZixgzwzAGAyhN0UlwXQ29dWGs+volbiSP3ecVL7PHGxsHeueKx8jDybwE39NnmZXAWkt0pz3DIHfGYvbF7YdmFvls1C+nVJ2XiTLFnJcSx2iJQcUYfooHX4mFicFxD/oJEpY+tte9BtulsO2gY4RufY3htQAvbxWr4ihRUF/AlqS0tcJM2F7QT4skSNuchNfsz7P870FrHrfa23iA89Tq9TvcrSUbtX54Cel2n3e4+nQp/ahd36E9ZkucRIB6IOHu/saJs092OFxz51nckwE0qHWwAuXO1BOxsCGzPa+3qNcnsJXXI16N504+nAkhOaGO8SdGo4jLLb6kLLF0yLG5VIc9pyCSfa9Tx90m82AmmM70doG1UyWcfudtHpsOMHdLYhsOOhMXksqG3Tvcfog+NyWKuq7vr1R6nN9+lfYwvZKZCZNab4xolGwoq27dldAgOAr/ffPSFflce/nOZYJXoraOPMgLIdcM6/MyiJjiYYzr533HEiTf8d/2WHx9weIUUCqvDcgiKqjt3VDk2tnZHG1ksXFLOt/p6PWUWHGnJIUc2wi8+AtZX9q04W5LsuOzi6tyk4C63cd9u0fGx4mwh3JmKJgSlHlfT5roWytKuMily/MPaiLB/EMWPMx6BPDrcJdCemy8gQoFpK/vVcsWRjPRivMnBIsHVdhK8br8QakAFoBYeWKSLIvWrTSPh8we85xRtne6QF5FgQcqntKv5CGsDSVzXfgKq8Aif7hkSbKHisBpkD+d054UH1jiEg4EcPblwzxA58ugSuMhsGAtv65PByB5f/QxMPtMBsZH59rfHd5nSz2XNjMtXphkfjThbHPvxV9iYEkIGXkd73gzem2nfw4NemNsp9BLMXd7ghSU8jZ+wpZjVsze24dMmjZWLPFmDwGs/RhbX05JNz1h82XBp+nURV0lCsygdhCcqAk5z9PXzJeZmBLEWE5n7ca2C8F8w13RZSh6rScvEQn1bL7rILU0bcAsMB4KXQ4mDBIEYc/kVOVcouejlvEzcQtyWsiimo24wxOA7veK4g5gesDn7q+VEXt3L7ybNGqKxhal8RstfuyHc2v6hqEjLGVpcKG30P/7GkhC4pF1A4MWCd5AF7rYUaIquUs4kdLHCqSpgXvyt/dy6Ul/KqkEdlT87Rndn5XnP2Ez3ThOUa9VSV2DJdiyI5l+hb/ioxqK9CtaS40p8d7i3UqK1ltgOnHAgFwWxDOey2s+y2fU+8tVyrkLGlk4PSp0avvzwmcJQ0QochW52HAoAnitTlLJhrxbxmNRP0pz70upH+p7TbNggF30n7LffeplM2wWp9tifXD+2R+H060siJ/sKil+qzA68FP7WDp9lcCwtpg/nGiIuhAG1bRSyoazRtHR/nb5HaT4fJ4QNSvvYYBTPoSOo9IjizyM+DQ8OUobafSWosqy8oYjImsvZ+amfBkmO2F1mjwmNXC7l6I+6vYDtzavETHoYuTpOE+ILRhek78cT98d+KlWZR8JLPgRFKmBle3XGunJmBGpuo0b1+/qG0NIPvZliQgjLOgWOjl6gZYZDwm23uv9GX0JaAIA2CZXQbCFkkAGfcL0tOVtUERHvKkH8GZc6Y0eu8nnNjdBUDi3SALPS8qXyT1EwaqBLGvdtzdhJ4hcDKA1jgSKyvA1BP76AEC1lJ8r5gXP7cUAJWSxwFw21JTQBzDIMHYk9OEBNHgKbvjkSm69NDGjTyhXDU9I3/3coUE47kAkbRG4fYcSg/cnXy/h9j4mPuC8L5uWQedNRHFgfGcfqsa9fIlSMP6Ol7sOjUtbM8K4ibCAIgoR42IjLTNITch0T/XqFyFYkNhe6tpdSpF7t4GMqU8Fj24jPgLUgCciIkwQnrlQXKRQkFKv0JCsQyNK+5pEUqf4SXXNGLvD5Ap+5h/gfGrf4EgKBFALAbXt4ii0yHixpaxinmOxHZRom16oEUL4gy1RU98EbEvvAplbeYjSN/PTx7qklp2z7nE5lSLK+/5E9vAvp3wTWl5iloV/qN5gH1bVLAmFnNSdGEhtiL2dBuZBJzHNsZ+GQLkfG6twuViVvdkmb5Unacq/jmjTOyF+eW7Wym3buTa8OE0o1yhwyI0Y41s58Lk06ps5VM34mhL3p+8B8rjZbwhXtdqGS196KArGIBGRI4qPEJrVgKh4odpIvtv7wI6b/92oYsIaMGmqor6dXo2ab4Oi/UZ00Ej9f1ayttcRMI3cDLTRlrD2qji7BS0WQPab3kJrCu1Y1nDsoqzHRa2yBZd+WyQEpto/N7vSmpqZp8CGjCp2WQFXbj11Mtt6fhfs2/J0MZqTLd+sBA9vX9zra2Aan5G7jBS/NfvbfAFxlJGi7BD801Ycvk4iuZNTxaBsHgt5oaqRn5PvsBwCrclo81Un+8xJ8TPIr26nrC3HVOuXKNKmhxLR5UAUWhh/PQGXDlf1csxRekapJHpNgegjFRriv+9hNgGGI1TN384+AjsvC3+tg53vws9AhYmhHcB5aMevKg8HxsvpFuWizqaB7TbvY8yJIGqiDZVaxIgOxXdUGunVrL0/ARGdcFKRTcOAyxG0OST5/KqWu2YktR5YWRG+3KjMewIKY8DcPDyPGbzrBtaHNzDZkzy5MThhfGtSSC5/jAgFoH0At4ms/fjTnfr6vfgVSQRcSVzUgiOJQMzcXP0Oppw8WaKgfepCn4f4IfoZICC0JdRi1b0M9+zvtxIwR9Te+51dPP1LdAHAF+I8bVgCgiYS2/ggJxk28uRu1QFJH/XmlRwnGma/FAk7Gsjn+J8EFPRcoWY6CJfy7nXYNX1y04Y9qqq/KhreX9lmtP/auOzsaTBau1/Yy28PAImHHJIgl/W4uzLUEBpb3+LJdl+xbC+yhG2fpZFAwapLWjishBpCercAG6cZ++sslPAb36x6aF68SBtcfV4cikOUKu4BjGJ4nT27vk5UeO6OJlnb4YYwIgYe6xthlmbYhv/ehMKuefRx0KbTYsqCiBjf0ygplCor95XrKXEuHc4o833wygrXKDn/HMG98lrWw7DiYDFCTfDZyWWhbrD/ZYhgyrYEa+WE67IHA5BFw736hFna7FMacd67NQ1gE9wtf3vLdra/ndTYZntbc+GDoexpxrJtXzyEmWAUCmy5H05YN/s0U+bDxE/iBEQqICdpmBGWpFpG8O8RoZJaWRgYX3m6DeF11CS3CDAfYRSLAGWSVjS0UpcWzgg2elNHZUaT9nZhMBSHZHtCXyK2reppeP8svHq8/PWpvQkL+XvofluK0kp7w7rY4BjQ6szZmltkfRcHFJ0RQT2ObwYvjM2b9ECi5KqBKc1eXlh7JxCPMrc1ls214fxlWMWqKG6YEAyscM6zxlIGay+hN5zb9poNoY18k3Dk7fRkk8tgoakhS+wNaLlMD02HuGyxswfKCkqyYyWA7RVCYQkrZOM7/Tdqhf4IpX+V0rFdbvAY4JKryTS0erwragzcP9PVW1/j1r96P2HQr2N8djDhQsypaLWfyPBcCZ2TwmRHnFdCBxQwNNYOk+81YOk3s+MJbelM/evMs3VvbCmadwmCPaXq4uVodQXeBJybpjG1QQh8hyIUQsUbRSd3NcUBawuNE5gcHHdqXEu9HAveq9MzS9W2kWW+F79VfZQzJCxPkEdyoeLfC8c/GB6LnTT5vY7dyUM0lsBZb0sF3HdPk4BWYIizZSXI8av8OAtDkf62ON6ob9LG0LJc2WPu90h/KuYTR/wQDwvOsfaaxNC1O2xs6NZttsteAIs3SIH+VRwdOlOxvFLGcqwV8oCTXaKjNhL13by4wET2la6F12p+mlb3a3CYo8VPQO3VKjrTWcNOnI0RqqqJ1P5pdwHn8VAkkgHDAJ54A5gRJDsjY0cQ3c/AB3xxElxg9CT606bkDV5oIcu3vQDZD0Q3R1kthcP0dB6cFI0lrdgJbljtS+/Ac8Scw2QTd4LkG9dh7aT9d/Npb0UPbqieWiab2eR3v9iJE5kByIXMSf/52vgo4bG94jyzuehiuvtOg73obiOIoLN2fh5IeuR1K23zN/38zp9u2nSm/7eljSI0eWbjreIC45BR3rwcfAPGRKbfmIUENrjEKs3hDXi4FYCiYo2hN3onkSqKhEXonwbZdShLy9WmYMdmgVUTnAsGNOGjUKUmmKxRDkAObaITXhbHo4ytyJ0BYEiOAT5wSyllyKEL65R3fDQgIphOSVZ3743PtAi/OUIOaiRViBcsAOUQT8Nr268L3XgU1/OaIOhl0fMyPphzDY6TeKNE0PeBfvLm4x32tnXDEqWvSFV63hiLwYECv2T3QaNfP789oN/gq2CbjVJGjnT5NGe8JR/MA0FTlNrbq3stp77LHUQzllj8hol5Ci6lfqhA5vXatSG9AGHqWRZWd/4YImRvXE8zWX98Ny8TfRVo9+xlVoMpdL1LzEaNkJoH5t8GF9XDXisN7Z34WoBupE3Kh8umQ3F/kXsIVdY2RrSNN9iivtKn3O2eLtAkpTJSkWeMc6njDbi3exKY5fj2sopB8jeGpZWwcijtLshmZpJgzDZDZl5w3IVjlTpH+T1YRNQG3CBe98XouHdr+J+YtjzBy7jYG71VsSvY8Jobkj8MQyTlHsyMDCEpKC3jhTsd53DT9yM129+Mosq2zsTDCgmV35DG2fxvMcg7oOrkbACBFpQtljNwGCamWFvWQO2sMrW6AH6oxfurPdvgR4lCryptF7gN2i14KNNjDIRMx71GI6ExCmfEytxjglM35vsLmq+0o6CZqRIk1cBolVhsLG3EfFv5GeX4csa+gTlMramh3UV8m8M80SDPmxg0NSMnLenES5ifAMm/tAWNh02CNYcyx84wsEsj8Q/GhUS49CFogWOZ74hW6ZBQIwwMF2RWXtto+jy39MamIBaMfGW7jrkKWY1Mf8ikQwgZ3pIkmU+aM9i95BrZfvYrbBjsBm6soBSyhJj+g0hEc8BsDUVlFcL7/VhmaxYL6JodKdpRdzoE88uphEN9vWfEPh9mS33Vrc3ppvFc2WwTkUYOv9xB+YrkVeJeiS+W9oKqRNAw14jWeH7YZ/FhR6zNyoQRTgCOjIpK/jLl2HTY/O7CanbqAzhbsCZAR4Uamb30aCZy2SpBFrC4RjFTWKWTpEWLthI4eOLEsloWLWkg9EtWitj1vizrx9YTPudD8ywozYiHEd5s5/Fe8x1vzM9PJeFAtdwu+g4rwGWgCUvBUTZmuGq2ROXyywGQ0RFK137Gw9eajlHHmqraswgAqcIiKXHGhpc/Zf2ewTEMNoYXikCNHuGENCqCE+7vmgTZ3kr5QD6t9g6lqwJ82mjEs6/bHG2W/jD/zXTZEReFoxjrmgao1C12OVTOTIryRWufkV4nCvRgzIDgy9cVcNb3TwjSGfML3jlChWkYFkapr7t1E2pGDMdrUYR1lpUSH7jv1p2XGmf8eFau9ZBOpW4Ts6/GxboK2DwVwxCXFYH+jFuvaPGGJQ0Nbekk+CWb3pkxKdj+3MoD/QYQfVGcX0+VOzA7rpSAYMfa+wJywL1BHQqpqlZz9UZtaSyedUOy0x2DBAYCWAa5WEDAYkeTy6YFkIaPS93J0wxEScpu/31QtN3wRgqXHd9s52MoppTFNoAXvoRa5pGRil5QjrhnNL1zNH+nQa+GCedTpQJuzEba/cBGGFjRpviSdH7RFLaCzarkgkCckpWtnDOr0BQOluxA3F8+eBkrIGhmZNEyd5We0EmTOoTrmJlXyH3s9c3hHtmTa5ySj6O4pF3r0DjMAuf9eRNMpDToKZdOwOBPKft01oDwsNesrnlrhgUd567omDWqtVvHGPK+KpRrn3ndSLoZLkDED13dItT3UKFqfDKG+Y1wNTcu5VClNRvG+5oCS2xR7ZKUycCB2WpU8e4QpTYzOZ3qDtGNBQRckoki8ZO+DTU+0y/0xRynUjhIu/HHdEgr9GnXkjRlEvt9Cd/ort44QsvOmKtTE6RvT+JvbMomzKWhFfTYn0uLrysPxYcgZK/HG+Qmkbc+ct3ZDd+WltsMqhvGurwTUp205rizMXBYz0PIGu/dLhDBrJGd1ao+mqYHpInNDfufccn0+8D8TwO3W+aqZDrKnsHDfSNLiosGqKcW68xuClWZamjLPZZSH8LJFFRafOYVjgD40dvtfA88fa8VwnZVa1VglQIHD7kkx60i7At7LeXlXn3LeCLY5fpBJj9yNUAas94Tem+U3bzlN2xtUl4Yu3HdwAtb5nfoZemMeOSlKrPZ35o4fIOuCEWnuDXlz9ohBypoKNsmFqUee5ZoCeoNx3pZk8OyO886LLEISAqP5XLZTwYF30UDdLp2Q57nQKaBhpBn4QTqwJyhBzp9gVM2sfEDib+ghdHm2L7Vl7fykj5qv29zwY4tEZLHMHXgLT+W3RHbd68LumLv5vzhjlYbRJEN0yx+KamsHY5DwXynQWGEum894+0QTEWq9zPSpmDrG8723dbn5U5PDXoh5h9ja1REFB93honmgQTAJqzAMfC/p34bQFwqWqLdjbxfUldgdkcKZR7cjTAzHxKMDCqY7rzI9NPbxVH2dBdw/XUlTFrrrlDwcgEwBm5ol8IQlD3bFEjHpXaZ/ZopevfT+H6qrDkDVfieBI8IEf1vRXlYQ7spqcVWN36FxNSatMYlIDtGvmH3zWJoWa4S0vuLB6kGF8YDeDxtVXBuYydykvIqJLkWeqRxVMZI3JmEJGIFWlYoQGxpvRp2KT7NqbCjTooYtMWQ0vUp3V2+GhRl4MhjhznXDqiaAPub4plgBxIVPyVPyf5MQ5vfFRanG5o5qMB/hJhuwwYSISGgrDs6RuxgtKSar+GZvviIWMp8Hai1CPd//Y+evZKegsyKBa1dqcY4I5y/euJJGFqPfLO+2Tb4QC9CXeUAE26lqUlzWzPWuqwbgpBqjipS85Y9yBuOjprV6bUKthvIfmcsdy4UoDlVvtUsHSD4I9czrxazM5WOpNpWjxe/+DPsnXIiM1TEqvB1WoLOX/WqawTf3Gq+7Y3MjmHzTJMm5Jyz7G7sx1sZaOycBlj+K0Z6VH1U5YvYgysk+Qtxpt5x8d2m2s0tWORNllxRHn+yaPGpNgk7G1yFsEEuK1ZHZXcKvqbwbzNlCE053duG8kvVPfrShJZmLWqxbwV2KqyHr7h2jgZJVxVmIBzQkP5ifpDMlfvp5vvhnqeddvF5gNh3VxkSpERAwtYj/l8dKMxuFQRvL5UjEKX240IzseTIe496l6rC8iW9EtT5+kg2wAprC5b/bufscjb6VsCkriy/WbgclavvFJK3vENYNLwPRoNOnOWhxvegX1D/KgquxZ72fdJ2i2Y4M9fYmTKrZi1QFWxiTrZwAr+B3BlwEm+jd0Hoby0ipB4FflwrGUIujDE8bOBPAXmDekuOvn4ZXd5UKY7qOTjfkWKcZ8t8p/Dj5wC/CEve2XsXGTADbtSbLNkSNcSS7vOB19srRjL3dX06BaVyRVozDUG/vscMnsMcNHJsgDt8AqO4BHzpycq1DHYHYSF2eCUK/ceofofku1866V8KM5lWSF6MSaB7xEGDuLCHv81ujcj9Abgz5eW4pn2JZipoAeL4PEDOeFN24Lv4yKkOXTG9EdVGWCa00f/xGXlmwMTy5OUKqAr7hqawADE3C7eHXPKkIlZTPwwM1dR4ndSQMZl/Dzp/7xbqUTIroIWfHRbzFEOBB0FowDumi/BR+R/S826hYHaf2Vqm8j9jFZkzevPNk7MPw2uYpoHh00+DHjKovg6gLFh/S6Ok1FDLaJ5OhcpH2TqlccFM4FHfK81MZ2cQgrrYjJugKMuQlNTnhsDgH+7y9Z4IsZiqMG/EczYZOD1sPnxGe1KF9gSSXXMS2ei3lZ6VrjOn03MpCoPk7krICrLem8e4lqSlfiCXcFD2YgZZGiCFXEa9fx+SFOph8ONI3dvEzBs+GXa83ueMjRQgwCbsFCHcVNw3FGxFO/XEEqDv+Dv5s6/g5EnAilgoIacwjWjNKSw0TMwUm/mad8wG3GZOpR2GdG+X8/jOlhQXo5qv+jL/HpUkso3/eN3vnCsyl8u7H0L1ZSqAxcps00jojVRIVY8ZlJb4aRYgzTwhH5mPq7Jo/Bw800+C0Of/Wqk7uiR24nSnl3kZipQt5cU43kgbXTpLxuzlYM8uokFUBGn3teBZwhLjRmiBA/6nJAqTmNOBpUqVEi1FEPfbOSfMYm5TqNNvLZegWPllYoqNcZS0vfd15YonvHU/g7org6wVSoVZeR/LE7cBbd9z6qhWnI53Y5eDQ60LzHAm7HNzI88J4nlQcUHqnObRjKBm4SNKubRMUro9Od5+l7X0GJmHrO4FnG8npDaH2c1ECxVpgXLDQad+hMqUki4YfasQ0WGLPXjl+8jYqjSlIJWh7SSPP7R62KiqVoOCJyS75tYX9KRjaACX74p+Dn7uGBYlIAaCpOYYHuws6KaPf/TPKwdHMGgfpaWAhXpgClvcPa8GvxDsDcrMfBwgDPWCsR+gQGnW02Hw5Vkwa4q1F4c6P/gTv5OOg4QxxVw3r4vtn2X4Zf3Bs1ToTqj1k3OdI2G91uOnwozrvMryKoyTZrmZrtsfBAKX1/sNhB6n9iplCBC7lyV4rqoaokxNKM+oEYMN8UN+BAx9jBCD118uujdwR739xMk08YBfvUw7jfFBsluIEgv4ibq4cDBGrnm3HoVfJAoWgx8ccS2xYbV6H20k9eQTb4aKWvF1KCJQHhcIh/gNpL3C2NFq/rGELD09t6Sn2XqBfsUyKZL0TyLvgkLCq7/knXHOqn4YFOpQOjQULVhYbNT/vekR9Ws8wELtFMk7nZ3x4tm4eivxVi8uSQnlv8YJEVwDOicJNTKKxszWPqXKq5wsxQyXBtqM5AiNtI/QDCnYLKZ4NLOzgGliOiPqWh2Wddti2PoK05WC44F1s4u+Azeqo+ehPSWckbi8FdMrU/D98m0aZePr6FgErh7cZO3njtsuXT6ZNkkm3qt4dI8+/OYOpokG+yIKFl4EnOR1hHWSekWuC+gOGLMNuO98QxW3P8MsLlP0KCT85zAFtRvW7iLpxOGVMNzv6gKck5bp0zn3k2roTSd4m7tZ/2uBwNk/C4wHM9QIN+d7Oaurr+9HUJwlllWYlW8C0d6WdvCwCPbEGV6GjmzVDpwxFJTny8i93M59H+4QGP/fGvWVSI4+REZot1bbHjRhy/qJ87k5tHQhGmv9WVBeb5UgcslmsFWLeQ1YkN7O26JrYriT+FRCxhKyvWv3AjEXFk1cS9nMGzgLeSWxownouQ2a/+UpO3kGY3grawEvad5Q3Wj/grx83rSYkp1o+aC1N+wr6FewrvMkOGXRqV2lJK5iqS3K3NQrkqFCDyVjZcHSJfI87B9n7Mtvn8VXcOnDF12U/thdDnpw28cksA9P/qQ28mXCfIgZhKyL9z/hDbU6Q78BQfnEjuYHcQ2BheOQbIvBBFZZmygHnmbFFVZ+b+NL3eM7Su1w4V9JXh0gYtgu4iADJ4HQlNsh4nqTZuaKgl4ZGjXWHsWGR6vgv0eZl1eSff6EzCo47JpQwq9WBR/5uM8QMaz38l74xsIRhS4/HbV1yusUvm4yNwVPyj8NiHMW4IoKTok2hwijIcU/LF+u55L3RR8cPUAVRbi8uxCO0REXTnapK5KRE/I33Mq+e/YG8iByGkE/0OwnJ6e9C9QKDOirCp7U6/TnuPeAksE3+8RQ86aetizy7Lcf61/rbZA+YXvGUUqpI5avhV+5WBrIFxcSe0vSB45Q91AtKha6p51tY+5VBaAfQiyTzdaE5GIT504nk2uwj42Cy44ttt5qxK1mxzF9tBMieKIiIlOcijjruGf3jDUpC3OjE7b9s0pC0ylGH/xHT/YW4/+kk+xQU4ozcA7bIfqMHFKgNgfeey7556LK56VvsOpLMITr334EMmAyPo93S7CQ4Qwgq/wAUlPae4WXpiSwrTKWyIfjVCDUd21+fvmc3eG+8+0z0Y8O0y8lIaq7A0TJ0qy1PajxsfKfNeUjfhjAX67VQ+OpronsmJYJBkXhnFaSRzBtfjdI+qDYGvZXzq0mJIm+WS+LxvwogzwoztddfqGxJSK5bkm0C/iaL7UC58JpUUrDmF2dK9Nrgyj11vVFr8sMcoTWgBnVuGiyET7e2xLZ8qVlk8tf9ZdfpFwX1ziofueN1Pd5H2lvOzDLx3u0m2wXbAB+Gl/Yd+t4HNuAA8iyTJj8jDmANSKqwPbwfs4QpbJ0Fk42FL4/aslG5yvCZhQeCbtwhMoX1Zh/D2JFl79Ko54Ke0ef3bcbsgOvfTQR4KnDTnMMo2Zb1s2r43lPX9kr+kfyiLwyd9qKD34Kc7n1esGeG/cE9R78Lp3fKYlrW+GTlncZ6q/cEFdIlAxBWD5vRl1zuHCIiWpVRFLTuA+F8PU+yiuzu1Y+85UeNOC0TekjdR24tJRUneITQQKM0pEWYe1gg2Mxpt80FvuRMHk//MyqY/EI8rf12aXAebvTrQ9CK4DqqeyPaUJWY1iPF/rYJ7c6ecJ/k2AtRfX5rHGVVbU1TCWxPZ6dm4gmRhLInfNb/RK40oGBmHKN1ovvHGEeMwyhMWk8/Iis+Aolup8FtN7vNkRMKC3oL9Z7FX6/rIgwloVjfZJIdQoERCGbgUi9qseb9rv44n/ny2y90hkPszFdvP3BTbFadetowBSrOKe9nZu78EXYYg4PZuH11BykEfglMLU1WsXm/0ttyNhnbMSW+U13U8U0NyNUIqRcSNHtE9JHW9QBECtOV0g5ioHbDYJLc5vbp/ElB5RrQlxXQcdHHtf9olAg0RWePIN/fDlXhGnGlfuC++4vCgJQFv2YN6B7G3agqED5NxVetWxVYAUIliD10Fhvqhp2NCF1iqa0SFT0mvOI4rynyoOjKs2s7FxbK+ynrxPtZjF7qKvWDk+RkFsPpzmMnN2Dfh+4RavcKXyFwszJBev3iYy8yYA412YzK7H1OaxZSGgTZgsWpnYSXDR+q3QutLEARg2nhdWusclIHYARjr9oHWLbvx+a68oM4Ej46jEVeO/2sf2m4SBkp+L/3LQmd8TpJfxuf3XXl6plfklH8RnhnwmzotJhhd0AKtFl7dc0SaHbGxwWvP4ocbUb7ckEnjoYYu3nBik7xtW/r7+QM1K3Q83PW1kUwjst4AgxondRfpHJ4V43ypVRG/7SW84ThezYnujjH8+KucZzVdyPxr62sjpNLYPvKPlpsfuMZ/79zxZaxFA1H05J+jXS5brpGjVmX99hB0TGcGYlzpf1qOUxIRoEZLNxKyLtqveUb7RoYeBOYdjT0J8i53nbCqVSaZ0gmVnYqkNvD7sg+ZO1T78pDQeqE9BPQqXPVxEia0YPKnSqfV73BZie37p7dCl4+vw1ZTi26sZr0GOXTkAN2FDZJYiQLhH8cpbJBwflZGpFZhIrTdnrP0mHA1Pft7KiL+Gv4L/nAAzMxv1hvtt0NTYgP+Z+u05xKIRHB3lDa2BB8A5MaKrSE3MKNqTzU9p+xUkEoepN4IQGCetdnZgdjoJT2pn+AeoNYc4hHj0TYbHy3107Qxw4+fLAkVW6m+LEsQE+GQ2VAoN/57DjuGfvTtwA951g41XExXjgugh+cvHjJWMpDo1M8PDNSOH4Sq4N176CT2R1/UQut6v9N5vP/WGUXsdIyrgsGEririUyytdQ0A2uMIb7KEtyO9PMkq6NJ6Ez87bNS1wpEzyyvaff/0nXmq7REpxJhkV1AFG5KcNnOn+VozDq/+kFZgGR9L/7Q5a4KoUpKml3xbCSnH4NCuSHpynPsruxF6bcLLwM1eGpieV02D7vDcHYlEEvuHLBIGxIh+eTbIAjflboio/kZSAmhSWH5Ce4WFyxn2wyk5TFyQ02C8oI2ynxN5NYMX03cEA6TV5ieQ9GSKkOaoB3yrTeH8apJ50pqak+wLNUtomhSoBkAMgoLQTRG4G4/6P0PHOTgctANq6pywoW8wPVxWjFA+85RnGBEuBD5Gy7+bAOcPHWMD+3jkZjs0Rt5zU3zujbqj7vLPVr4TriH/xFvdT5Nhk0AsIYq/uH4JsinHh6GA/KZ4Z4giGU2LqC4R6jgMYLJGTM/ZJbvPKaactO0fo0jiGCuw6t8M3S223zntadFY4tBmrLsX1/X4da9ssB0mjZywPjToFoQodTMO0Qj3BYc1gonn4oxgzviO7in6JuAjpta43vONEtDXIfaubF0Dokpy4oTB51vzwie5n+htLkJxeikzWKTpABPlnh2fChtkymyTbuUYJnKEHEtCbH2idwIkBPclA/Ejpwx8WIbkWPKrWs6JW9Ds9H7Z8ZfJFwfxKExHS0iT9/8YgBVL7uzShHXHHBlhfLTARAuhBOZOAboD7rWYT8HpbxPlJLnYuvurTJJpYteQA25IKhNrR5n8DRcFZ4jGJuhocVEltta8Ea0QFCuYYG763/V7wgGmDggrI44XV8cqM3PcueHvrI4fUGxoxNZ+XzYDPNswYnrlIy1nxNw5lqKg3F2rBF8r454TLxXtafn0V6fYZZxvGKmJVgLSKJbOrvEr60+PtJELYfaxiiFw82LE2oob1s72R3iYHP65KbVDOEr6yE4HuLh5hHyPvDjQjR9ch5pigrxxuMEAUALD8CBDY3dZrZqwoePedT6BPQ+dgWXBY5pgv3egR+Q5nKSlM8WBYk4iTKPYa9yRoDb5IDJhW0euKcwrLBplo0Fg+1qrsr+huVu1cTUX7YN4sFIHs/jFtgWRvfJom4cLVsg9ZxTMDFaJIrLuyFuNmB1g921GPxlf2xddMO9XgKSQzOvh2GW+m03l5Q0uLx+woaW0G3QbABcH8/bUrBzZfbT5s3n6/+fynM3p7Cowry2Vm/PWrW8FvJZXAIcIAR9TeoDwYoaR+gFT/Cou0KwsHphG9N1ardX/xxIOj1BBwEvXS6Oy6SAaeTIrNrk94nwvF85VT5dg/kDFSzc4AZ7IXudOx787G3iok9mlm/RGhVK3hsLVLba35oBhxA/56JQKTaYWKrKP33a3LXbzRfLEe5BSJNZBcDeUp0FuxrNbRsT+ZuOIYQX8jdCivnOyXTo0Bene307qNVdfs+hR4+9vb0RaMOUwDLlLRc3OZyCe7xgxX0w/fBUfS21kFSLP9my9XtoLLo6VSMN/L63UZI/6VYp0Z3/4M6jRvuaoaG5tJ28e+N26qUrg31cwTYlxAc+1o25vZ6+gIHFTpxga+fEOh7NSC+yKkxRcNthHnX+RZtEy7aXJHm5JxP+0juNeU4Lxc6B31fR1LSrBU92YCR9HoTRpNb/IV4vZXdU9WLUd0uENvvfFlKG0UFVh4/aMUQ26M+B8M/ks79bo4XmpmQhABUQlKh1iybAyhWopZ4FrlD6sBtwkWNMcxAoVKWcPB2sZrhQwLAPoN68c8YT2Ler74wb5fvLxH+TOvkIj145OmSPofI0djNrVWPjnL0TnBD1MKVpRcK6K/l+mkviF/0rCuFuQWaQTXbNahFEUwKiXhJnO9N1bHcSbgmJnx3Ktd9eP2PVXofp25VC8y4a720p5IoyyHibCRCLS2d/q2ylQjpe2F3FLWFUwHkvA1sIhChuoS2EwO4ElVRIp9U22R7eKHaIdairGejqgtxiPnd+VFMtU6/Oqv3sgpO4XSb4o1YMfCoSc+cq8LPi2maC0P3ejeEmnB5mjKeyk0zL2BeSaGs7YGxiPSVwQXUy1NH1Nv83mXnL3rHuTPNpzXCrqHY1uRf63tvfFqGPJHQIrIwOGIvfzAl0eyf+bGvmDxfFwdB8/oJy+bGikRpfri6eG9jK002nNQq5oGk2lwuurUDJZ+RUW2H6W1lfAW3V3Hnuq1Yj+ZGBz4SDGHXn6q//CXAuLa/rzww3pu+eijWnRG/T5DhWz7afTC//t7bCBoQwPW4CNwl06vhvg+OfUFLtbRo6AmXQXmPBU23vkcRoTe4/bRNrMElnWcBfZvpzDxwL/jE9RgcA4CcQ1fnqBC4071GnCgnHTPQ6wVdFesIefU2yUvDdOcC4cwz4m35RY3JFnIbeBC/Rndu6iwPXEvQftkW/4cwkqeXnQoJf9BnM7J5M6x76TfjrAD6+/GKJ156FfIzJ7iK/i56T1T4Llg1f+vdhq48P27VIEgOcU29fAjHA+t2E6WO09GLryL/7nSBymlVzhOHH6VnOe3z9tN+hpakYobA0PRIKsg+Dg4xg4f0lLTJDPL8k8971p5fCz8Lisxu6nqdRrLgp1KyRf0KiUxFpJ5HV/NfXiyR3sShDVXdx1a3f65c/6IHDC90AMagATyDAwvY3SodfWDTNjWhdRucB0dqusTbzUC8rkmA0WaQdhpRTQcUmustEL14nBSrINst+bTzE0C5LmpF+8RXZzomeNstm9et8MW63Y0sKKfHkVoMYtPObZ5gqmgZEKmsfZyAUP5pndlwKsJZNtigcA+zchklEdWA4b1ilRFm+5LVhKQ0P37kEbnyWj8BHfqtSz1KirVYH6r43+8Y80oxsxQmhI/fyW6KY495Vq1s9p950EQP5kYlid6IvEmqa20wmyt2dNABBAqW39yMfaxG9PSQx2Xmo6RLa3mV4A3Mzk9mPmWztIIk4geGQSdXPjUoD5u3h5lquLVN+uk4IZrq//QGckdhw8IKbHO6VhtZ1m1W2RvbcoOZ/IVIw0fB0p+wIRYGqPN1RtHh7hoDd8f9NonCgnZwRtAKGEGO8MACGekV37D8rM6dmu+5/9iE/LbJFOrs7ZNVs5oIfprk8n1Ds7s74zAbG+C25qHQ552peZnIlOZxJzSi/x+dRnC4rTcuMXTfsW69aLlPTFPfM5NIz93hBD8z25Kq+rGQ+2hxoztiQ0sbZZuwf8BT9OA6z3g92IPZt80aXq6OwzY8AZ2wG+1f1iVGL/kcqWs1ip4fSvd71qV8zdGCarriM/Xs7aAJmUDvdj5OotgUHgHPCakeg0JPCD5xYaq5kDjHNt+O/ZVcDRZXM4meWKoTA+sgMJ9g3kGZLawhQIscVdK3fHPMUl2GmMSIl4YZj/Yg6UFDRRUw7fxnt/JV2Bj0A9DC1dzGfHeUFg7zqGF0auPJQawZLgdAIG7e1OtI00/ZJN+kYSZl5k01PjubkqqjVBuriMryo2YKX1zJotHps45gVuWBEa8ZRqKRF28OEkahY/xiPAFQLwDQgaMt+ny7jaHpJPUnWzckJOzSWamUEnNrUdzDEifPBb1JkPmxE4Bm6AXSDHsfnzLVFuL5agavUKYus3qcxZIGth5zXADnNHuLVjXID9nBId23HlxbJ3OJ+JQKRBUFa9P99U9JpNEjAQHXCm+24Fn8oVWIeT798/qTk0zyJQtW+PamdhgqjVPN8CdWH1WezB85YYx9vOfKzTHdGtu4u3gEvPlWLuInV/2SxpE10VQUFqwW6bee/W1xmMmpKGsn50ahpwvR1O7esBYu2d0400xj9i5N2CHLqSwFMP9+DpHp0XhL1gPgasHc3LXCCkNTSQEzL63mBAVa4DiUzbFixGZDavlNWqwEeKkhtoO3QKMvyrtpueuya87ADrj6yb+rtv8CMKUIRB2nTzwTNd25ASzrqkovKN+dzkIMi+7MRaNc8WXeOp4fVz6dQJ90aoZl0+Wkr9X7k3GoGOT1E4bVwgB0AiiaB3EBaw8k6ku9yOpcgRp0qe5WXMEa75VCI3/gyJDgaTDxsGZMfXgVFfPPLCzTx/227Dq3wwL799HaGdjJydE3Sl0z1hVDrYMNvdSDgiMKp6GqcutCXy3xRHFSqglgPFzu6U221JRLWl8kxsdOgV+G5eOT6TYKGd8EZzggiDEo/70NOzz7c4FQ2SzgUCy8en/0ROjhUc5hn5UwJWh9O6xPb+9ja5mSRs0nAT4ICIsaNv8B7+QkzJCsAJ6Tp0ovB8SNd3wzRyJ1JhhUu6cgEGRmjNSS3MeEDroO0BKYi5kmGzkUEKiArzIng2MZqt6uZdaTHaBRmUyV6nTsA6ETIJMJHdMq/KSLLGnMpWLamldjSy+YV5wlO4HJ3/tD8B8RNfOee2v39KM6ANJMWJvc+fpViXEPC1MyQ1YCTIXdmIxoBStkE8HLntPIw0Y76eH1AWmuLDiit3LJ4Cd4IKp9XC+pcXB5F1YdR76HK63pGwfm+N5gfcKiLpAa/PzpHi1ybcZrQGyp9+gzVR649PNLjga19wjn7ywRrZd4JuBJ1YYNqxHFT0gAUI8iH+zKjjUsjRaPoiw7mpZH8+g79CnAZnE5hurv50u15nqCd4Dgl/EqoSs6NxPKtDeNFSPtxuAYjRWshQjauQLSY4uqwVx+Mo/8JJyUBvATtttWJHHek/NRQYngIpnLyh63fjA7weJURlN75xsi/BttJN9SMcpLkAExvx5gjAAW3pAffHfFHMSOWEISssmZj6p3NWTlnn06loNf2kZnPePtLfW8vD2j7bMuW8yr38cLdR3qLnEoWNhE27Yeg8Y0PMk4jajA5U4VAq2A98uuZEZ0t5C4aBPWedGl1MLQPxCdww/0UvndEbgdmbv2Qfwo6RFaXJNdhOUnrnh4X5eRjItSFwnc6GwNU2wWjeV0JiMDJiV99/aul1YoIgkXDKE3JEmlWcEB46tcR2WxptDldOzimn9rbEVZOZxziiKqxjjf18cUjfODJyHKDb3ArNZYupxyOC99RtQXzS84CDXYccehS9nJu3/ZgPlsi5XV5kDbGcDVXG6OjFdYgDMklGMTe3N1YkvIH7pEGYByVrRLq4Jf/Mz2gNhYIbfAm2tFnc2Jvn3sK3vifWX9r56TjLLgcPXROf17VjtQI57PpKEjD3noPWJspZKdJCKavLr4+ZDagRSiJ9mZQ3L6MmKZf28EIapE2JkXrQwtrcSON9DV6KjgmpT6FN/sWJ0V7V+HuZwsePDMAwO8tayy5hV18QXLqouRjlaj7Tams0WwIz2aLv5Q2I1ephcO+0aOpyrjchoj9+8R1ATi3j4yySRZgCDXwZHqXGTOViATXGlt9RlOsfS/PKeU/5PTGDiLt7Y4s37MDdZcuzcXnsW2zgLTacogiZ8OkcAfKzPf04Y62bHXs12Sdnq8fZCaf5jlj2svooFJJLCuk9fRhDUNK90ilHsWmXKGiMJJYRT0w3dRq7Ld1+v9aIIDJ29pAYvSBi1KwS+UUwDypKaPOdt4Wbl9qYGeWhwZr1+A5G590LFoXal/rGOx2WHC+K+exNJoFYYkuCit0u3Oyr6oipiYCx02rw2Qzfzm+6ASLlwxSEI2LAJP9uPUDHXgdhWd8bXuOXdtr2UbRSRjPsDaYJ1haMnf6OD8GiqEzTIcUhh8LlZ9Jg6xU/lrO5rC1J82jmdYtUmiU1dflPsDL7f0zmSA+PHXDBxM+Y16+3zRtWxDiLX7LWoCZqDx0M+N3dQPpCvXoELeBKVlElWOl6opcjc19Hx2/VAFDgFQwGyZMFwPYUIyXFZRExqXKbK1Dq5OFLs4Wi6pqmNXpzkwkpOAt7+yIMpamnXB3O9P8MlPwcRHVnE9T8ffpDYYD31/43ZH1EnkPwU0o9DwLzdSHBVCI/BDP/MbYh0qsZhpwvYTr43DTuiXnCD9F+tkfP17+YXcVw+cgc7o4eML5nMp8dLGL/4Zjf5YVXhR6lJzZ7+jfr/DEIaJ5T2HcKNDit0C8aQ5WJrt782mSjHnVYpJ7eUHxDgfp1SOCIThHAeC9+x2meXRgRU+WZu3ahbpabUTLpXVzVcV3JHVNRaa7C5WlmM38WVCnO+3gwcLkRAks5peGaVKDTETjClHHKqOCsEpfxurzx0cFjPEQbd8pFVxcCKlL1/BcjlO9bDg0iF+stHPrPvk2LDM6cDE9CfTcOB6RJzcm38/2+jaEjn4MtgijBrWv8FLz14+z/BIi9Sm7gFfBwHxgDC+FOk5rgmSjjSzRin04nyW4qZbP6CfN+cVGSLicNvglwnBe1RDWj+b3QjRMSgGCKUHlLE9Jc/4rnly+CbS5O6aU/AiTCqC/P36Dm3JHNbYJaAAZPPaAczhYV5e622WLSKeZ6Z18HO6+lyL7YCov+f9i6T+qe1w5mSkq8pbJqFvp2txMOob21wnmLEZKWcW1JmsIZ46xhJN2HMgQHn+s0pHe/2VeiOEVyMyKfOGYkNYctTzid8wfdMeHkyjME7DHWG4X1yUpyA8jp2j4UQDGrnPr4e6+XRgHu7L75D0XwuTsFaLiKkzqkfP9+5rLUa03iqRyFGdsSfIlbHNOpI6fiSgOwphmkQqgGmmsqHkYvaEJnOpxOyMApI9J2kuLx68RA3SQ6o5NcVwshyJQh37OVgvnlYhDEvYXbfWWLLuUl/rlFrZ94dm+/XywtPlsQhhfVQV/XDWfGOx+pSAkzW7ZiAmjqaDNKdh6sL5ZfC5sXG0rXQFI1qXsLa2SwcmXmWxsgyMR8OE5osK02hKZskMTZbRDNxjy5Rd9523Wz8o45EqgUxQVH/LQnv0YJwRfsJhyg2RfKuEoyri8Cb2eklN1Ed26V9K84Qw9VLMCsDYKaszsp4WAM9PdwkT0lI1xdxDNJC0gR85H7obt58hPXzekjZhkBakEtJV9xyv49RWupOj7cOawG0eMWKOWbiHBSHxMQl8DkT6818SuAuA5Y9VuskEXk8aPCaCC/9KtxWO77yS5lz4nIVvPUOrPKhdCM87w3etmVJNhXyih+wl4ets9PNZ76SmcykxHWWSVKF3FnxehAfNXfsAfvwlPOV+I1zPv/7V2+kFWcOGP7k9oBc4qY51bu0L/OL9IdPfJiWDCDJx/sxYWyhqBVzPZMQmQHYrm4a72BXU9WDVy6KhfnwARIXgEUapiAmoaYUlKqM3mL3hSSmma28F/qi74d5zPterDxWgYs+yyxYUxzSq4Rlm50Z/nhAzX6iccRCz1ZRBZ58YCEHKHRfV+5Cwf3UvSqhKlwjq5CG8wFx4gJagtmgtQVAPJpb7qnmTby6cQXVhFxyU6gjSxhnSJaOI/Yeog97ZB0Ge+WgXM6J7fmiQlEfRlFPxqP4phg2pr2QRfcjHFhgaFb+R3S7IezFT7797vsPuZvK/vUl2FRbtGgra3VOkmH7FPVTAArbZHE3f7f0b08bfqpQ+o9qEmeP7kfYtG9laSl+VO2jnuSV+6dUc9IsmqvLSLJkS49iJMsQelJq/p9ZAwujUP/Lvf9kEYQFbb7NZ3zpILqfdUofYekoKVctAtk8lD98uUZ5PpkRA0YlZGTdrKMiz4mJh8aDJsLpy7KzUWtW+A0nhKeNxGxi9p+oKhrAweyf2QXt8oeTjdCGK50KtSDlDkk50ClF+52I9kEwaY/H1Se2tAo8VmUvwD6n/Z3UMUi0qA6oshKg8ssxwj30rqniGy6yDF5bDAUIYTosZwmqmu2IFMsmUe8YpE+aUw3KlpmZ/2spD+TyGavsh7VPBB0840rBjIf9NoOPdQwpKpED7S83qzdqXM/vXOLSnXmYqXH2dq9uDu0BJqiGpfsmXxjkZuoDNCRqBe+/ja4RS0a1zEOw9bZAZGQHtPH3SfgXC4RJ3al8gggfDtvCUl40J63RbXrP0I2NcipN3LiV+P0iOwt4kIwvq0jx5PxoZ4lPhRB2AMy4Dbm192cE9a5l3UaUxF3at6tv9abQpw7Wq2LZT434dJAYvaNRDfrfJ9TqxSsA+hbQ2ZXuzT7rpgU8nM005qT6sUmjM4tbDYvcGJUSDIeOyfOEqgSOpJxZT8bVKw7aPtsgcCqrJBP4v2pPumbiXeWs34cMiSdgCKGiB4fK9W8HQ7sUPbIkRG/aVrBO18PjpStO246AwwaKoNWJLkbuKfm2PvwRgQvWRJinFINzzTGFEX2EGZtqlnSmMV/4zaN20igwBx29bmGRAV9FLWUr7dgqqFIFvISNzj7Wid2ODTcvQUg2FHHJn1M7KM7TdgcD2PhAs/4PCE18C0U24PUaXLsOKOGmSH4nR78NXCsAAWx9Lk2YsIGzU7PlNf81XiVanFOh9eW4qJiZA8m9BHI2gShPn0wJ5CKb0UMzMwS8fqjZjA6xuSQgk3Ccn0981+OiWj964bbzomKzazrk9PktN7AjYEecU4wWSEef3/PL9sa0G4fQvou4ZMgSzqii6dJ5Lc0i6WLI+sSYWQQpCKQ6blLFPcYrrvE66HCvZUdQ4m0cvF9mxqJp0aY+WYupJaunLw6z+QrlN66VYfRbt+lW55SixsLJl9h+Nx95WJBP52oM9+uNCyaM4pDQjkbwZrwiVr5qgU7bEWoYNxQVjCeuRGiZIcBEVqNksg2L4a+xIft+BVKk34hQk63hnJcEQHGNl9g8cN07lVZ/OaH9D1ZguVezgdD5dIKu564DlV/gj3at5aw5ujbdQgVPK4rKDNNpX4tzLGBuWzon1xN4TQj0PdbT7PHOdJiKC2t15Gsi+7eIY0TcXK60ZvANmXRWrT+U8OMJC9tIc6CbV+A1pCB9qnYjDksR9MzysIm/9Jw+9uwQIUKYRSOj3QmjXEVOEiDYgLWPfL687LoQnDyf2R8n1EOd5sFe4kSe6tHoujn0ZZIPa1gWSWlff8UqFwLY0DIK33nowkZ41SXnew1GwYKrwr5/EGfmvJVAz9bUU0CKCh9lz8+SMvaB60FrIP8HwekUKyLOfIXwrS2Ln7vbgx7PBvT9HlZ/35Q/4LQsZro7f8B5a6tflhiYdebXr9gB1AKCvJgnA7r7EpEoJYoj2OQyxhfze0Ja7UfHCt/UUhreXuEExufva0LFoo3tR9bEX92R1Q0pfyb4jaDbd7AIuriI8CXA18f0ymANr1bjzYk+yGmDMWqpwvKQDGqWqyKraMQsRlNU4KrildlDWmrzHSIRC2hSbhvQLWkWW3W/INNh81qSiOJuWlKqlDaVjwfbIzcFiQEZRM60Friw8LcJgFog/Wf3Ba2fsWuHMpxJBo+Px6MP3VCT7BLT+/QCFTnpOSGFakbIlzfkmHQa2lg6zZfoyLBLfSw3VvddRVTN/B3xfdK523u06eKoeGz4Eak96f4sT3UbxNfiTV3UU22/L+D6qbvFY9chHYuPy2BgM12KFwv+B2ymGZJecyGdX8wEnNX3atYLS2M3ObFos9XAj3Mc0BvQS6x5Z8Yr0TnebpgaVT3BrcF+TQEUudnyT6QCJ9kpZCjmsi1dRZZixmBCe/TT7dD33ZbrJZbhVtgN/hcmOsPqsoKHg9OjBYRICYFPiWAmgVDSPzwktQ6HCJZ3xro78csCfKQQbXQUhgiSqFJz//7jCkT1P5y7B5nUYsDuU/9wzYX3HowzrZt75WmRFqBZZ05K3PTMyS85VZ8zJW4MPFZI8c95IKL6QhmB32xs1tAHz/QEe6RpXaWQYO9x/1MDcj4Hxyh+3uRZT61F21TqOSQztNONF9De7vEHikvgWqGVAJxtQgRuFTtBbFj6Y/CQyg8bLbJEj+m/yUQrmzOgaqmOOrYtg4RKqoyinF0ys9HBtfRW8zvbOwkd/njKQtIwnrgNVd5/n+leVgmQMMoOjA57TL8hVS6nWpo7ipXRpqwy0Fsu5Cq4eqej/s566vvv8HzwUcwdHSOTBVR0K/OGhj24zLRhpej8q/GKTgxXhf6Dc8UB9oeYt2b2QT3XjCEuxRpTWVe0dAnkPg14dacMSHBcJ6rELg0ntAlQeWso19rYJcewSEqmHNcUMdqNY7sz7ANY9QyBWpezDQqfu77DXc10lMKjjmd1w8Fbevv0Xo28i6kkFA5bNeqiIZAu7COkaez2YAOBAqND1XSsvggLVQwGau1t0JRT3jgyaM4DNUxNLo/y5jHrWNKyjfM2gHtpgOPNYJDFtLvXp+dhOoBhfVjsyuf0p4iLv0ShpO9g0KFLFs3g2auM9UPLJpHDa4ZjmBjOzWcQz2ANfvjTsmya71Ct5VS5x5FZZJ+AWj2kciNH+lDXMFkM+3ZYJusPgb7msT8xxbSyaj59qv4UuFzmQhpJejWXNjvFOfUwTfuVlOlV3sji15AVjAkHwvtxcVr7c80D8TVjn9JowVauE3/sFnPlV4EvrRzE8prN0NUeGRnudrXq+kLko/gzsPGfjfEG8X9I0ObGmfzsUcg66VjjHI4EJ9IqoG8W7YnD6P6XeVIKKtrGCAc0KJpVSKLZ4AqeAOGbAxkhZvhzHP5mCgaRM0R2Uu+2wXRp+c5Fx0g487hraLIq3TPXakiU1zYFiYeXLVAN/yvi8rHwIJdJRNDc+qk+xvXXOUJ3IuXLHZhxezq9Rl9ekjTiJDH+aNtRKuV3VDrIrpQSwxHA9o6UVfIG8ZncIyQmKR3Eu1yT7JWYlXbCV+s9EJsf+qrcpOJ4CEmkvOh1u7Yh5AHjA26rVPapObe7XEEZORpJv/t0lKJ0u80++dfPeFfIhzxX46T+w+1MD8B9RSkawjcS+xlpl2Mni9E3ldti6Rt3477q0z9p7ugW3CmvRp3fXDE4ZwokqRJ7sHHVeIJcwcyYyyc4Xdi3z7gFJApgWenl6HdUKumXCFLC8wthU9K9GhuulQHK42d4cDAb0xPQFAEuDWTt27ApFVguiTZsAipnv2M6rPh5aCvNEv27YQDhmaNMES0+M4Fhh96Pq+8giZksz9jv3gs61cQJmhsKzByZQJsSScI7i6RXauFy7abLR/rJSLhKUCbnmvFxf0+R0ZbKBYdUcZXifTsaXNwMaTeRn5518bKbHQEPtSrmGNJlj87iDIijBJshXoInOdtyxdQTm2n4h7pTLw1x7ydMuGAwBK/8aZKFZbj0KUHtc/giaxV25lbj7BeX+YsXZd6P92TlHzZlsBlAQanBFlJw0rFY+Pw85E9j58iEBvHFnciDknNGB/iD76+ZiAWjp4b1eumSs6FsK5iba0DYsOeoeRlKpA/oexxrMTldSp7tShaQdVafG6LcvAWbTaQyFZ9yjpWBAncMCVDaz9UZGSN61mHGQiKOs7mV93U0DL7DT49Nt1TwMAdA26Zs5bxZl5ykd+DvX/v7AYR+IVVFz7z8RzEoxMeA+lJGoamCPhiq2Sme1dP3vJDj8SV1b3T+xQmmzaoKdw0pykZt4k9tQ3EJKeJGaTZWRWKvozyFs0OcFVICaweoruY1kVuPzHSkNS/f7xWOqT/BlTXefvspiS8WnPce334I/15oGnhFNtKA5Yeb37vE8b5gxKUopHroHwdSXzDlTBKy5mQvhM2CPV0P8VEc/JSIX9jV4modef7zd++AkKkDVKuO8nE9UTrsgX+S8U2U0SO6Dq+CFnVzIYeNFpP8Pvcml98dBWgi4jITfqwEB9+b0oqglvHCRjhd0zNwL4b6PPoIlcg26CB/K13ozXrsBu8nlGEgGnNTtpLT1dV/eHxQRH8LJMZlVtpxhCEIST1Xxgj9dZM0KSUQc36PY4GoovhtU7vvhqbn+HVdjntTd3wfnbZyo68q8+LW+14g/db11Fbei2CYOyCk8Nvur0SFPj9LnRk9SwV/7nXPGgUbSvcQ1yVnFHRBMZRogjm/Zn3knCH583JxW1caHZv+S8tT/ZlEcB0dhey38rSqPNT1cXswa/1F5ks3lF1IVCbGkwdYBZkUc5AW8ir67HSXWvq1n7kKvur8oNbxxgPUFMnCC5Fr+oIgCWrcfdcN5WlUx6TyqgMobo42Rv90lhsINfYB1cb9nqwJa1IYO3DnbmvTP+fy2JXPTyW3j7FBFs8GfFhlMPgj2Q3xrmmAUi4z4KFy2Agba2GxSx0ngYjGAzK9mJpNPvosRV83KY2EGW0KaNYqgVxT/MKieiKe5huOveaKWNaTYcmhR6wbpoXUdrpRz7h7BeAr/n0HB5PqrQaUH5r+G4WyaCi1UrPUAUODjLboYWf/BovNtlT4q6XY6l4Wl7gWvzWQbYQudOJSroMqRM/lIufhYsyMRIP70Jbg/O2/URS+yPHzSd+rLUEUbWeyjZeTiPsjRFWlg3wLZPxGIVC4onNXQnsyqB9wWOvcQluCktIgrzP0C6ktNL9+XisHVDxdZh/guNhFPM7shpqYfeFZaMB939X6XYJocwgJzPwvbyHi6f1HkS9JjtxlAguDHQk490PORZReHKgxaU7DTOcS37RlMzwxxvvJSUSoivxa+6zFoeTZgr6CQOdmxycXMW61UmvLUnu4o0uiYyr9YTlAAQR9x5OMADs8aeJ2Q+slfjz676/brmjhwGQQoVKedBrrX07c8xQJG2HvbsVF7AT1cPHsEAt9iq3CNYSGuf7ypR0lb2yI/wT2IpnCiQhNizhYAJJo3jfkEpuTLGOwtTGTVVIs5O6ecSbfvrFTOynM/gRxa4OBEhrNWjLR2QdVktZjaq9y8tBcHurCu418eTrqdzFpMcpi1VFCu6ZBdpMMwVoYtF+RuS1h1Qa5DnaEuWac48eLQCGfdWt/1Ss7A9qpD1qe1jMoiSJ2cuSydZsI6rOBA586IqBuWJo/q2ToihIfjHNz3ZLxSBujVKwE66TX5rdXyOtKzV7HtiMftty9z6NqGfiY8NKQYLyNp8VZ7gmQaL2f8pTKNsheBRgJudwTSbN3s10qmXYh1/qx7RRiMerQZRt3BQt7LJWXHNfuH5rL5SGtl0DZjTH1MBAMwZW2ITWCvOcG3R4Zj+5UWacQfn0SKJmq7Ei7stj+nlErNZ9b/vP58wI3lM1jZLQ6R8EPfIHpKfWSsKVb9F0A7jI9J9kG++5RNo2pRqg1FR5lXSNUSdupghL4opgVrBylwHKczYiBF9Ze/YlliMJLkD6WTQRysTCpPRIH9PYnerzgagCR4wra+NWYUezkw3pnnqwjawLHY3VhSJ3NkcDy2xcy0EpVlUq0IQ6NxsLw78CZnC+5+9codGD0k2I7AlqEiVSGlVNuJPsMViRHfsVjJ1Lozk7/4AmnCDyIjfQ76VfKaNgkE2UJ4C1B3vjxGsa08Lz5oCfZnCfK2OX3oG8bqh3pVGdZf8dGQn3DY42Fjd8Bc5Ark0rGAgOJbROSYmeM/WLnkR53kWtEC/7H9MqtGOwCCoKOu8XPXP7OZxRFVTQLpTu1FUh0btNMvALQSv+bEw+Vucb4rGQORNBCYajXfou5D0tylGcMupVyWEM7f74Y72v4M/JpRj+I4aQFZ7OvzcWXWhPTHMyEGb1DE8AMDLYWu4bSgE1nLPvv/Iv/RSl25AUthlMNcNbMC5ecT0+nwLxJdbfzlGC3T7zBLRqhxj2sit09SgD6XH9TX9pFbYpHkjh+bIbZQI3225hhLAR0pXr4syOoZa8okT9cIghRDNwFG3xxPJPQi9Fjfm67/NZhNWdjbMAFNUpJWoQDsa5adHq/IsTSX1XA/thr56xHYqfcGZlaCgmRmpibd3CtqmrEfe9ddsXPn/at4TUA57pEc3HKp9Thkaa8yNxfMEjOsMwJFVAcF9nNsuX/nX5Hx3hPn4LS8HEe/uq9yrpAR01hm+NCIfK7UVeqaTpFOKIOD8XAwf6cAFrep6TW4AZlg7YUA4Z3MzR3hUJR4Ec2vI49cG9JtMGyTeigdulnPcDg8Tt64T1ypUfuDYO4Eod9W6qliJDARc3S/Ssg3BkvtIVUGv8//LCmtvF2v6l6t3ZhHtTo8c7QRbkqSs2+b8U92CG6sJ3wIdmORXdcRfbO++c1LHq+dMJ0aM1X8sKX8pKm43BKwODUsNH0DilTujHfDEglgPwo8JnFEAbqaFTUk76oBC0y9/qlEvkDg/Mk5gYJHCa0bYJsJsmTNMf8KNBSj+APORSnWEeQxsdhxrRymjkyvULjUftr/8DtSMSJ5L1CN07zdZJT5Tm4RhV50x1l/3twHIriwNFkCJLFHYSvqG2om21wsiUP87a9ma3pfEgYKFFEaAzjHVtCbup4IZBuHZyFpI/YqL1+wxLNjzvnAJb81hKXvC8DHsecQNNtfNg8+StSptdiu6QAEs7/6QywrE7dFnMw+zcltnGAyNGOPsdMgkZrBR6GIVPeu/5hcKusCiVOg2lfp7yeaNNoxR9qEqNnyKzXixSBY+IUpUQtkd0FBEa/LEQwj8N8G3RiivFvIpTrR3P28ZBCPHedygKoBihmcxu4im5PmQenAK+rau/UZ7Unrs7Oqf2uVM3ReZTkL6ONsQpselR1ss3QnUTSsR3o10k4C/GW8LVIC/c53mSm3+tH5YGd1sOOAdgATVbT9Mf038BzzrKib+9vALJoZ9AQqJCF6JeNqDZ/jdaf2cc6nCcvnPQvcnigaExENypNBiFev3UDUiSLFt+FK8WwjEmDqGyZ1vqwH9HLt6BCzPnBQO+5RuLgZezig4tGTv75MZVDfB+WHMlRxmUq7aatEBQk10O1UGpeFec4MkwfUOgxtrY061BiMQa2Zlkps5HAq5SnIcsmN1Eu/e+rTBY3fFX40OOhYDTfwXml0o6hJxiEcChtD85ibmzHMp8pwt+ssAY+OdOs4XL6QNeDA+db16RlxT4RzXyBqpgi8SXwKRlZNHsygoWofGXEoL8uaXU8KNRyMPUvH9J4iFFBcikHZdbRcO1ZtUqnhWhlXaafrGV2mkR932A8knqnXrstKrkuZCalcVbRtyBW7IpW+YqV/F/LdfnFoir4ZltbkCBMhiskJvdHzrc1HwwttKZeVuD0V9+x9JOT5L0WcqBHfKpQs6sT7jaZvFwk/TepJNxp+sPojj6wuhEA2/LZSn401fUqaVY49nsYNmtU9FM9ktCdKAMT/mrSc0uYeRSA3ifPAevsPY+9Ky7d6incoggBYj/tRrIknbKzgYJbdhIPA/6p1n6tx5j7oHhtt5w2sPvDjh3qO+rEy4GEzSM8rBZ2VvjdEqTepVreokqjjdUb1gSN+IAgkBWZ1QlLAhVDeaVPTgNoqQfOLiYnSPYu4zc+DQ4J2vx+sNFlZjrilI8Q01xDrxzPqEvVRXR8gDo6ArGjkKhYl6AwBy14LWE3LpAzn1U6+Jwhn4xPNMcBnDNzint/KEYAAfbLznXXvuIijAdgYj6dw8VZu3iYmTYYPpzd/fckE7fXwcZAm2b1kZ/aztvcMeyCHGCNUs8uUr3cLdYDTg/oXPxiX3iGjCAoNTgIeZQKc50QnEEuIAAEZWIG92Zu6KBBhNpZhL1qTLi5Im2AyjdVXFjPI1+Tlii2Ze/4imInclPjcQZ7JljfSor0OqNt0BtxbxR0GxS2EnNhR6eBjn06slBTgcuwVPJ9eeOgRFFQR2iu44yS6ACvTEoC0hnPvj0RlJB19iOWBehrbuy6OfazmNrNG9VlykTDcTUy/4o12E5BwBEAp5rs3PHpGXO63CzwIyew6OA4uCoeSeQT76Sdyt615bwpBnV+A0qAb2I1lBBDbBQ5Vgm+PjgUvazbfEaXRTxUtR3qyfvUqQJ41KkdJ8Rl4BbZYrkJmbBgI2MDDENOrZmKC0+iiFXnqdcoaB9Epz4j8Zz49sNPQ2hXvtSt6OvM56e09iS80y0VBYe9LC9xBiQGVDPPF6BHsrmRLRkS87KaxfsnkyrB21yY7Lva6tnHTHoRGz3KIyb+ZCLDHivJK5mcnPl24azS9N6FSj9LbUYF4miO8wbf3BxYY5AkmJCqR3hc4A+dpE1Xgmr/kTRCRthyt9NHBAqxTeV26Brs6qYDq3xYtRE9kM3XsVKkSMa5L2zUpDuHT74p9SmMmE0BwGfAvyc6voVo5ePXDof37HkNdG/5Kf8qdK5gtxLg33hTs7I5sJATHkZ/iL83cE5ztCdr4A2ymduUa7jSwbkUJPj5U4Wr6m9XKMVNFKTPhm768UqUtRDgFK3RQzqik3T8D9ya+MWLE0sBh05/A/n0cwG5zKYxod5QCZ/zaKRv+L2nKBp8tN7sDqJelvgawqdlZlOSHSLgzHNVS5Mk/Q2VrXAjKPXyn9wgOs98bcUgKQZmEtNIq25Exu/yB+71znb9F8bij45pLIULllQkLl3CpiDuIYcS8RREWWnIOEEmlrizjgrbjvt6DvO2Vj2YDMytPdqd22jWw0sIphjN79Gm8+Vndv0hr9hEcsT+fciUSE02AZOXcENbjAENi8w/f2y0oSvs/8/qvgbP2RJDJ6FhZWsvAzlss1G9tvh7DHy7p9LEsdhlE0opzKUxFlnXYPWnxt8SdTcVAn6tWWVoKLZwGePE30B4Su1nq0kDSfRzU4HQCD0SnOnEbBSGyTaZ+HkbWdu3PJ38NwYIJ0U0cJPttN0mkZo09dXPjy7Cw4m5IMeMj0ah0rBIPRbU5ypyN9Umt0CdU0Qv40AgbAEjosLstvpWz8V2pm4kKLwGpL6n2n4lufVlfZSe39ovsUsOQPlN3xYZZcGZhaJcdLk6ZXlb/R9uc4gWSSf1otvax9PlkoEZT8w6e3T4ddfVX33Y8IVbjQBGL7jOSSFOyXZnmTxmj2OuHGjOGwJS65vM/x9llFBIyroPStVzwuy4aJdo53SVyTxI5y+1oFoJSn96A6T3aI/Oqf5gDbjiqoUezYL58G+7B97yQiPGWEf5NZgOP5fglksWUjBK4t4BtePAqCFgV3Fk1Md4498BDUSOuuRQKP3Dl19rfdYDvlbIJBsNafI9s8wfbxdZaGF1d8G1GNqAVE80jaYO0g3VZveXuZ0rdoV8SbbhNAywSu4utuYUN1IMMu63bXY3LUqMKgA/0zNDlVQ+NGyDRK7C8TA7P87IlAKsOQp2aZtSXpB7y27RUftZZfLTNwgpZlgQlHzjp8R4rjV4PtSzbqNUvBjd4U6EWGsgx/yCIdroiHynAnad1UidXlXG+p4qGpCLZ8dLRGOjxaesL5kkfoctC0BO6lIE/j+bKH8CxdbUg4r3zpuT5cwiy2kJntxe1s453+ohjrszuko76Ko4F6RyJD5Pi7OVQaIgIexO4AH45e1p9ujXBvITjfRRMJdJPd8Ys3QyIrFb7naddSVeul3MBwA8oAjKk5e8fV013A7Kjtj4aGXFCAMKdI1/ye9ic8ZTDXv7bAKDgqKENCY1DkfpAW3ujaBzHi4wc/JYa7EEzyzMJ/Lk6t3Y2LFn72iPWaV4ISOve3JAM3Tn+Q33T0XbnNNcLKWNfCv9JXsLemFukjGpiSgWMmlL90jUKdtDY7TP3+ilCcfUsUFVgipjz2W2j06pVDRzssHsreRGIj/XCag7samUPIg8QV4LiiUQTcGGAXROQFFxBzbIv0nwkM2FExn3haynAVNU7PXsKvEq6ShQ96TEE7nrx266U9M0oBY/1H63+1YiFiHTBlxXTXW2zy557pUBAYi41Io81JlZsJ64vE5sK8QZ3qgRUuUbHd8HDiZWVXbolmNvWHnJnR1ZHuaI2tvwehUT1KZplJqK9q/UjVUHEDabZw0OKjBSQwm3qTTLTDc=">
            <a:extLst>
              <a:ext uri="{FF2B5EF4-FFF2-40B4-BE49-F238E27FC236}">
                <a16:creationId xmlns:a16="http://schemas.microsoft.com/office/drawing/2014/main" id="{28C41288-388F-4CA9-8C4C-2E62AC34D1F9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8378297" y="2038401"/>
            <a:ext cx="3478740" cy="4422667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btfpColumnHeaderBox866284">
            <a:extLst>
              <a:ext uri="{FF2B5EF4-FFF2-40B4-BE49-F238E27FC236}">
                <a16:creationId xmlns:a16="http://schemas.microsoft.com/office/drawing/2014/main" id="{D2089E46-2619-4BFE-92D0-DB24C0AC98F6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4964" y="1270000"/>
            <a:ext cx="7502790" cy="318997"/>
            <a:chOff x="4354248" y="1270000"/>
            <a:chExt cx="3483505" cy="318997"/>
          </a:xfrm>
        </p:grpSpPr>
        <p:sp>
          <p:nvSpPr>
            <p:cNvPr id="15" name="btfpColumnHeaderBoxText866284">
              <a:extLst>
                <a:ext uri="{FF2B5EF4-FFF2-40B4-BE49-F238E27FC236}">
                  <a16:creationId xmlns:a16="http://schemas.microsoft.com/office/drawing/2014/main" id="{E60D1459-A329-4414-B3AD-A4E42E2D1A93}"/>
                </a:ext>
              </a:extLst>
            </p:cNvPr>
            <p:cNvSpPr txBox="1"/>
            <p:nvPr/>
          </p:nvSpPr>
          <p:spPr bwMode="gray">
            <a:xfrm>
              <a:off x="4354248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X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users unlikely to switch to other vendors</a:t>
              </a:r>
            </a:p>
          </p:txBody>
        </p:sp>
        <p:cxnSp>
          <p:nvCxnSpPr>
            <p:cNvPr id="16" name="btfpColumnHeaderBoxLine866284">
              <a:extLst>
                <a:ext uri="{FF2B5EF4-FFF2-40B4-BE49-F238E27FC236}">
                  <a16:creationId xmlns:a16="http://schemas.microsoft.com/office/drawing/2014/main" id="{56BE0677-DEBA-4210-9AB9-0E03C511E202}"/>
                </a:ext>
              </a:extLst>
            </p:cNvPr>
            <p:cNvCxnSpPr/>
            <p:nvPr/>
          </p:nvCxnSpPr>
          <p:spPr bwMode="gray">
            <a:xfrm>
              <a:off x="4354248" y="1588997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ColumnHeaderBox866284">
            <a:extLst>
              <a:ext uri="{FF2B5EF4-FFF2-40B4-BE49-F238E27FC236}">
                <a16:creationId xmlns:a16="http://schemas.microsoft.com/office/drawing/2014/main" id="{9FE2A660-9CD3-473A-8413-166732A1FD23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8370027" y="1252904"/>
            <a:ext cx="3478740" cy="318997"/>
            <a:chOff x="4354248" y="1252904"/>
            <a:chExt cx="3483505" cy="318997"/>
          </a:xfrm>
        </p:grpSpPr>
        <p:sp>
          <p:nvSpPr>
            <p:cNvPr id="66" name="btfpColumnHeaderBoxText866284">
              <a:extLst>
                <a:ext uri="{FF2B5EF4-FFF2-40B4-BE49-F238E27FC236}">
                  <a16:creationId xmlns:a16="http://schemas.microsoft.com/office/drawing/2014/main" id="{59A698EF-ED8F-492E-BCB2-F215DF04B609}"/>
                </a:ext>
              </a:extLst>
            </p:cNvPr>
            <p:cNvSpPr txBox="1"/>
            <p:nvPr/>
          </p:nvSpPr>
          <p:spPr bwMode="gray">
            <a:xfrm>
              <a:off x="4354248" y="1252904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and Z </a:t>
              </a: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ten evaluated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0" name="btfpColumnHeaderBoxLine866284">
              <a:extLst>
                <a:ext uri="{FF2B5EF4-FFF2-40B4-BE49-F238E27FC236}">
                  <a16:creationId xmlns:a16="http://schemas.microsoft.com/office/drawing/2014/main" id="{035B516A-3D4E-45E3-95D7-EBBFCB120235}"/>
                </a:ext>
              </a:extLst>
            </p:cNvPr>
            <p:cNvCxnSpPr/>
            <p:nvPr/>
          </p:nvCxnSpPr>
          <p:spPr bwMode="gray">
            <a:xfrm>
              <a:off x="4354248" y="1571901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RunningAgenda2Level907511">
            <a:extLst>
              <a:ext uri="{FF2B5EF4-FFF2-40B4-BE49-F238E27FC236}">
                <a16:creationId xmlns:a16="http://schemas.microsoft.com/office/drawing/2014/main" id="{E86BD9DE-47E4-47E8-A474-29AC0F9D02EF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3254317" cy="257442"/>
            <a:chOff x="-1" y="876300"/>
            <a:chExt cx="3254317" cy="257442"/>
          </a:xfrm>
        </p:grpSpPr>
        <p:sp>
          <p:nvSpPr>
            <p:cNvPr id="19" name="btfpRunningAgenda2LevelBarLeft907511">
              <a:extLst>
                <a:ext uri="{FF2B5EF4-FFF2-40B4-BE49-F238E27FC236}">
                  <a16:creationId xmlns:a16="http://schemas.microsoft.com/office/drawing/2014/main" id="{2D9DCC7C-E7D0-4A28-9B86-85BFBA98DF08}"/>
                </a:ext>
              </a:extLst>
            </p:cNvPr>
            <p:cNvSpPr/>
            <p:nvPr/>
          </p:nvSpPr>
          <p:spPr bwMode="gray">
            <a:xfrm>
              <a:off x="-1" y="876300"/>
              <a:ext cx="3254317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55372 w 1255372"/>
                <a:gd name="connsiteY0" fmla="*/ 0 h 257442"/>
                <a:gd name="connsiteX1" fmla="*/ 1048365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423687 w 1423687"/>
                <a:gd name="connsiteY0" fmla="*/ 0 h 257442"/>
                <a:gd name="connsiteX1" fmla="*/ 120065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0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592003 w 1592003"/>
                <a:gd name="connsiteY0" fmla="*/ 0 h 257442"/>
                <a:gd name="connsiteX1" fmla="*/ 1537281 w 1592003"/>
                <a:gd name="connsiteY1" fmla="*/ 257442 h 257442"/>
                <a:gd name="connsiteX2" fmla="*/ 0 w 1592003"/>
                <a:gd name="connsiteY2" fmla="*/ 257442 h 257442"/>
                <a:gd name="connsiteX3" fmla="*/ 1 w 1592003"/>
                <a:gd name="connsiteY3" fmla="*/ 0 h 257442"/>
                <a:gd name="connsiteX0" fmla="*/ 1752304 w 1752304"/>
                <a:gd name="connsiteY0" fmla="*/ 0 h 257442"/>
                <a:gd name="connsiteX1" fmla="*/ 1537281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1 w 1752304"/>
                <a:gd name="connsiteY3" fmla="*/ 0 h 257442"/>
                <a:gd name="connsiteX0" fmla="*/ 1752304 w 1752304"/>
                <a:gd name="connsiteY0" fmla="*/ 0 h 257442"/>
                <a:gd name="connsiteX1" fmla="*/ 1697582 w 1752304"/>
                <a:gd name="connsiteY1" fmla="*/ 257442 h 257442"/>
                <a:gd name="connsiteX2" fmla="*/ 0 w 1752304"/>
                <a:gd name="connsiteY2" fmla="*/ 257442 h 257442"/>
                <a:gd name="connsiteX3" fmla="*/ 0 w 1752304"/>
                <a:gd name="connsiteY3" fmla="*/ 0 h 257442"/>
                <a:gd name="connsiteX0" fmla="*/ 1853291 w 1853291"/>
                <a:gd name="connsiteY0" fmla="*/ 0 h 257442"/>
                <a:gd name="connsiteX1" fmla="*/ 1697582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13592 w 2013592"/>
                <a:gd name="connsiteY0" fmla="*/ 0 h 257442"/>
                <a:gd name="connsiteX1" fmla="*/ 17985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217174 w 2217174"/>
                <a:gd name="connsiteY0" fmla="*/ 0 h 257442"/>
                <a:gd name="connsiteX1" fmla="*/ 1958871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18162 w 2318162"/>
                <a:gd name="connsiteY0" fmla="*/ 0 h 257442"/>
                <a:gd name="connsiteX1" fmla="*/ 2162452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470448 w 2470448"/>
                <a:gd name="connsiteY0" fmla="*/ 0 h 257442"/>
                <a:gd name="connsiteX1" fmla="*/ 2263441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8763 w 2638763"/>
                <a:gd name="connsiteY0" fmla="*/ 0 h 257442"/>
                <a:gd name="connsiteX1" fmla="*/ 2415727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638763 w 2638763"/>
                <a:gd name="connsiteY0" fmla="*/ 0 h 257442"/>
                <a:gd name="connsiteX1" fmla="*/ 2584042 w 2638763"/>
                <a:gd name="connsiteY1" fmla="*/ 257442 h 257442"/>
                <a:gd name="connsiteX2" fmla="*/ 0 w 2638763"/>
                <a:gd name="connsiteY2" fmla="*/ 257442 h 257442"/>
                <a:gd name="connsiteX3" fmla="*/ 0 w 2638763"/>
                <a:gd name="connsiteY3" fmla="*/ 0 h 257442"/>
                <a:gd name="connsiteX0" fmla="*/ 2807079 w 2807079"/>
                <a:gd name="connsiteY0" fmla="*/ 0 h 257442"/>
                <a:gd name="connsiteX1" fmla="*/ 2584042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0 w 2807079"/>
                <a:gd name="connsiteY3" fmla="*/ 0 h 257442"/>
                <a:gd name="connsiteX0" fmla="*/ 2908067 w 2908067"/>
                <a:gd name="connsiteY0" fmla="*/ 0 h 257442"/>
                <a:gd name="connsiteX1" fmla="*/ 2752358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2908067 w 2908067"/>
                <a:gd name="connsiteY0" fmla="*/ 0 h 257442"/>
                <a:gd name="connsiteX1" fmla="*/ 2853346 w 2908067"/>
                <a:gd name="connsiteY1" fmla="*/ 257442 h 257442"/>
                <a:gd name="connsiteX2" fmla="*/ 0 w 2908067"/>
                <a:gd name="connsiteY2" fmla="*/ 257442 h 257442"/>
                <a:gd name="connsiteX3" fmla="*/ 0 w 2908067"/>
                <a:gd name="connsiteY3" fmla="*/ 0 h 257442"/>
                <a:gd name="connsiteX0" fmla="*/ 3076383 w 3076383"/>
                <a:gd name="connsiteY0" fmla="*/ 0 h 257442"/>
                <a:gd name="connsiteX1" fmla="*/ 2853346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54316 w 3254316"/>
                <a:gd name="connsiteY0" fmla="*/ 0 h 257442"/>
                <a:gd name="connsiteX1" fmla="*/ 3021662 w 3254316"/>
                <a:gd name="connsiteY1" fmla="*/ 257442 h 257442"/>
                <a:gd name="connsiteX2" fmla="*/ 0 w 3254316"/>
                <a:gd name="connsiteY2" fmla="*/ 257442 h 257442"/>
                <a:gd name="connsiteX3" fmla="*/ 0 w 3254316"/>
                <a:gd name="connsiteY3" fmla="*/ 0 h 257442"/>
                <a:gd name="connsiteX0" fmla="*/ 3254316 w 3254316"/>
                <a:gd name="connsiteY0" fmla="*/ 0 h 257442"/>
                <a:gd name="connsiteX1" fmla="*/ 3199594 w 3254316"/>
                <a:gd name="connsiteY1" fmla="*/ 257442 h 257442"/>
                <a:gd name="connsiteX2" fmla="*/ 0 w 3254316"/>
                <a:gd name="connsiteY2" fmla="*/ 257442 h 257442"/>
                <a:gd name="connsiteX3" fmla="*/ 0 w 3254316"/>
                <a:gd name="connsiteY3" fmla="*/ 0 h 257442"/>
                <a:gd name="connsiteX0" fmla="*/ 3254317 w 3254317"/>
                <a:gd name="connsiteY0" fmla="*/ 0 h 257442"/>
                <a:gd name="connsiteX1" fmla="*/ 3199595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  <a:gd name="connsiteX0" fmla="*/ 3254317 w 3254317"/>
                <a:gd name="connsiteY0" fmla="*/ 0 h 257442"/>
                <a:gd name="connsiteX1" fmla="*/ 3199595 w 3254317"/>
                <a:gd name="connsiteY1" fmla="*/ 257442 h 257442"/>
                <a:gd name="connsiteX2" fmla="*/ 0 w 3254317"/>
                <a:gd name="connsiteY2" fmla="*/ 257442 h 257442"/>
                <a:gd name="connsiteX3" fmla="*/ 1 w 325431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4317" h="257442">
                  <a:moveTo>
                    <a:pt x="3254317" y="0"/>
                  </a:moveTo>
                  <a:lnTo>
                    <a:pt x="319959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btfpRunningAgenda2LevelTextLeft907511">
              <a:extLst>
                <a:ext uri="{FF2B5EF4-FFF2-40B4-BE49-F238E27FC236}">
                  <a16:creationId xmlns:a16="http://schemas.microsoft.com/office/drawing/2014/main" id="{30B8B266-C251-4737-A315-BBB94630C49B}"/>
                </a:ext>
              </a:extLst>
            </p:cNvPr>
            <p:cNvSpPr txBox="1"/>
            <p:nvPr/>
          </p:nvSpPr>
          <p:spPr bwMode="gray">
            <a:xfrm>
              <a:off x="0" y="876300"/>
              <a:ext cx="31995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witchi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733943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13902C30-2A0A-4CFB-92B2-75A8DFAA7CA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618174">
              <a:extLst>
                <a:ext uri="{FF2B5EF4-FFF2-40B4-BE49-F238E27FC236}">
                  <a16:creationId xmlns:a16="http://schemas.microsoft.com/office/drawing/2014/main" id="{F38443CB-E5BB-4C16-8EB5-3C6B44C8663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79260">
              <a:extLst>
                <a:ext uri="{FF2B5EF4-FFF2-40B4-BE49-F238E27FC236}">
                  <a16:creationId xmlns:a16="http://schemas.microsoft.com/office/drawing/2014/main" id="{E086820D-7F43-4ACE-98FA-0F1657B2775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11973">
              <a:extLst>
                <a:ext uri="{FF2B5EF4-FFF2-40B4-BE49-F238E27FC236}">
                  <a16:creationId xmlns:a16="http://schemas.microsoft.com/office/drawing/2014/main" id="{C2D92577-4281-420F-B905-78505F8EC1A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67480">
              <a:extLst>
                <a:ext uri="{FF2B5EF4-FFF2-40B4-BE49-F238E27FC236}">
                  <a16:creationId xmlns:a16="http://schemas.microsoft.com/office/drawing/2014/main" id="{39EC2236-5413-455B-955B-19DF2369AC7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630C725-9A89-4AFA-B88D-387EC79CE3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203260">
              <a:extLst>
                <a:ext uri="{FF2B5EF4-FFF2-40B4-BE49-F238E27FC236}">
                  <a16:creationId xmlns:a16="http://schemas.microsoft.com/office/drawing/2014/main" id="{47166FC9-E097-4FEB-80F8-B76402CB404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80698">
              <a:extLst>
                <a:ext uri="{FF2B5EF4-FFF2-40B4-BE49-F238E27FC236}">
                  <a16:creationId xmlns:a16="http://schemas.microsoft.com/office/drawing/2014/main" id="{29AE2CEC-EC0C-4C15-82E7-E7C068C148F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48659">
              <a:extLst>
                <a:ext uri="{FF2B5EF4-FFF2-40B4-BE49-F238E27FC236}">
                  <a16:creationId xmlns:a16="http://schemas.microsoft.com/office/drawing/2014/main" id="{5515AB38-E55E-44A1-81DD-15DF3347C52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51028">
              <a:extLst>
                <a:ext uri="{FF2B5EF4-FFF2-40B4-BE49-F238E27FC236}">
                  <a16:creationId xmlns:a16="http://schemas.microsoft.com/office/drawing/2014/main" id="{4E1B75B8-F7F3-4326-9921-D740F863C7C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F1B63D5-88B8-45C8-8D2B-10048E2B3B0F}"/>
              </a:ext>
            </a:extLst>
          </p:cNvPr>
          <p:cNvSpPr/>
          <p:nvPr/>
        </p:nvSpPr>
        <p:spPr bwMode="gray">
          <a:xfrm>
            <a:off x="330199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ow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icul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ould it be to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 away 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&lt;vendor&gt; as a vendor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F4FA1C-67C1-4D5D-B5A4-88EFB2B63796}"/>
              </a:ext>
            </a:extLst>
          </p:cNvPr>
          <p:cNvSpPr/>
          <p:nvPr/>
        </p:nvSpPr>
        <p:spPr bwMode="gray">
          <a:xfrm>
            <a:off x="6366272" y="1681704"/>
            <a:ext cx="5495528" cy="549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: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at makes </a:t>
            </a:r>
            <a:r>
              <a:rPr kumimoji="0" lang="en-GB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ing easy / difficult</a:t>
            </a: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grpSp>
        <p:nvGrpSpPr>
          <p:cNvPr id="18" name="btfpColumnHeaderBox566460">
            <a:extLst>
              <a:ext uri="{FF2B5EF4-FFF2-40B4-BE49-F238E27FC236}">
                <a16:creationId xmlns:a16="http://schemas.microsoft.com/office/drawing/2014/main" id="{8922B41E-B7AD-4DEE-92EF-27025CEF87F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366272" y="1270000"/>
            <a:ext cx="5495528" cy="318997"/>
            <a:chOff x="6366272" y="1270000"/>
            <a:chExt cx="5495528" cy="318997"/>
          </a:xfrm>
        </p:grpSpPr>
        <p:sp>
          <p:nvSpPr>
            <p:cNvPr id="19" name="btfpColumnHeaderBoxText566460">
              <a:extLst>
                <a:ext uri="{FF2B5EF4-FFF2-40B4-BE49-F238E27FC236}">
                  <a16:creationId xmlns:a16="http://schemas.microsoft.com/office/drawing/2014/main" id="{10FD1894-4063-4E34-A662-66FBABD5E4BE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itching difficulty reasons</a:t>
              </a:r>
            </a:p>
          </p:txBody>
        </p:sp>
        <p:cxnSp>
          <p:nvCxnSpPr>
            <p:cNvPr id="20" name="btfpColumnHeaderBoxLine566460">
              <a:extLst>
                <a:ext uri="{FF2B5EF4-FFF2-40B4-BE49-F238E27FC236}">
                  <a16:creationId xmlns:a16="http://schemas.microsoft.com/office/drawing/2014/main" id="{B5A0FD38-34BA-47EF-8637-A6517A376C93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btfpColumnHeaderBox254200">
            <a:extLst>
              <a:ext uri="{FF2B5EF4-FFF2-40B4-BE49-F238E27FC236}">
                <a16:creationId xmlns:a16="http://schemas.microsoft.com/office/drawing/2014/main" id="{5820ECD4-A56A-46D4-A436-F51335FF47C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270000"/>
            <a:ext cx="5495528" cy="318997"/>
            <a:chOff x="330200" y="1270000"/>
            <a:chExt cx="5495528" cy="318997"/>
          </a:xfrm>
        </p:grpSpPr>
        <p:sp>
          <p:nvSpPr>
            <p:cNvPr id="22" name="btfpColumnHeaderBoxText254200">
              <a:extLst>
                <a:ext uri="{FF2B5EF4-FFF2-40B4-BE49-F238E27FC236}">
                  <a16:creationId xmlns:a16="http://schemas.microsoft.com/office/drawing/2014/main" id="{B3E83C03-5A8F-4912-9460-D7674448F541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fficulty to switch</a:t>
              </a:r>
            </a:p>
          </p:txBody>
        </p:sp>
        <p:cxnSp>
          <p:nvCxnSpPr>
            <p:cNvPr id="23" name="btfpColumnHeaderBoxLine254200">
              <a:extLst>
                <a:ext uri="{FF2B5EF4-FFF2-40B4-BE49-F238E27FC236}">
                  <a16:creationId xmlns:a16="http://schemas.microsoft.com/office/drawing/2014/main" id="{A7EA375A-FA36-4431-9278-207E31B61DD9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RunningAgenda2Level651721">
            <a:extLst>
              <a:ext uri="{FF2B5EF4-FFF2-40B4-BE49-F238E27FC236}">
                <a16:creationId xmlns:a16="http://schemas.microsoft.com/office/drawing/2014/main" id="{93DDEBE4-768B-45DE-81AD-0F53BA452B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2282897" cy="257442"/>
            <a:chOff x="-1" y="876300"/>
            <a:chExt cx="2282897" cy="257442"/>
          </a:xfrm>
        </p:grpSpPr>
        <p:sp>
          <p:nvSpPr>
            <p:cNvPr id="25" name="btfpRunningAgenda2LevelBarLeft651721">
              <a:extLst>
                <a:ext uri="{FF2B5EF4-FFF2-40B4-BE49-F238E27FC236}">
                  <a16:creationId xmlns:a16="http://schemas.microsoft.com/office/drawing/2014/main" id="{E75E4F86-1680-49A5-9D56-6B528123693A}"/>
                </a:ext>
              </a:extLst>
            </p:cNvPr>
            <p:cNvSpPr/>
            <p:nvPr/>
          </p:nvSpPr>
          <p:spPr bwMode="gray">
            <a:xfrm>
              <a:off x="-1" y="876300"/>
              <a:ext cx="2282897" cy="257442"/>
            </a:xfrm>
            <a:custGeom>
              <a:avLst/>
              <a:gdLst>
                <a:gd name="connsiteX0" fmla="*/ 950801 w 3793374"/>
                <a:gd name="connsiteY0" fmla="*/ 0 h 257442"/>
                <a:gd name="connsiteX1" fmla="*/ 3793374 w 3793374"/>
                <a:gd name="connsiteY1" fmla="*/ 0 h 257442"/>
                <a:gd name="connsiteX2" fmla="*/ 3738653 w 3793374"/>
                <a:gd name="connsiteY2" fmla="*/ 257442 h 257442"/>
                <a:gd name="connsiteX3" fmla="*/ 0 w 3793374"/>
                <a:gd name="connsiteY3" fmla="*/ 257442 h 257442"/>
                <a:gd name="connsiteX0" fmla="*/ 950801 w 3738653"/>
                <a:gd name="connsiteY0" fmla="*/ 0 h 257442"/>
                <a:gd name="connsiteX1" fmla="*/ 896080 w 3738653"/>
                <a:gd name="connsiteY1" fmla="*/ 257442 h 257442"/>
                <a:gd name="connsiteX2" fmla="*/ 3738653 w 3738653"/>
                <a:gd name="connsiteY2" fmla="*/ 257442 h 257442"/>
                <a:gd name="connsiteX3" fmla="*/ 0 w 3738653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29724 w 1229724"/>
                <a:gd name="connsiteY0" fmla="*/ 0 h 257442"/>
                <a:gd name="connsiteX1" fmla="*/ 107401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942786 w 1175003"/>
                <a:gd name="connsiteY0" fmla="*/ 0 h 257442"/>
                <a:gd name="connsiteX1" fmla="*/ 1175003 w 1175003"/>
                <a:gd name="connsiteY1" fmla="*/ 257442 h 257442"/>
                <a:gd name="connsiteX2" fmla="*/ 0 w 1175003"/>
                <a:gd name="connsiteY2" fmla="*/ 257442 h 257442"/>
                <a:gd name="connsiteX3" fmla="*/ 0 w 1175003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095071 w 1095071"/>
                <a:gd name="connsiteY0" fmla="*/ 0 h 257442"/>
                <a:gd name="connsiteX1" fmla="*/ 888065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0 w 1095071"/>
                <a:gd name="connsiteY3" fmla="*/ 0 h 257442"/>
                <a:gd name="connsiteX0" fmla="*/ 1196060 w 1196060"/>
                <a:gd name="connsiteY0" fmla="*/ 0 h 257442"/>
                <a:gd name="connsiteX1" fmla="*/ 1040350 w 1196060"/>
                <a:gd name="connsiteY1" fmla="*/ 257442 h 257442"/>
                <a:gd name="connsiteX2" fmla="*/ 0 w 1196060"/>
                <a:gd name="connsiteY2" fmla="*/ 257442 h 257442"/>
                <a:gd name="connsiteX3" fmla="*/ 0 w 1196060"/>
                <a:gd name="connsiteY3" fmla="*/ 0 h 257442"/>
                <a:gd name="connsiteX0" fmla="*/ 1196060 w 1196060"/>
                <a:gd name="connsiteY0" fmla="*/ 0 h 257442"/>
                <a:gd name="connsiteX1" fmla="*/ 1141338 w 1196060"/>
                <a:gd name="connsiteY1" fmla="*/ 257442 h 257442"/>
                <a:gd name="connsiteX2" fmla="*/ 0 w 1196060"/>
                <a:gd name="connsiteY2" fmla="*/ 257442 h 257442"/>
                <a:gd name="connsiteX3" fmla="*/ 0 w 1196060"/>
                <a:gd name="connsiteY3" fmla="*/ 0 h 257442"/>
                <a:gd name="connsiteX0" fmla="*/ 1196061 w 1196061"/>
                <a:gd name="connsiteY0" fmla="*/ 0 h 257442"/>
                <a:gd name="connsiteX1" fmla="*/ 1141339 w 1196061"/>
                <a:gd name="connsiteY1" fmla="*/ 257442 h 257442"/>
                <a:gd name="connsiteX2" fmla="*/ 0 w 1196061"/>
                <a:gd name="connsiteY2" fmla="*/ 257442 h 257442"/>
                <a:gd name="connsiteX3" fmla="*/ 1 w 1196061"/>
                <a:gd name="connsiteY3" fmla="*/ 0 h 257442"/>
                <a:gd name="connsiteX0" fmla="*/ 1196061 w 1196061"/>
                <a:gd name="connsiteY0" fmla="*/ 0 h 257442"/>
                <a:gd name="connsiteX1" fmla="*/ 1141339 w 1196061"/>
                <a:gd name="connsiteY1" fmla="*/ 257442 h 257442"/>
                <a:gd name="connsiteX2" fmla="*/ 0 w 1196061"/>
                <a:gd name="connsiteY2" fmla="*/ 257442 h 257442"/>
                <a:gd name="connsiteX3" fmla="*/ 1 w 1196061"/>
                <a:gd name="connsiteY3" fmla="*/ 0 h 257442"/>
                <a:gd name="connsiteX0" fmla="*/ 1364377 w 1364377"/>
                <a:gd name="connsiteY0" fmla="*/ 0 h 257442"/>
                <a:gd name="connsiteX1" fmla="*/ 1141339 w 1364377"/>
                <a:gd name="connsiteY1" fmla="*/ 257442 h 257442"/>
                <a:gd name="connsiteX2" fmla="*/ 0 w 1364377"/>
                <a:gd name="connsiteY2" fmla="*/ 257442 h 257442"/>
                <a:gd name="connsiteX3" fmla="*/ 1 w 1364377"/>
                <a:gd name="connsiteY3" fmla="*/ 0 h 257442"/>
                <a:gd name="connsiteX0" fmla="*/ 1364377 w 1364377"/>
                <a:gd name="connsiteY0" fmla="*/ 0 h 257442"/>
                <a:gd name="connsiteX1" fmla="*/ 1309656 w 1364377"/>
                <a:gd name="connsiteY1" fmla="*/ 257442 h 257442"/>
                <a:gd name="connsiteX2" fmla="*/ 0 w 1364377"/>
                <a:gd name="connsiteY2" fmla="*/ 257442 h 257442"/>
                <a:gd name="connsiteX3" fmla="*/ 1 w 1364377"/>
                <a:gd name="connsiteY3" fmla="*/ 0 h 257442"/>
                <a:gd name="connsiteX0" fmla="*/ 1364376 w 1364376"/>
                <a:gd name="connsiteY0" fmla="*/ 0 h 257442"/>
                <a:gd name="connsiteX1" fmla="*/ 1309655 w 1364376"/>
                <a:gd name="connsiteY1" fmla="*/ 257442 h 257442"/>
                <a:gd name="connsiteX2" fmla="*/ 0 w 1364376"/>
                <a:gd name="connsiteY2" fmla="*/ 257442 h 257442"/>
                <a:gd name="connsiteX3" fmla="*/ 0 w 1364376"/>
                <a:gd name="connsiteY3" fmla="*/ 0 h 257442"/>
                <a:gd name="connsiteX0" fmla="*/ 1364377 w 1364377"/>
                <a:gd name="connsiteY0" fmla="*/ 0 h 257442"/>
                <a:gd name="connsiteX1" fmla="*/ 1309656 w 1364377"/>
                <a:gd name="connsiteY1" fmla="*/ 257442 h 257442"/>
                <a:gd name="connsiteX2" fmla="*/ 1 w 1364377"/>
                <a:gd name="connsiteY2" fmla="*/ 257442 h 257442"/>
                <a:gd name="connsiteX3" fmla="*/ 0 w 1364377"/>
                <a:gd name="connsiteY3" fmla="*/ 0 h 257442"/>
                <a:gd name="connsiteX0" fmla="*/ 1532692 w 1532692"/>
                <a:gd name="connsiteY0" fmla="*/ 0 h 257442"/>
                <a:gd name="connsiteX1" fmla="*/ 1309656 w 1532692"/>
                <a:gd name="connsiteY1" fmla="*/ 257442 h 257442"/>
                <a:gd name="connsiteX2" fmla="*/ 1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1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0 w 1532692"/>
                <a:gd name="connsiteY2" fmla="*/ 257442 h 257442"/>
                <a:gd name="connsiteX3" fmla="*/ 0 w 1532692"/>
                <a:gd name="connsiteY3" fmla="*/ 0 h 257442"/>
                <a:gd name="connsiteX0" fmla="*/ 1532692 w 1532692"/>
                <a:gd name="connsiteY0" fmla="*/ 0 h 257442"/>
                <a:gd name="connsiteX1" fmla="*/ 1477970 w 1532692"/>
                <a:gd name="connsiteY1" fmla="*/ 257442 h 257442"/>
                <a:gd name="connsiteX2" fmla="*/ 0 w 1532692"/>
                <a:gd name="connsiteY2" fmla="*/ 257442 h 257442"/>
                <a:gd name="connsiteX3" fmla="*/ 0 w 1532692"/>
                <a:gd name="connsiteY3" fmla="*/ 0 h 257442"/>
                <a:gd name="connsiteX0" fmla="*/ 1633680 w 1633680"/>
                <a:gd name="connsiteY0" fmla="*/ 0 h 257442"/>
                <a:gd name="connsiteX1" fmla="*/ 1477970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01995 w 1801995"/>
                <a:gd name="connsiteY0" fmla="*/ 0 h 257442"/>
                <a:gd name="connsiteX1" fmla="*/ 1578959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0 w 1801995"/>
                <a:gd name="connsiteY3" fmla="*/ 0 h 257442"/>
                <a:gd name="connsiteX0" fmla="*/ 1962295 w 1962295"/>
                <a:gd name="connsiteY0" fmla="*/ 0 h 257442"/>
                <a:gd name="connsiteX1" fmla="*/ 17472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1962295 w 1962295"/>
                <a:gd name="connsiteY0" fmla="*/ 0 h 257442"/>
                <a:gd name="connsiteX1" fmla="*/ 1907574 w 1962295"/>
                <a:gd name="connsiteY1" fmla="*/ 257442 h 257442"/>
                <a:gd name="connsiteX2" fmla="*/ 0 w 1962295"/>
                <a:gd name="connsiteY2" fmla="*/ 257442 h 257442"/>
                <a:gd name="connsiteX3" fmla="*/ 0 w 1962295"/>
                <a:gd name="connsiteY3" fmla="*/ 0 h 257442"/>
                <a:gd name="connsiteX0" fmla="*/ 2122596 w 2122596"/>
                <a:gd name="connsiteY0" fmla="*/ 0 h 257442"/>
                <a:gd name="connsiteX1" fmla="*/ 19075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82897 w 2282897"/>
                <a:gd name="connsiteY0" fmla="*/ 0 h 257442"/>
                <a:gd name="connsiteX1" fmla="*/ 2067875 w 2282897"/>
                <a:gd name="connsiteY1" fmla="*/ 257442 h 257442"/>
                <a:gd name="connsiteX2" fmla="*/ 0 w 2282897"/>
                <a:gd name="connsiteY2" fmla="*/ 257442 h 257442"/>
                <a:gd name="connsiteX3" fmla="*/ 1 w 2282897"/>
                <a:gd name="connsiteY3" fmla="*/ 0 h 257442"/>
                <a:gd name="connsiteX0" fmla="*/ 2282897 w 2282897"/>
                <a:gd name="connsiteY0" fmla="*/ 0 h 257442"/>
                <a:gd name="connsiteX1" fmla="*/ 2228176 w 2282897"/>
                <a:gd name="connsiteY1" fmla="*/ 257442 h 257442"/>
                <a:gd name="connsiteX2" fmla="*/ 0 w 2282897"/>
                <a:gd name="connsiteY2" fmla="*/ 257442 h 257442"/>
                <a:gd name="connsiteX3" fmla="*/ 1 w 2282897"/>
                <a:gd name="connsiteY3" fmla="*/ 0 h 257442"/>
                <a:gd name="connsiteX0" fmla="*/ 2282896 w 2282896"/>
                <a:gd name="connsiteY0" fmla="*/ 0 h 257442"/>
                <a:gd name="connsiteX1" fmla="*/ 2228175 w 2282896"/>
                <a:gd name="connsiteY1" fmla="*/ 257442 h 257442"/>
                <a:gd name="connsiteX2" fmla="*/ 0 w 2282896"/>
                <a:gd name="connsiteY2" fmla="*/ 257442 h 257442"/>
                <a:gd name="connsiteX3" fmla="*/ 0 w 2282896"/>
                <a:gd name="connsiteY3" fmla="*/ 0 h 257442"/>
                <a:gd name="connsiteX0" fmla="*/ 2282897 w 2282897"/>
                <a:gd name="connsiteY0" fmla="*/ 0 h 257442"/>
                <a:gd name="connsiteX1" fmla="*/ 2228176 w 2282897"/>
                <a:gd name="connsiteY1" fmla="*/ 257442 h 257442"/>
                <a:gd name="connsiteX2" fmla="*/ 1 w 2282897"/>
                <a:gd name="connsiteY2" fmla="*/ 257442 h 257442"/>
                <a:gd name="connsiteX3" fmla="*/ 0 w 228289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2897" h="257442">
                  <a:moveTo>
                    <a:pt x="2282897" y="0"/>
                  </a:moveTo>
                  <a:lnTo>
                    <a:pt x="2228176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RunningAgenda2LevelTextLeft651721">
              <a:extLst>
                <a:ext uri="{FF2B5EF4-FFF2-40B4-BE49-F238E27FC236}">
                  <a16:creationId xmlns:a16="http://schemas.microsoft.com/office/drawing/2014/main" id="{E1D587DE-1523-4500-A5C3-768D4BAF94B0}"/>
                </a:ext>
              </a:extLst>
            </p:cNvPr>
            <p:cNvSpPr txBox="1"/>
            <p:nvPr/>
          </p:nvSpPr>
          <p:spPr bwMode="gray">
            <a:xfrm>
              <a:off x="0" y="876300"/>
              <a:ext cx="222817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iness</a:t>
              </a:r>
            </a:p>
          </p:txBody>
        </p:sp>
      </p:grpSp>
      <p:sp>
        <p:nvSpPr>
          <p:cNvPr id="29" name="Rectangle 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pp4diDEOCzKAoZbvvs3MDhumZX1U1dQdIxhztSN7MRh1Bt8km6fmd6aQdt1WLLaX0VkRuDRFc1U2ii0xt3leeNq7pEw15I2SUtSagYcSkZS/mox6NELD+TPQCtHAEBlmNegUINCifbYFRSmHwBtIOQP2me20vn3XxFWOCjvhdaOotzJAS0GfOjq5AKkR90cKdtRK49fKDsQcSWH4AdQtfhwxlYFTaesigQKh5pGOHTbvviEPSefjJWmgB6XQltdGav+L53OnUH1/xKFwG0tVpRk3P5d2BOfgqxw4HKylxiDnJdwX6onHcIrD8pQyJDiOfuzsrKPVHscxcnijLFmtdpFjmpJjXpdhGnVTNtfhpzCXhUKarZv1Kfe/9rS0YNpOFbf0pBxSjXWkQwDLilVeJahP6ReKewVYYUDh8CTwTgGirGaj3fqesL4+MjmyxxnURrWzvWo6mHe4pLtaLYhGKRCHucxvkIuA25JkZqbHyqX7XYZF1IPsjDFFTBiZY2tGky3zlPfQvT/9RcIoqs0ewXpBia7VS67UBUgW+8mS3DuzxDyQLmY8UCuZ49NZyCkcZBDjRjcEx5SgtmzjDkN2e36HXrJ/q1Mo3/dY/ngyhf8TTzF+9rlcJP1Qd7KnhpoH48zDQFz/KjHwVlu0tP4cjaKreNshdztIU/IXAZkTB90tBePx+VX0r0M3JqpdkwLyPs2liWcnqf7P90YXzGkeawk6ZdS5ELtJSH9sbzTBnVHosU/63AHXA8REggSW01PQEgv0DFNd0vY1GL2ymQDAwdD32QyNXML0d7AgLN9teld6JpN6jIrhO4POGKDshDTn6Ma/wdjrr2Go1fh/tsQaN8goXS4gAVJ3SFgI7Hz8FNgfprcvcClH3JPHDTMJUPwd7j8OFu/65LNNcLEnVxH00+9LPsb+esuc3SPri15uwZsuhTomtO0NqUtm2UJx/w/CwWNsBbKvkTGiu5jcLHrGIZz4oCiVm+zJqLMr2Rv3vjWImub1C7ERF5RGMry9jyDeyzKUnNelIXGrtB7w8HkpbQNTlJc9X4/F3FzZgtmgA3QJWQXp9JeVzL7T5FR5b3V1o3BL68z3HQCgrEOnLb6d1mO7TM9q1VWdXldsM8l3hMIMDKLmKSYf/+FpmULja1wc3XJK9rFy02U2hgd0RlBZEqmEhN+9/ZUUCnRcoceT2xJryDK6wQyapVy6cfXhFrAJx1N6xBR/GHWd6VeW902rT5edugV2Vim7/9aiEvWJujvAW34w3E9oocaWrYjdzZq0xvxIybnT5k0HMRCRYV5QmnTRvbfU3S1C4cKS/SltSDTE4QmPutWwd+CkfGYFregnzzcjEiz+lTBuZ7XssvRwegr4tKaOCc53+vQdV+MabZLfsaZ0taFgZ3dTVjJ2HWvPDnFMg+gbWd96Gzup4nFndp2MzGoi9DDrWdAunaiqLxmrSS5Bj3Zd6EoicF7qLfRQ+/zf6tGmcPgNRrhHs0EJxP+3TnRrsua6DIQNA0E1EIJZ/ZqWnDS0ZclTRDM1rGBu55fPVhivQ2Rn36aljSVSTXFwK3iK+8cEJuCHNTbbO+I4JaDTvZGq7AAC8c0RYfNTLZcpHrvMFjZFRI2bWJ/4qSMgrK2vO2uDrRiT8jHSRzcHNfuheOnbOTd/14o/2LHrSFvDJK6KpMtPRQZoFd2YHMySHaZGjHiLMJfnOnU1580+t73sIwtsAO0And76CVwZOhEubC38vATuvzjVmYn94sOB2fYpPFtzfvE0erpZfz1s3fWg4Lp+Xqay2rZ5uYmYgcmWU67IDXbDwr6oXl9YD+0QwaYtHtpi8g1++S6YDmaBgNPZq+pP2/41ZBXw9LS1Yx4YXcrBnISiv5dhUIH6LBVxPbZaVEh9bXGujDV8DZxCVtGtqMYnXk9q/2unBlUx9Fuf+lHZKYptnq97vdmuEo18wMCB04XYfqJhoDDVy7Q3CNryZwL4iZd00a29H6xurmr52djnZUPKUui4SHi++9PiyRQbE7okkbzLYCn1CPDUie0WsWFTdBvkeAq+MoHBjubXexApQTSclO6SdM7GQRnBoe48V1PpBxFAvqw4FZCS9zWxoB2CRNiyJxruzW8qjrSP1qdkWjf5S5SiHReuszCjDWw6S1+QBj9KkUHo8xyKWI/k7HfDulwKB6+GbPc60FLDu5lAcuhj4XCS45NTtCQ6Ir6DJJyc4KE6yGzVgXui15Swhw7ry7KEm17g9OTZLMjL2kNVySomcLfURUuNu5L/Tphi8JhJu9UD7aGVJ759CxnS1NxY7RA60bjGdQvIlJ3Xjj1gl53BO3CZHlu387bNhEBkd19yDtOb1tVV1WL7LHaBuTAaATlNUm2J9KZCV+nJG60sdYnx68YHk+SElBQGCGC1pEz6qXFxSsrHw5mYwEjljj31PMWPUX+4mzhCgGkTqCavwxhpmgQ21YjxYOup+1GyHzJJTmORGVEj44KKF4JZEa6jXdWiOH//ruTVWL8BNGBf/MqkqrYdXHsCCewsp3foBrwYe9Abj8nPEpnOMsbDpAA5HF8CisxYHR0FjuTW+NWa9EAMTYlzTXbKBeAYu+xSVdD/m+mzlc+GXBQc1thpAZwj8bc5tLfyxkwWBTFqxXWsLv8c9YrcHkds6vVQHxfbOm7nfpbv3xRvjHnYsR5rVhO4x1QburRnW0Ls6q7vihx0Qp3POWS135AMIVcDSbCCQfHHBpmD8iTJS4ouQeHPWU8Xhj255pXrRIVbXjF75uW2y8wGSxYw5/UnDUZwQdlZxDT91FKwAgJBH99/Q8qBNjUWCz2jGjDpZziX1z4JFKZ7/0TyVo9XsHykHFxxzVn5BPFoJA5wYaW7QWAPbiK7rXptDGhh3Rl7KxJRvjeuag9z3+VRf+KiOMvixil6JYuUSv2J+a6TUNV7hQorDddbKAPqvqsaaIm0l++kzoObG+wXZIKWL7F7UH1JbJU/4nmeFEZUf9x/Wsuchy5sBapYNndrsxTwSw6O2pAf3FfElul6i5XRo2kOi+FvNhl9tfqwdNOXdj+y1izrhseItVIBElaKEe/doay3iRyC3xcnvCGJ/Auul00yipRA7gcVudDb7wl+tgtRS+hTCWbd4mml5fZpL4k7WLGbFfgSKuzWDwFT/twp6n20KObNEPPvMqkib6K0cJAG8igc0ru+RGjAbrsiccdpqi9VaLKVmsscagt5Vxl0KxIdhRmn8YeJeL2FHlCmetT90uQS7RY9e8kf2i/GfFxqKnYW4jwgHCiUedodUKwDXln1eaiL9IzfU+suHWoPtdFJvwepUrU0iF6BjdAUGkdjWt+28DJSZr99alt4UES980AoepTVuUYx5KLyqzgNPwoqaysKqxjP0p2RuWhX4pIAwuxZeoVmLHssuJlPxd46GvZneXkvQmAN3C/jhvmZBX8vopZAUMqjh+xBwbhIojhaufGaBK8PxUSkUz3E8fEpkpYENzuuFYLyVc6UrYTLT32cxEjISiQNQKHa0m00jhAuCbGlnJdZWMoGeNRNwRiC8NvavMwX2bq9NEE/P080Olg3BF1qLIPnk7nZ3NGeoLSVisbq+9msSXOohsHVRB957liaOmj08K1AwKXOCh+Yufq4jD225UcbkriQZEu01PBmoEg0vbsVgTuGqbS+sWgeCo87LnRj6DnHdPGm6FQmfDi0oPRlpAozdyOLwl5xyDwD7R5xeoTeMM/M6Qz9OwXw/Z+OFHtgETpiI7FOEJXom7kKTpcX/PQWbN7H6M/9QybeAJZ00rw0iLqOI6u/yGOwpFXrcyLbTMaRXAeYxigBSspSODtbHB9Vy/BW/+CW5vaGnd3IWhagEs7p+JKVwdyCycCAcCOF8v7GljlO3l8X0EDYFYOjPJGG7ZPbnM+GAjWVernnXyeeRqxVFeQhlgYBWGvGuWhSaypc/M00w+SfSoT/XgTh+W3oFnDvta75eRpb8ljAAgEFeGGGTsyXAY0E7DXhiWDLu0nRac/ykrXLjUCnwOdnwuBXhnWRNhU/eJmccncqJgr0+z8dOzD8v2POtoMxos+Yy1J0Q/mJJT1gBxWDgn3Z7aaZVxvMt2pE+wPd0MPaFdo+nuaGDXUzpBBERj/GUWHQXa2/nyR4GSWPcOQbLztqQ+9FVVEJdR3jVvXzfLYdbc3vnVcsikiM+0MtKUNe7K/i6DGRYGXXZZFa7soqSzrjiem/2++WM4wdWZcN7CY4KxNNwss/pGn3xuvtv+17MHA6MpZXindeTg2RNKhUgh4SQnw/8hftBmKl0OBW9S2kvguCv85Q4TQc5QFKCgfJ4HlBGk85hSCoH3gdm0PL15Qy63MtlXpeXomGLzTb7P00hwWUKXVRc5kpM6RVjPU3wSLJX63xCufjZC2jav57GpL2i4yqc9P4tilAhuQ8Pt9SaPm9IGML+CFQ6GS78Pepe9LL8M/epiS0Wo528e6CxfIxG9btvvJ/YTDDGX9QjVWsx56ZSBpBYm+7bPZpN97sjtdKTZLnx7F/rqtcAnr1CbrZ1gpFoDTQi3kvj2JZob7KI8pZ/ZuU9k00eFrv/7AwlkVH9ZUbdbhHpBT3izcfDBZZfrSEOwUuRw2Ng/W93zwRjK4tVfGn8AestvlGO1V+zGvb617u7i0OXwMSzEOvQYN8UleRuovMlKTs84/UaCJZK11lT9u5ju10AdDeIrRwEKw+zAt5D7o5JMDA/rh+wjUFK5If8RGyn1Phkqr3KPFVJpgQkeXTZKZUf8sfeUKLi/S3HKS4bscLAGMzBzbcD5eYy4aAbXmjvq2xjRBBxdRJ0X6P0FuZABXZyAWM+fyDrwE00Geznm0jn7j9Joo8OtuegDLpMhi4ugX942/98dge7UhROakIogK1QL1NXDe8LhtWADgEHvqKYjJqAg5Fhjw3H0o+dxYjHBBpUnsqV6w6wrEMHIjClU6mSyIoLij70Oj28qbNsku/zyQixc3WtnGYTMMIree870mZQhK1H2HDYB0VYjzshQmXaPXbPjB42rS9Oj0iqqv+5PgDgTGTZAg1cP1zsacR6d60FFGR1tLEyTBSQsW7h1i3MTdmE+5cMmjccaMSMvOEBaQHLpbcM+TiHAcRYmp+QUb132ZxE8Rg+1CnAH9tYx1zDnDZBpqd8g5CicaAQl5Tf4jiLOYgEFT6SLihjM5cDjLMSrjEDapoddvDpGZFmWB3SK26bFRGjNqS1mTY4shkEpVPUIX5LSAh//VC0vskWwEWDdM5XzCbQSbr/ksI52MFRErXkzy4xkqJRq8mi8000WlCJUh4x8ab3QBv07wWAx6qDljAzCiuPtWKA/mFnpGqng6w//FLa4xbySahrztpyMOJfCwnbzg8+8gd2tfbGGgtPV+bLVLUVZ3luHT/v6XI5Uae9TOZYSRZsHcfZFRKMP4QR6+v1UG8rfJgGt34mxsy93/qpjKnyr2N6rd8tyJSWEj/4rA7LIiKy9h28fhQGIKrAdvbgqLPHbXYRh8iXeFV/0eRpkpiweMQTyq4MJQjL2w0IuKFzhoYG6QoW8UfmN4YxrC6+vihYU0gZZC2IBOuwH4noX9eOgq4rtjVaHqsGWXE5fT5C52pOC/1iz1P4YuIO+9T4oJfFZh7hWdK7uenwtPrE1OqADfsBPv92DHCUs2nxTqYDvp5uc/JY+A4uU1ibCeEONirLLevJbgkQik0B3ZErQco/bAO+RbPJ7TIXtSFPNNyoKzwq+ej9vmOIQRL6nk1MCNFc7bXCpc0T/Y9yaVMFHeF8ffamv47KSaBqjHpnvBbykHuIIEikemKQx6VMJdGbpZNPijVqqeDTzeBglIwh84QsZDmczGPCw9MhQCMakxUPy4WiEdTF/9BGlBhaLtMD9/pAyJocUAHuzG53ls8LztybC8KlrvueKynBr7kvAdRrpQw3nEGFpOE4gt/QW24HVIE9cxzV8OyzGJOTZCk2SWD96D33ZKsa0+vRgZ3zDoqKdVnnUs0OcYwD8EZ5RMJ7rBpNMNB3DjAKk8MYKjpw1gsJLnjDD5nSs2E8z5G1fbLIWqX9rUrKfgmZZo8iWa2n7UdYmC+1I7wJm/6TPD1DxSyJapnwGcSjyR7IV6nwraLusKcL2d0wJEMb33oDTPbukcUeIooov7UI6irzJqK5R1qGZNDkJ4KtbhpIke3DUUelpXGd/3CjPM67W1EHhHSK6rzWudArRFzoUFdED+rBNsEruS7FrTEq0klR6rrvfNxRaZXkOfsbYBR5Eqfm6qiSBaWvgWhVI2qguNOypH3Rfb0VqNSL/1NYngNXTNism+uZYQnbxTR2EDL+g2Jglcg1uwlFTDAOcz8QaTP3mctfMjCA/RpWOTlMPzGi7hJmq6KP6fs9FypTVtiqKqXt9VQ8+bKCTCDG5p+lR+DxjoW3ahVuhDCPtIHtxry3nFJtVZ2O2hWlAvchqCPh0fw+BCrxcXELBDCIux/hJf3rlCPGXgJdvRybBcwcD3GKNlhHut3PJLmHnmX6rjlnhaEhi94fIrWzLd6NpeO5DmJ1AD8sr28CoMp+ILHmPydrJ/inE7dMTpYgO+MiVgbyKZfvUbBFD/p2kYl+PFeGQAbJ8lWTluiQHIewgYQXHj0TcdVifMYnvfhr98fEkNpv9vNJ28p+mWk766CG512JX+h2rx9fCpwngH8OXH2VEhd6RtzrWODyqIRB98BMLZO7bNbpIFNZFZTN6w+aWaxzcpccArFw236Wz7YO/rM8nEbzbN7hD1fXNoFzo+uodohlE1EOxp3bMyko7k4QdTjm5yxgnc03cjKmUjwRYwD10mDUMW9z3ColcQfQHCSSQ5D24zDpzcIIxnnfm7Nyt9Xq9+g0cWrXAKY8sJ5uHKInUQgktqxv7NdO2lQVHAjZpNjdo9bZ2dm4BfHx9dLLyGdQLc5ZVsiKw3j5a/4gWq4/Xp/tFIP5k8Q910qGqeZL1mIiOFgZc8VGmrfXLdyyRyWzCAmQrMfl8l7GPjj/81+LhCN97LMOHycFdfGn1kOnTwpMJe/WoDLbcn3DbOkcNo5qzStxuiSxroQ+yhiyVxIHTy5ttghF3nCHLXrtWsvCW4/ibFsHtlcq0Y2TRbL3ddgOnNmozKvFQesfBGyrEiTsLnvzAZWQXqM3feabo7Kxn01jDlb3hTcKUbj6nLWCBJMgfyhScYqh3yDLmqgAaXhb8bJbRC9+ZyHU74EVw8FEeQ5CfkFcUuy+gm+rGbzXkjbuDQUadOYRgOBH5BIjfMXXZlN/eE/lNEQMSk2HC7PysTXPRBG7sXqyuaSIa11KmbJEv/0vQUn47VnlOFrrHrWp62taIrsrKYFeUOIeX6O+r39JMii2XoKirpXHvlLFy+mcn6pG5HlAHo4YxZwP9FSN08FINf3CKAd95DWtjjAx6X27/MktJlV7m4cUd1bi6UeT25f35CTQy8Awzs0OAXfgpQsEWWiNKONxgp9lQLyeIxgEapTaZZiuSLSj8Q2c92S5/Ci7076em/UFRAYfEmKgv97qtPeXigjsWXFLtErsR9tVQIT6aVl8E8LwCbdsxWsJ8q73e/7rRUAOXH8sx/635/NuD41jPF51/BC2I/BADzHovYMQvhCEldvKKtozHIqP0qlv2ZDS1oGC3RO+zsEhgiY/+7FdQG6Xhs+WUwIjmxbSP9WCJx6RJ/585K+vk1cmrd/3UAH9gsZ+rWBwpYZXcsmFRNbMkYxgRK/8xp0R/cPNP6uUWsGirqduyhWyaImHcSMlE/d+tdRxTBo8WKOt6f1OI9XpYeD12YXx5UWBKBU4OxBqLFy+RS7MTxBCnreShlsNt+NnOg5ipVAUzF4O8zYmE2InNnvDM8J1CRIE7Shl7NaYRwU2MlfePZaiSPIlvQnuwvoWmjnIIaKLVHVfIrTsbk24iQz3GYf21CkX0sCu5nRjNddy7cI7oGWt/TaINpnnQgGqcl0LN3zC8J6tVzXWEMEYijWu5dQrTw3pmcLJrUgdP31pAAkwzXGcfZQ/FHTn8YoogDRSqBfu3w+sdmP3fXtJEHHcJPzjVhFlsB7Dztc8SppGOxi0BguxYB6RV9sZ42qxedy4ptIPABf1MBqqYTeQ2osEH5VNooNsNHbJ5POsWUpqrYKl8RNNuUrYtuYV3rzdkbIefzhTV4nTJ0HGTMICg2c0i5Z0KAr9BCDE0P35bZ9fx2PrT0J2aDTQmGVirGgawbUNchb/4D+ZbSHQnjngmq7CX4+faYrKg9ZLfak1N7DQkWA+wZkjK/V4za55+/NY8VsDBaKHtBH7zjd6N8Il86XAxQME9yMVyk/Am1Ww6qhvnve4qIX968wJfjuOmXFx+kh+68dn4PIrc6h73rQzYbSqL8YuiWdXbV1czzv/LWgVNQaMewb9LwTutW3e5F4xEUO/5s0Fy+Y8jAeVpXEHfsZUREkwA2/7Oj4hQ4RZ5/QSEni2UBN6wJ2TG53/ENTxJFtlY2nW6hDA83CW352Vkd/kCHcCSZ9Drb/iHjDZE2ccC8rrrtx3biyt/rjuBx6cIOkv6KEegqhAztlgkIaBgFgbC4Gm2Bj4xHyTOekPuGeJYtF2XyYHTljtZly//9morcOGWlcvD0ggE4uz1qPuY9Vhz8JM4RAtbCO8kWpcRSxur5ZQ/va2I0MAARL8gVM5eFurlaOEqiLw85Fsahd+INTH1o+n+Lq1k4j9HaeQVSLx5ve0wnpVvLTeSAg5KZvzVnD+2A5p0KwsxdagtXWn95pdjHaveZjRMHSk+YTBLW/Y5WKdXAjK8kQbWxADv1e6fm2FhZ0WSHENZc8DGd9PKkJXzQZO9HTbpByyyOrXlBMeaNKt3od6c21v4/IeVR6CioIaKancbyv8AmXF0O1pfXSAFYV9C06nTADoc1uM4SDFtG4QSnt68AoPqXzB4FJ0BRhqzUMYkqr+MKMPx1xNdG17wjAM0AGwWT7G6GcIyKrJNfGWvnhVdZO9bLscC+SvpIpi1/HTJ6JBctSAlkzIUV7WFc3mwx53Oc49dH1Ea63VLZ18eZpZW7L0lo/mp9c2WBBC1RY9qg/V/+4C3aU6R/JNCGZL7jETcKZIRLMLMqIXFQl+aDFrwQXwuSi5WGfwMCPdXSuhatufjbc5kJCrQPSWLXkVBY+0NPkbozjCy/hQ8lUciMzR7oJXT63xzOHGQIpZLDmyORU01MiCPyReD9R2wlOiLKFiiv/hG6rz6vSHvY7lUvF5ENUVp+iOS8Q4plP6XN+nCeVFd9qTDDEb8SrXU6Km6j+mEMKbDCJrtifqlWsW2JhkJ4rbzbrhSGgWRdnWBzJFyijlQlvsK17xNoj4gDlEZIbugtIZF3If/OWDWdYojVfFn4lGqYMiXKQ2LCuvRGJvm9Wkwl4G7T2RkoFfVBhr5/G/mADEbQH9OXl4fFA5nTTbBuYF1sfNrGxRU8s9iv2H6gXxkSM9/IA08TwT8SlTmkX/DfZ7BMkCcJ7Wr5gw7YUQ3JkzZlW55js8C2Htu/zrf1N52xBm15WB2q4Q3H135SX988Q+0X8MBpyv1NCvyMWsfC31fYKRJmSaWTG8PpW3kjAqq+4gnBnj2E8RlEWt4rZi45QVy+ILIlCVNG684TYZoCuqH/E9o1cbZMFmMJv2F+Hp75hgaFyO4Zvqp5v03k1/ygqV3F8FPXpPvnfOkp5FQrVPb2GcMy7b198yf5kcV9Ar22UzpNmMbzlCfI/75RjdhHLIn1tDxRXo/kzlOgCkl/wMO8tq4/5WfxeeHiS4EFw7tXNbR6BRlA3hFP13XhCCCQGTHS5FgXguVZaOVx+7OzMWzlMEvrfvsE03KqQWsayzi+XmXtG66xvH+q6goa8ZZE34CU+uvutrG4sNhKr/KZ875BSB0CARX1/mfFSWWNvGecwWdYqhunoCyeMOao6KgFbcIeULsYlDVN0BI+6f++vfXiwpNFtYi+x4vE0eb0gXPaiC7e7d1q8R2ZhxttWb6+99wqf/XUDxkw+aFHwmcjw/xOr/q5rUIi4fA5vBAcZ3fDkSp3TQ4QnHXFPmPgSCkeIFAshWuLFl+pTkro0weXLCfnt/AQzz13M9y+uqTzFY/U7pGFanIZz9JsDOA3QjF/hRre8zKLoup0FGipA9FQE+QGFjdFosr7XovdoWIRQdRE7AWP0mUlY76XijLKfF4JDQ+MHhRMpsWh7gxMat/hacjqWtG1JBW7UMOsi8We0BT6kOdT57df9g93uuSx/DocQti9IKTcRalnjTCeAea8E8JJSSFArFsTte5lALEx08Sij2S2YtpnV0m7be5ZqemHSOe4wUeZlfZScxeuYLjxXsThsCvYop46mTOiGLgJDbu9CKhuDRzwzLZIXBH34M1bLUenFzjxVMjaa5mmWacfbG7p0v9FrjOsHzWTNulorlNHM03QumUQCRB0X/yfNdo7k8LKbGua9xHh+xi0roQvaNNoPqlnfNQ0ltH9mEJWVovURekvxOgqzMGCACwYeRRyotcaPDTRz8oGLFupLNaT0HpTmgoZYde0PdJz8kBwGZ8dG1/Zx70B0Owd9IZbztxlAetVRXU0sUeUXNyp1YoJvEUiHgjuTFH1mVjGyNdM40Ga31W004ylCDTD7jj4RKLUcHNRrmaK0Ec7fgNVOs9JUCE6ZwLYpGBL/Sj6CrINKm1Fl6POmug5myAEuZ1pNhmBD2JTOEIzTqVM6kLTgJVmFc3rjLqo3U+wCCM1XLqZdEfXQnYaai7QFMPeoaaH6p9iwAwKg0gzD4lyFUfGBeFlxFXxpbrFWYI26oW/ITckJvUSHqPx7BZwjJuO8AQZFFzyzbVc6kBq8VEP05Rk3yQBG/Xqpn0IeHT2wU04hp/1sfIZAjfgegeW/E2NyaVWre7WZQeBtqeaQtCNC2jWU38mX5araIQ4oRQHFZzArXO3qJbh5BV5mWtznHIvp1y9z5apT9IfFzSadIh2rBzrSBbmzN0WbwUtRDtBzyX0hGyP5cip3Wmc9/v+2vHEZcH7CXpbH+hXASOBnFuDDoliYxrJQLGUB5yJBBQdOayPY2HBVnZoykCrGulgfKZvNfCCQc/vIbxqGhB7rO90xJJdnn60YK5ZjyByd/VP3ddJX6Vh3N4iTktcKiYZyc6FhMg0P2RHysSDGrNAsBXlF7YpEnZbzWQxWAAcdfbYv8mAJWCJoZaepAm/j35/z5CxAL6m/YkcFRg/nuR2H/QPhW8qXT9J7BmIRY9dIt3HaSs1fkWU1ww+S1OmrdVSm7UF0PR1+kT4PZAiN3gJlqe5ysV2cqdA+BTIFubF0g6GuwdsBFtVMovFt2AcS7Vgtw7uqUGTcFc95aJ8np6j4nXx7f2eW1UPFPJm1zyizNrivWC8mt5dWboW6dj01CMuUmzu5vL2Z19XJFeqNKeLAx8UIMKzE93dddFYwHlmKvgtclo6+qcCki3WN3QNnDZ9i2KUaDqYBmfSW8G9/VZQMMx7Cob27GNrIES/HTBEG7+pqfJV6h70uwCK9GnYOGAm1TEZjSaT7ipqa02//wXmImn83b2S8a29VL1JAQDVjS9hD6d5kiraZS+bAMHkseSbYnPeW/JpVFVePWWHzHJ+MWXbXgWV42oPrPkRwhUjaW1OeQ1p2g14CFi5gfXWvX/EVT8b4pei0i9ZRmz1K3eGjfBIyufg74hjTm7BuXTn19aieJDnjPqQI4yjlviHd3P2NacfCPjLo51/tOjUbnNLv/rHzFltNVpIqt0iAdlG1s8sn6r49j0FJcJy7yPBwp33DnaftNwgp57BFjBSB+2LI45ao7pR/39MhepXTGSl55PIEaMZ+GfYKOS/evS9MUIcyJPdq/DuMTHvKPGsuGJwK6/8/HXdBU1W4moaOKysEK/fpTqSIgILAe2s08Q7JUey/OYTV7T92aA7UG9zstwB0u3MUqZ2vAC0jwb9RikO7W+Y9PXMS/Gfik+v3e6ddkisw7hPMEVMUlZuoRu+cO/CuA3ThNc9HVjL7oCeJTkuPJ6t04WW9O62SFD4PbGzrmYqxuonLn6/SV1jISqdTNHfyrk2j/HdWwD8Xs8gAmLPxnX+inaLI2g4YZwwVa5NzIT89AxtIAPkkdbvXNu7lSyEgMtAILmB5a5BlInOu/BmR7ylcPmhpbZpiRjS5r/+83nroKT06Cwi1E2is1nYpyioXjWp8ek4CQn+1ghXLdfr6c/2vKYIJigcUDnM47j2pwKQw1ukaAEXWetzC1/fVxJBxNWsKLu0sA1svnDJSpBQVvOuR/Uw0p+LjZL7pREP3dQbrFKvKTOirBohSN2jw7CLYkyNBgri6jPvn2UX2Cz+eGV3nQ4z+t4pDv+v9EkLElYYgIjf2Lzi+P2DX79QA8XCLKK/+H5Z9StHVJyL8eQVG/IVR1Kgd3/LgRIy10dhoDyhZGebA5k7WoDxtbglMuduqjb1g15R+p6c6vAxZXuAoB8Po3bxMGIGGtRh0fXn5/q8S1sulF7vk2iijxgzggJF4CZ/jrhDeOmuzCsqD6NbAJWMKb8tGlYTXm9eiLheVMBKg/EVfe/tbQ0KmwIBdPtYgUNIYTYLwFBW/i/I/fT9w4J2wnpiNQPdWdk0Ua+FnTYXWMd2J6ce8JdyTt/qigQgJrCZ89H8SU8mJgBsCABmkhVMIPXo19EsQBXar1bOwmBDgYXymy7qYQFYrHz/7c3sAcC4+GhXoUp9bVPLIQgZ7Ag7nzX01GRutxonKrnwalsGwXN/KoM84mRT0dsxTOBgxFlj0dwbKZycRrRmpC+liBzb2PByO6w8ZeTal5cCiqBJlFbsNxyOhE6uJQHAVzB91jfWFoPMthfpnfgjRxnFBPEHo4qbYVyO/J+7QuQUubai/XZ0ZhYhnvPoBs2q7rd9v1kgWPdU2QE3P9JmgLAidSFpTJSOn/x4RyRHhkOz9KGq0VaPcp9KOguw9iB/tmtV/FNlFAt8V8PGcuzOvaXan1jFsL+fMbKkukR7BCiAd0N0LL1h/ykR8IxJhzvxtO+ZQApcRpZ80pdzekryCOlG0FRGcs6bsbjR6iWrFn++Hn6LpiFx2ql1JChpX9wMDk7yA5rFFKoaVrPZ21Dp7KmIRgkyTkMrLIaZ/My9ssPpc+Ql6TFMaeWNW050m8FwtT4aE6Dfgzje7g0DemtFhxcFpyQ5QPVOjSJwS4LAiMGs0Ny3wlVGbnQqjf17BSC4qvZMg4P+6IDs/eFglfK0lKq3SJcdwsZF08EQxb4nacAQ/DFGY53mF8ucmXs/+ZWIJo9Q61zdnOYuB0k5PVIBCFN5zWP1ybE4lD6oqK4UVsLduqplSyyhb477YQTGOnTKyw5h/bYg9DBwrfb4PYr/ztQBI2jHoyQIwsZtK1wC7ec++oF1ICMACIgSvFAb34pZIeXFBcj/jQhzRSXGf6eNHApJOqOUN8XcZ634Uq9sCbU93d1T+ESBF4NCn+4k7utd6DZWoLCOimJwNiq5detz6S3Hql1hr7+UmrqDN0QLyBJ1Ff5sKo4il8N2yMjgEmqZhNn69IsThnix/Fy/EZgJeIzDl2PBld/W14u3fjxeHSsWeUUsX8eBBpmtD6tamZROjs/cCy7hg1M3o02sHFR70Ct74cbZ+N2crB3DzOZ9slWWz+MdaY/CQ1mVl6/W6SNT5Cg+9MrE+SeZVcaMlzgODlsPgzwBBrOD7PGAccu0KcqLo1af0ctBLRb8qfhEJK1bILkO14Qy0TWSl6Jc9VWhjtN+6tNuvqWL1s+I+HSgmMdwKLb5kJAwZC+9V/O+q0WnW2Qf26TP+bGgP5v2MasBMtCnG18bGmbgjiu9wNlNhJr4nrUUFgSm7x/AMCNk/7IEjcoY1/bexpXjY9tZQS9RpMxsPuUU7zVlBMl6fOOqbxVTEQJeMAxgIy8grk/pxt+3rskEnY24B88f3Uj5LRn5YisO4+LAjd9xOiyn1R2CANk4MRhVMVCout9q2HVKY9emkzQrPstgH6cc6jaDA/Icz5HYAJPmhpXqX3j/4wfYviIa1itZzx2E9qg2KuoomdA5sBH1chy7c2kuOHXiKeQ9XaFmfB5+s0ZdODFIs1S32VjLWlgcoEUs9/2fgY3h/xMn193s592tl3/vtYGbvwCeFKKyyubSIQv2+q54YSevADO/4EK+3k5RQvWBlZPZeAkyXCYlnN/wJrCPJl+/RXWo6/3SCg7VNTMTLiumKZF9vAzX6VbKBsmKS70uMzCKQrALNkhojof+BX0d0BEBtVTagBauX7mJjHJDGXDNJsJKAxGm6MQbK4YIQIFoLAiwPJt7f3Z9pi2pdK5KEjvGbSfz72pZ8GL3PLNDc/4cv878Ev+elZELO2cefa2Mtqhqrg6Kt36pMkYRyFHeqEtnomzUXJF4WfnY7iN18Brbb46LTmlHujcdfGHivY9vohRW2Ur+tMNYDE4kyrbIvOv0bTj9Hdin3DgIbRR5TTz10Bb4DqVgF90y0ZQABKizKzQlbsmtDVVoGeUu3b9YHPKPC137NWXdtUwujEq0lHunKrPIWxrB/26oJ2h88J8F5TAkT/VXc7Dhd1Mk2stKx4lgF6/mjUYZnTo/RKxqq2DY0L8fs3D9ToZA71xKdSmzjz8kQP18DoXQ002M41uelHgQ+h58nyCnR3sp5kwTUVsdWImYMyqNrTF0745RFu0AIB9GhI/WT/sK3qNtGtET+EP69+4Ld1Zh4z/LXQbWVk5iF4dUPPyKPPg7wdmbnWce72KUpFJU9UwLsze2GLwFSjPOnf1Yt8c+ILC1UkHj9OL7dS5xuKtATG2hSf5rcIClHcyg89zjy7S3rtsm3ftfohUxiX5IGZxSMeORLdy8TM1ONM8vk/HIFVuh3fFptkPkz1AMSZ/YTw3Rt1oMzv7gLJFi5Tfq4rUm24Mqs7kFu6ZjTcPzV/wWegsSapdhWjW2dX1/Jx4xcHs2xYeYjvi5kLmszzQA2izK1X7okPEL2N4QxEACG7sK+5Hyl4PTdu3zR3iWpGwicH6qkhq0zRpJHGJ4WO05j9Uz6l8OjY9i9bDQZTzvGa+pIviwdlDGUkE2LJvsaKokmX7rl0eYNgO+UAPsMdsxR3iRMjo7+fd2SCXp/MxXuj4/ysj99DFs5wbX2/iLF6mfxnhFqu8B1gXI6psq9XyALft/Xgf1WJdP+UcSz05/sFSrlouWuI8nrBLIAXeixFiiI0TxO5Og4TEO443AqeTytF0bjdkV6RYXQxllO2yKjKRzV2ORTDTMluiUhRSKjRdFxJwPKTLS66xJ3mPExxYkrCfELsABlqAM6ntijkIX7MNR4fgWwDghQlhs9qvlEE1b5ZHyVBTQZ45wtY/f3+z4O81JO2kU1hNdaQAExUyT0fPUv2NIhLwIjqh2sroiSX2PjxS+//4OvRgLqe0zVucNyvtLYcxca+oNdIZPYC0/lxLrV1aeEguvYan9wPKVo+S99C3vaf7x10vO5s7ADEK5zflekMQnMJZR3GiGYgMeun+sA5u7tC4emqDBy5LHc9XazQ9DvZ1Sz5YxWLq86jcfZ9igMgOiK4Fqi6WlqPfuz2WzLQKtbuNxRGMJSgMBYgfwEXTv486LWqZMfTTuFnjZZTc2t9h+pYRiDZGtmbTnKwKhWDbEUnzOJF41GkLPURuD9BcYeHJgVmaJCs93uN1dMWgUtvmLnfGi3YAQ72K+/7beaFemZ36jFwZEjXMbo/S46m6De3vWHCJw5BpgIPmGyvqFWVwlSsrmZA7ZQJ3ElheoGcfLgkubNs5rVHll5G7RRjXpdgWb+i8sLJFAG3M+YW6aJGQqsaQ3CreblBXeeBcZ1n67elXQtDU6TPqy54ECWrJ7cycauFiA7T9tqcHNQ0fnuBg3SNVL1oYq5CNJ/uZxFIxLcGMtcX83Vg5iV/DrGaB6tYR8yS5+8yrNbKvUsjrA9GcMY8X4gBQeOVbaojMl1Jfakg8Oe3ZjJ3CXscS86/179iLlh5qkMAjugKep9JaWHKqO99AsVrLrCdP89RCILlcJvkr9txz1waNwlBXkZ0JQNLkOBwjG06TM/F8DmWtxZnj3x1qzHE9mO2LHpLTtnjo/SrBp4RhhzCjuy8sE9f3pULvq51Y3g9KISkVSJCwlVaBXZLtZT9J0/CF5TO7cEeuru5SAH73aTD2IiuQacbzWAP/iSKZP+Wm/b+H9LxVghj5pXJxl/SPJA7BQLomENBnczQT4YXjUnuuCFbFxWFBgcERQhyoPKzA9aikL3vOCxQ5UCkUz/V76D2zWOInD+eZg52P1M3e6GB//2G2zrTOMJAoVwn0p8iWUgtQKrWwgjcWmQX9afQxHh99T+5Hizn3i9foA1IbSvZ0luSces5UFiPYQA2bK6Y5PzlH4EnI71UJvTSBoQF0GbEQsVUt3xRTCC09eCqDyciPSJNVqmXj1GEpJu1y8UKuFPWHdkydkLENMIs19+i2Xj6OiM6YFc0VvF66yONAlA3S540cv9KB8//YbSXjzW8yE4ja9aE44KiP1fAsTfijHzn9JWYW7ng90NwGRjD5vPiVCoLE2Z5SjlabuRmC7i/S+qOpvdHtp+xMgBgcpPTl08OnRLNGvkt1EqhGYxmbRGKI7bAZmO5QGtazuXYoCRd7E953klexsvB9AKL7Lg3tK2T9OVTps+WfMI39nfIdYICuQXDWe+stBMgh7GpDwSkpN8RNWV64y+4HKB72s2MvY9xjYxnaGFFFVCnsgj/6VqVkXD0P8sDqMVtJ81PB2a9BHLjsiXFaqMT3ufQSfQXrl1o8KzBAj+r9GtRFlOUG2fGRcQ3ndG/3VXvYwU10q37O8gRdSbAEhQ9DfiyxVsqVofIg8xjsgN4a/ttryJsFtTTCSi9jw5CeDJKJwbzDTIzrFFWNJv4tgnleYOWcNuDrMdroDk//lZ/Xn287KLmFHxXyRgvFvTEzEE8g+K7DbyFbSbSZ56g0IcG/bEVWAZklZ9lnLhCHcTnwDZUXzQIbOLk8pCMr2DyEUO8qJF3ZEGah1yod8iKjsSX8IoMWuQVIeIaNCvyvujsGb2lQKDMqoJmhNZYpb/cvfKnGLEOPrQcSCwtEP0RpOXClfk2N7m1bmJ2vaeqIPZ1HsVWcoTgRKZLvJoMBoDligBEO4CVc/Wj/8PQ17+dUhoMylgzOdLF3K3q+hgrbRCtiKcsN/M0e4aXb9wduBwSLWV2a9fOgpaeNBftmT+4GK4g5wxA9G4eVOLfBxrWuDTheEGEWMcQ8D5WRk/VuhxfF1Nhna6wJdlmv7K2UrzyLjAGP6tKXV6H8ns6xSgJSIygmXKcGT5W6WvOt0b81K2rCoPtHD0ykjK8JrVNrfvHzW2c9xbMX/HV+ADmCatic1LCeKkvFCy1V4ZZgywty5cdn3FqrHtV7St1zGSoviYt5XXeq0LKj4iTRLVNwt8cpqwaf6/N3EWtZ9zBeBks7t6rhvF9Ir9sHt5EycxPkXGPzvtSeHaGRIkxAmfalARdxawg2r6hO49n8VJ8mNyn8OFb6YP97SGItsRCFQhVqWdS8A4lO3QDiSOgXdLMGOlXJUqBfuwurictA47OaELlqGkQWjbhgM0fsEw1Gc6iL4KaZnhORtRcGji+rwYIp793TML8PipRCk5zcACAnPZwtgRW+kE23oBEjUeADmFBm7xcBThzdfcHiByRfVba73KTgsxpHz1u7QMXhPjMUH9Ox0IzDZ6ybyI3kaTYOu/FwPSiAtCMpBk2PAXZfNOklA5ubbitbuZ5Ne6M3Ki0xyV9MUIMD9w+eD/wxA2+eW1FDwkTzXEXq7I5xMjuxV8JwZ2QN8o8+wq2i1TTsr18PqXP0j3uvnpFO/OXbeTkWSwp62rOge9hhiXfZ519KGbg8s59nmUEFQD1dwLMuiyaU/M1rx+y9Yw9PYtIq2Y5h0BB758HcCVDa6A4ESvYx2OlpDyoRXaELt6vueSd9E16GMQhMO7dRIKtyZzwJ/zq3jKFoZJ2JI/MkqXxVmF3QHYAc27oEGMZeG5ha+D83sQ6ZRjo41Q+AhqedulqtI7Xkc+BzWZPfrXmamMzAKsMR6JEW9n6OWxnKWjnK4eEwuhrwukyCrNlQcD+ppow76Y2UfSqubB2Ugpy4XFRpbtJn5NmkdmZSFsLpjS12YqqK++WzbCszPPc3b1SirOSbrajtoiFFzLeKmNOv/CmKTy9+DKH8U8+gOM+IBOgGxeoAp7yEcoD2Hc9CjUBCxZlT76p19vZ/taoIbLTPCMLOvWKyMcRUvKHTfCstqwgKGcA5pEdHUiVboXdkohEvt0BqTa8fG+dhxbsvtyYU7DzmOCNyokeeExQDFIjIZntaIcGPj0YvPqAAqhJck3ZW+mvuoDhPCdUotQH4uURxGNtbJgOAUiycIChikAbFxa65JvDMPvq8Ody1Q36iPrB8mAx61KXYUqfrtsMbIGaqr9JgYc/ZtvTnV5FTV+gLEr9XpUPL2Ol2gh+OU14n/sa2Bur2QkyFo9wg8lvYxJoU+8Xa2oR3CWnAyMto9xCwcIcC0mUB2rXfOY/qK1qKDuiuiMn/RmusJeIm6XjEduPkmZFHrLH5qfySeDaiwQ/vA8JuCFTnz+sv24+8u3Dc2gKICJtZTO6/01cyPyii2YCK0XNaEw/t7L6IA1qSmzz/7mzfusG4DuIsej/Twh/tjwTg2fEoS+Z4RZ6jzRDEUOG9TThWzgcLucVC1aZ81Cg+crfSrYpQJdXtCZuPh2VbIxszHFC0OtN0eHz8ejmxXmbAg5zizoSXPaR31eGWzlnAhe/13cdLk/gaFTnBON3NeoNmWAA0cJQrWu52uaeMlxgSZEd5/wYbA1WcWFFqbhNPPAPIjJ/lnf46G4wbmHG2aOpPHefDJBAleDqTHClPbw4HLfkwnKTC9KZJaSeXOUek6Y31LtGsh7Mh16cLzyewGQPYBU7Kxl/yMs2K1sCq1rhVWg44ZWImY3i8Im8XOFuC67YR0UmBhDq27nQh7jAYFU8laviMHzoLHGeTZgaRCwropDSmxQr1LaesZ5eFEKPMzqnCpw0bckeI67ad1zX4nOCVm8So5rXDeuXQlLofczeChPGMFDhi23SbG7lTw3AMs1QQSm3HkdNTQS2uEYHhZZvvMCD2/dyeNYvR7gTBIUpjNj/Dn8OstzyvT09M65a7lHm6uKEQ2CDCQ4l3nYuuVQ3Dvy9KyRE0NDlI5PeK0t8dSSUAwIZGgciAhjfWWBJDjMTn9ZG1nGZT/Otrl76WgUAm2Julw+Dks0W0ess8q4E2IUjPQcaG3YOc1YL6NRmiHt8HmXnguJIj7oRfiygOOj7w5g5zOtKvbj70b2D+tL3PNowjhMm0tAFi+qZtEcDwaVv7bXGi5nTOCVcFRuMleeR0sgzD2AnbKN3nWjYMU9w2/pZAKItfGQ3Av0DA1emVHEhw78fTNd3G/lK37GDG1m3gYBWnqKSOMEH+QwA1MtJUvzZxqktumreuy8tzP0Uug2TJXUin/H3mWDr8hBTcvbJQzG3ObLX9pxs3jDpTxv2bF3uUnGx9qh+gqctd2vm/CVTGWUt4SjfELDe36ZxthtuVjQcBBtu+FMmIVuynfVkvacghGnWKrY2ZxTRL22muUpqQwmaFT+BgASHDinp5HImH04MWRRgLcVwpacu3PLoaQGethzZFw2kfZk70Ao5lVkkdGinRPMiHsBri+BSoRHfLYthrcL3u/kV00Mbj79f/0ML871XNUA6tioNwwksd98DnWayHUOantJUHOus+2igE+L0vDQcK2JQj+GKcmGoQa0Dz84Paucdej6tTssGYDPoucYdQFFWrpP/VWwJRjheNq0M2YytuC/Nq/sYM1oj1N5TOU2xjsEqEZyF+y3qpIJblrTj0FJXy9dJcvguFpT73mYcGy3wCbFkx7OFvxfrLPv9wSCImiWHRh0phvp4OsZPElfHmRWlmt5Cpi2rARVKu+uPx2GU4UPH5xu6KnwOCqPpFmCcbsj3z2UQ8ZB1n3KR/ssoQgS+RGkz/IG9SdZI1/DeSHlSUb/JyOCcVXjD8ObccK3i03cMIpzoM5h3N13O/LcZSjM1xLOMehNJH8w3SZYOM4AItD3C1tUMu9d+JTTmLx8j8LnQSLA8Hbp01T4HSC5M+fwvb8U9isUVzSK5Xim6xjpbBacYq4OTMk1JDPfvcPc+NmxNbeAveH2wscyNKwiNKyl5gt5qZoNepoy19+cdNZXbjeZHGhkzeReWDf3HTQWpS29TR05qm7gStWJ1pDDV8UHGDIPIr3fgSYX/+UJZmK0dfi0rlhsT1HRlSgvSqJXudgNO549eZfqiBxbqYPVeYWr65Np/Af4BKXASx9BfuwZlEGdeva2D2oMJ/Ja8dZWLgQS45X3W7Z0gxHwQfmWTCrC1VfsWyNrWxcbtkWeRuYMJLd0PjNw3TLS8YmHKN/PrjsTjQu1kTOA3XOEH8kuXdNFLqaYe+Q9BojzF0/NUJ381aUrMlfFJx1PUO23Dmwaw9DmRFMwfmLMp0Az9hbVRGVCHGVa4npo4bgRY/cAUtoOCPfhIvqJgn/VSwJoCmov/Xlxs79Vj/q5hWXcAOw2M3LioLdD2W0NgmqXd4x27vQ8+laJmArWqBoirkCsD//IRCzWP9rom/gHtMdeoEHpFbgU0PsFHgbYqdBU62hrJF1QKJwOY4OpBsObrF11KdSU54LL5v60kA1VymAXb9cVlqIJvedttHGyvkymn4OP3MX158pNgGYlKSRlCeQIHsE56Kjuo+2xGltEiIbJZXRD/bmDjSeN2FaXNnOyHX2vD4QXVh3wX8/ucFJ8yRwko5aTxY6CpJFcX4aJYU6ms1UosAD/KiNYKcnRYkiyF6g1jGD4iQk2hqEfvyqAWavtVHkzfdG+vCzWuLNkwFIL4dKhjiTjmpbmNQ1zWj3T9o3834kIMTtLuKARobKIMYznyfNx/8C7zjeLhWywb3VdnQXAzbWyYQshOWhs6LHrf5xQ0VDSdIEpIy1JJs96k4GmaCDCHPGa1xOfyznSwcKlGUWkV4jFniOVodZKOUwtceGXMFGOt2TkdkV1ou9YiHOB+/tKrQrbdVb8zc9E7c0xr89DtSF1cFQUvcsWRj0BG+RNOO4zlCqakpyOYpyB6JNha3+wiIvsYDyNHw3aT55iYzv6IZcyjo+tfhQS3pKciaAw8dSoeA8/ztkDV8+3lR1CVI8qRFKlF0Be/Go8EJAEwOCaLv/OLNB4Z0UJUKTDAc50aYQ4CUYdi2GzJfNTPNKFZtavjwVYJ/3wEgKGLqy5+n3JYE3W62pQzI/8CZuEwJ8NSyFearq7u9g5GrdZSKFEt84BSGev2yqVswar6eBDtKeASn1Zey7z0s6uASH74PPl6iBt/SxG8PnwSr8L749l+o3VhrUTkqBzl7owr+RtjpnAv6GS3sojJA+I7GyrklFhLrSnpFXAFUHNqPbtQPRuNoJBzc5kmAUg6S1dXgeTdtYrgniOphF87h59BZy+NwunOwf+1x7S2YPYCvRvAeMLpb08w0+CrlEGMq/T05HTifPAFAQplL7+pJiSZp/bpsOrWBVxvEeCwaI0Q0o+1LW+wMc1xKeTdI0UD5OcIQ9QiQMqRrS8V0Obtiy/drM5VZmaVgfOYw5zPgwsb7EYJ4d2GS6SVGLNQwUhy+8j2rzGtoSwjPrlm2xFBjJE66KZj8beiTgytGVfrMulECMaiuTuxygRjeNIu/xtmA7LobLCLyHZ74Ka2FduBmXUIm/LfoA5jPstvz6xQAyx+L8TyoOdSADVlG9C+oobdnWAsjEfsqZcbefspBCz+yk7Htj21aJr6HOe1VAc5uLxCzEBUag2w0b4jJyDJ9XRmC5SCVuIHJp6ov+U/4uqcjeLDpKMiK/2/MMLAqTWJ0PJH2ta3juRUgKCNLQVdxgRJbqmRlta52NNcnVPMfnaC1ijOexQNngasNrXQEG/7lnmQvGCQe6gVALEuCfza4ZiUOQjWjVEw4ATzH2qOmfuW2Oq6LnjDEy2rBaaKIMDg57eCGRaq4vjp4AqqWYmaB0fRS9yTvHPqztARV39haOvV4hWJiwDCiLqxFRYHbYrxfEN78qfoZxo5qdxk2tq9M9bUVz8Xo6gpak9sBcTxBwK54gnQHHQx3PHMPFvyApEWkUrTImeihxtcWgfGgkSp8bzS5BxbCwyBQ4Cx2WUo75TZqHt7LF1zKvan7ajaICYe+Q9PxqI2Pye1vIN7yMcJUdIHktZaRpu1Y+hxabZwI4WhmWPi2dVq4a0XW/N1FIDBNh0xZtgaZ++2YBjCo/85T/+d90O8QZUWShnVdI8LOFHjisQCqevZL5ID7WkGR2dbMQo015Sf6BukwxfDV0VEnLXSE1sMFUCWmr+tJlgPYUwdh5hjJAr15Q/pxyBKa7bh2r6As2fS2ZW9/VYSPdQ9HQonXJ2cOyvcKNNPzdSvQ2Trblh5gBSABplr4TuGBaUEbT37vqy31gOWlJOyu1g70Z29ic2SBPbLO5Uto9kyemJp7SFF5KvyvVZHVyeYC5nmTNYWJwlT+U20SWpIEtfPRMjfNVBTV3+1TqxypFR4lTuMb9pfPSFYyea9GTm/pM6mBsXgjf58lLMcSfs9AqTEbhEOFEnrjjetB1msXX0jufzCcOEHzyLF3j96CcrqwclUhX/kFocND28sDaAaQbAqeu8CiGGH4DKJ4eDVAbNYOLPCxi3ifaWANSao/zE3fdTu5j7q1wCOtsJnSsfaceGn9c5pXOXE9a3D+kZwb83fXrpw6fTZRYX8rFdBjF8J9veV+d95v1oRDCNwnPK/2xUavzTM4HXvkKtdc2BoFJ9Dx8P+fqYe1j73th5q4j8WIpOtmjc4lYUIIggz1a7oXkiBbtx/wySXUgMPOMNj5WVlCatjAqmRb71oVw4dwJr9AtbOgOPioV/fB+G59ctTjzMWr09WIqGikcqKBPJE8bWpdOfD4HIK5TUYdcexTxCxoErm25XCIRe3095CeHkEDrBRKJFEb/VOSfrtZ1Wyng4JScypJPxHBXAGmuVfW8f5M2prVlFzQ1cjYKsB+uyvC2qZNPwCkJhgy8Dd98Jv6dkhuIOjQjOHhx7mQXW+KdLukfqCubT2azRFaK7f0U3TktzPRLOrmNQu3qqHmfir4AZg5P17/oCI4xXy3ujpDyqPsU/kVFp/7gDdHMIPEs/Nu6BJ+wi6wU+AvKNJEr7XlV6mVXZa/UxfCw3UgJT7r8Q2lbVqcr2hQTG+p8LSy+mDQZqCyTDC8ef+4H/whS5fvfJIQ/4vIUWOGzLgjhZqS+ehB2jhhMT2hwkN3Bb1eZy+DM9EYzMMXfeXtgrNpOekTIqjXLCo2U8OZ1SGe4ze/y5H7m/PNW2wpLolQv35ZLRYrZ86Z1mub01FJHJjnV38p3xndmS5H++nHqbjPlfEVzFE+aMkUkMOP5146HoGWGBPG/hSAMvV/PYkHR54tZqrBYiio58vo9cu5D5zQFAxZosQGjheoHs6pXWWOcicLKi+bBiRyPvq+UuMRPKMSnvCuhfDSXjPZrn745atdYEO8UuDNFhY3CYLB6rNGdrSRwD0PobAYbsFMq9qVxtZ+1Nq6nmD/J3/UjOiaYWVSmTUu27IQS+DDSZmO50Dfz8aOvrXsBA4RCkMfHk1+lM4ZKxAX7bafvSUzwXPXMRtSjMbN6sdY7VLxn1fGo6N5zTqsXGkamwSwaWhaiphZhPdMr05fGx0wnhpVxjiKwTCCUjblrxn9KBgcan6yUzkGHQwhoaDN2b3k1IT4ubWSPSdzpOYwTmjdroD/8fwxCsgq8iSLqVCWKFRTHcaK21bjHaYuV6pebYkT0KfefOMUPnqx3QCOV3X2O0ZnO0nFSi2ymifaK/ajXcrE5iXkN9UcRrGe1xp6mv5JHC2hoGnZfVyIMbOw0a9NtHyIO8pV3G9u+DkvJpHqGl9k6UYKMVABnl9fPBjv3vkffgb+O0KChhOPvjP+sbvNYdGe20uwuUquJrcyBJiVg4sTeKSJxFPqgaJzLXMw9gckhwktB2KDm46ITcsi5Rd23D6EgspAF9WS+/e5bMNKjCos8e7lG/cSFAWAj1l+2AtbMjQ2APSE7JMzev8vIZrWIXFwSLArr5b61eetmW9LXGGleNFekFBM4N4x7T4fSBBWb6aS518v4Fb4Gqutx7PKM1ifnHfGONbrBmgfZhD6yzvvgQGY0Pf6e/ZA5+DYTO5np2CmZjDma5RFhlBuxgz+Kle/8IfEelxaby8ZlJwxtfjcRw6q2utDxpZB0B1vOvK25uBpetMiPqysPLoyMENr7jeeoqJtVP2xJIsUL4aeabxFSf+xapQQxYuDo4odGeWms1R340+2lQsSPktWsPFbz2SOB9s8UhU+cIdUwGPyCFnlZyraDNBSZ+zj1Q6kekQIJuXWg9f62UOV4FiyP1aH/teSa7bQgsF9DVN5M+WTZtba/bbc/IKZATb2fbL/f8RaqzlifVih2ZBvoftUoWssnLcAh39g0cv6TSdRAqn/tnTUYOtRFv7D+N08XA+It+cR+51by07BxM+03OFse7dc08mHBYFi+NlVuV68wTh3wlq7cn8UrxxiXHWXpJt9PbhNXIAkKpP/95pEWyeQy1+WYIPZzqDkNm0KWo/R0xSuhCPdhvRtvbIpI87esg0oyBWjI0dNgKk7J0nXR5Ri6il5m5JlegzBdS8jUqw65EZ2jgROms2llX7GZhnRgWyoYqLrHW2t9tRzjGjM5JAinwMqi+ZxjKn/1XqUZ2f2V1shXHxdeH3M250cBO/IRGoLlPes3dkmp4lj4/MBrgNiCOttGb7CF2uyYsbUOO0h2aQ8aVXfb3/vpd7juojLnVmHXILF+2pyodTS/7HX30MlzEaHTc5z0OBR9hf9+Sse8QX4WX287UUTnyg2n29ZyVeF9oD9l6Swfev+el4W9pEQN8cBsq6UZXlOgMEUlrcjdAP06ZrKgiHHtnNd2L2/XH2xNaTOOdLjd/JUa19KYgOnVPUUknSwouQyxogZCB5lJ019Qbv1fX1s4SyLPTpR4TjtY43M1s6naX/9P6yteakVppcjBLn3ASQaR+C/JtwkAPeblLElVE5jEjSk1WgfbimAMqP1oZeZy1uo5alnMP1FclqHMYGItuQJ88NAn/XtgOSSotLroH1vgmNGSL6GLJW6/RsS+LFSeLUDBRAX2Nzvy38WsUSjXodla/Y6wvShRya6HCy0uXCKGkzdVw55YratfJ6IHEo1HZjQgp1dA+6GvBYtUqy1NkAPaqX7JFpU9qFvjOg0POUoAFT2fZTzKRU5KEWVjsL+xVtZGA6gt4asz/3FFJhetPjgfQuJomAYubrYUcWVvdJ1NFzRvUKyfU1QEMXfScEsH58C6HUOhEaG/6UxwR0HyvUCo3OHLYNfMG9VgLDE14MPOIYDgXtxwBJESpOUbQb9IIA9SDSy7FY2A/ZD+2V8dB8dG9wf/oKT4s7HAwYDRrl0Hfsy0Wc1GcC3yvrhOw8JV0NgT5MhbcAjTKLb4v+d+uOrDDMN/yykNqNTL99ss8w3shVzTEJHIZgqM7X9fCthfySP2LyyMdzf6E1UbUwIG76xLZZUdihWWv2pZXOkZKogjbT+krpeX50mBpuYkL3q/QXdXxzrhbRpzqanIYZdu4zOP1FiEFlm2qeC9N7YDGfz/e9RFoEHHbryOejzSq5PYBgCCkN2IVuOsMv/c8DG0uVwxhQ1bLyPIUdT5g4WFpv0JYgCbwBH+TO36cgu40Kehd1d1f3u5Nx+obwe1GGQiFY9Mqgrzkl6km3lPFtdEE3Y7H6XypxASlz54up2N+lLozaNSczQbkYzoq3Bf3ZPTVXnH5iQ3eIKynlVhHba+oqBfG4tdIGGDpvnpygLTghqR3gq9MlUDkV0UrdxmRxCpQchh0ihneU1jVBi5/6+JBxcMxkA8OD/tcm3rE/nssGUvcugzmpQgDSUwfmuWRH7XApc3skYFm3SNs37IWGdMUm6NqAaGkw7+kw4/jEKHvHNliVMBqfnfp1cg4qqjBQI7OH/T0Ydwi7AXFon/qeqoj1MBhBj8d2pP9hTkfxQdfjmpyMJ1L8IKZ1A7ejnBMX36g3BEgxirn2cE84uCz18DdgeysCScKuWJCxpNQx4S4Kv2V8KUXYZWTddMUxd4R2EHn/koMd1i0bLohU+IfvTMuX4MVESqwp4fy6fdb3lP/8QCOofNtmRwxnPZIziU0YwueF1+J2kTV5Gvk65l+w+mTuL024litYyWd0gyy98zvXp0JBZc6Vrtp9DvAuFmHUljkbBNtf4GnQrC9fOX6LUGFeZeBb7HQ83VyNfnp58bYwWGCub6LZrNkOGycc8Y7Ij+PWAWZPH9ArlYAbMiXKtRcWvc7eM+z0Z5Nah0arYu2G22Ca3frSJwpmnK/NLhu7FLgi2jHF4VAOdUZ7xH/5rPtaYOPaJlr80nWAkWqHwueKJbmIkZLtkLaqR+Z/+YIbj8ul4/LT/dVqM11lWxs+MH9ex2wSNvQqXeGXX6dwKcxd000PX4DUjMp8aIFT0QFEx7EOQYK94WSOt2gtY40clbKQxZAg5ZzovoAz8XGLgFmim4STMCeYLDJUdnoDjL8UipnlL1jobjrloROwAd6DVtKPMLVGxlkD7RCyFVJyFKjovrK3zf7Jkhgknkkt0o7Y+1JIWRUdoo1JP8dI8EsPal/tqP25flGoINr2s4wO3gBKb9joQBPyLdNBaUAHGBUp6upbd+mPrnEloPc4z8ioIjAm61GivHtQ5g71quwyFSYYO8vTA0FM5g8EeuPeu/W9ko2lhCTEB5wMvTX6QKkGbTqembBf8IT6KCQD4g3UO8DB5swZvnnQcwPDORvahZ7wmxqJIcdcMqxyT3/KPxn1UeHK6x62b1y35nXWG7U+9+SZ/XF5fbu7wpFM52b3E5dfTRKaXYlk4k+pXbTmJqynR/CGvHxPy3eejAKAin0Gzfnc6wsHkftRpvEh/ozzUa6F8mhRryWWXBDyS1TGMzDVCxq2FZckhj+Al6qDhv2U2xf/ejXqB3K/ZIhCV3zRuJJpeWgQT2zw1m887ydaYsRI/ubnu9+XcwW/ctDljsuR7rQPRaxJxC9Bzm/332TzCkSD3UmrkB8ypw+d8L9Hy4ihP8OzWK9mEY1fAWWGuw+XcInLPAjr6xz5B7wWxtUeY3aMOKfOjckAiytM2ZRtkoJih29c2cJbJK8q9nKE3W0PvGdS1DpBH57NRFJXc/i7s5xRe9gt+hdtLNGLtdl+GksKzRxQt8uv56tPzT0oyY4OmEYV90Q1Bg20SuE2eb+IcYT9xWHnos32I1GHeDaWCzQ1FYCXLbnWVozbw3JM9nvZ8Gn1RPbp0Gc2jKL4EEwMnDMjCLtFDZYSRaa1m9FAU8dzlZLMsP80dYDl2NjC6/QHW3U9E2D+eDXgHA0hhUmV+twAdEMeebmNaE5cx5BhiSQUUlxXibqms2toyJvhRzXnr93JAvoe/Bs0pOWmNt20qc8i7Sw6qIPA6iXXsBmYNpETgzSpInKzUc7nLANxF+L2CBVBK+z1K9vEeRY1Nxlv865oNfiqXIavUgl/oqqXj+HMQ1hF9d4jS/O8eG8eLXPcP784lPNVSOZH2q2ri77dvGKUirn9gzWKB4mdc6JgUUYwZ7ARMyq1nsodigmAXa6bNdLAyLsf7Qu6DUrE4TZWZ+TCRm4B/lcfKj0c62upnNmNTiPi6RXNh5jGNiD4eptgnCGtc7jbHd0Poy87rPWIEMT4zqSi7ryHW1DwgRqpRNLl2H/qCzNJPkx3o72bIhPZuvW9A8F4/d/q/VEXVCxs+Le+TK4NJNAV84IF6Cs/8b6VsDwcv9kz0C0Tb7j+sfAKgBEtNcJzIqGjShccci0F+R56eZJ1SEl/w2okNQ6gx99ue4G127DCnoe7LQHdipEnAOF+0A3Xx5bxAbVLbPELN7TYwKCcXJkx0L6HcDPHYV7Jicd7ZcJY4uMA1GF/NiXnAq3v62NaZwwPQrL1oGjkvDe0Geav6WkdRrXK2U331rzElhslZ80H3ydrJcUcYU/osTQXKqpyR5HBXlz/Nlqz4fIHXSoaYM3XU1kGBvOSyiLJIhzqeENhcWPEf3QGOVBLaWX6o+O4KjU0ZHTvyR+UW7vMaqy3DIF2y7ERbHsnFax8LVq2ak6DHwZrCi9bhBEZ074gQm3Oy/Ss/YqcmOr5jt+H0xGtkLZ5NQVKcwrIvUtbh2TPU5bkuWvln8znRhE3MT6G8rZinAoCKcJvbBG4cYKY6QHyVhFCqllmzUXK+Ma/6WJSnQ4zRs9mNK8Wzuv8f/xqjiDCqXN3wNcGoGc0WGMk/+kVTb5IwIDMQ0l2/ozbb/2WePDH2x0oc72cIxIECT8SAekzlgu/o/umkjXAHRj07NRpSlJz3gUA1myYdTYiDKJ4FcAHSMpDTVmGiKQLzuLBQ9FbDyYF7XzX4itJmxI2BXOiFeb07F8cOuSRueuAiLmcZV6a0UwaNU3YGlAey+ZRuAGBraWJHrvXXfCAiQLlc+uviTf93XWa/WW1nREe26YhkR0UP0ft3Av6b4etLKaEwON9PTF0mZIJizAjmVBrJJt3mme+tAJkZ7grGQeNa7sSEpwDg7/mrgihADZAHuYoloSApWb4AkU7muO9/gZhbwjYsz5qFtPb0flFijSHD7HVCi3g7N10ynF+il1ZsQVZMz8UYM/AbbYzvTxKuqIqFvWCuIlSAY0pRLShbP57FyLtCh3bFc4dcxWC9XXwvQ9S1OzS27Vv3xEA37wkYkGOJv31XtgG2cCf29jeY3MxEXEWToK54usZE861zUYdoxgkGsN6ALgI2McDqKZPmSIzfHeYwvv3uvMIZLO/szN8vHwDppsWkgYKPfEv6Zrl9FkdxIRewnQvJqG5BAErgkg/KHNT2BeUjWZKZA0/+OGsSXtCMSQoQJ50PESz3/vIua58qHggFdp394ch8+GmK2U/aeehf+6MmWsVm2KAok0L1qYCnwXGyEqoMuJUYGJKdHnBakeI3s3Fu4xkq6CXNrOcFg/B89qPPQz0QyscV3GmxvnDA81ZhqbBTVpNvBqJ8A1yaPD/aJnvx5mxUy9I0LOopCTykOnBm8QidY1bx14f4RcMHWg9Ca8VHZaqgBXq/fNh2f9Y8PVlZNCEfATZvTRHtUc9iygnQANmAwyzoZOgmeWX2dfymuZMo6L6h/PWM4R89R2yzW9kBNO511MANSDiS30SZThYaT0zVjvYl894ajujnwexgmN5SMtKXeJQslqmx+5W4C2NJYMiyWpgsXyCg4xEGBFy5JwseBLiFerB5x7Yg3ikxlj9xusp+3lw6fdN04TfhkZA7SICE8Obz3cd9L3bEEp3BVBJm66EDPf1J0Vs3HtrGJR9kWJx+KaKufb/E7CLO8b1zDCd9i1zVpYhGM2BSuw7f/0WeJhrZKW/dyihgvUCGIkW1VEtSXaRy6kmyYsaPGhiBBJk+i2Lyn1nLAs+b1XUK929oX9XRHYM8LBBAmk8gOA9P9MilXLZjxS8J8bc/qZODmzt+g3SmYuIx4zfXgeuRHOxq9WJeknk4J8Rp73t5LMYldmGUY1NaL4SXzW7r/Js5JHkeKktB0l5HrnRhD6Cds0m2dCaZHQYREGw4R5/aUe2KJp43W0Ldsh0v67ASQWShnLSMl9MQFDZZYcBz8waa35WRN6+i148G+xwx7bvFaQsED5R2WNq7jfXlYUQV3/atRocuPFTVXqM6TI/rPwIjW2KXJewKlVNgvZmzecx15HvrG0g6dJyf5ZNqU8QExwT97ryW0fB6Ov4JnPyouzTLE3sSGVKqG1P5Kxsrck+mdEaSFZSxUmVdEjvPzQgYNPn2Oo4VfmEi/VeWb3oyYu8Dpd+xjM3vBixHJd27ADqqAA8ePfdiBeYjJs0Q2xyOGeyFoeABelm/xCY4UjGCUXjmkt4/uszYWpgYFDw+ffQIRrhbvqynOxrP8/GOAL4JjEmN6BDNluj6G1L1fH8jW8fDt15UnCmFkQWS9yPg5uZW8RjOUSubmdNUCSVzW7J/2tU1kJ92OEt2k6bKbkluriWf6Y0+pUKKz3cGnUyOeSa3ezgWa1YfKsrEFTHzzccclccvaRelCjItucF0xJHGdvqOu/+G8+anJqu5+3r6/Z1MGR7eqAbnhm3XWJ/1/zY8VsxYLzDv3JQYACaLIl77Lxv6+IDIkbIR8+YM/myGCA+4S2zynrL+KjdLSn/ZsvPG6jDpodIIhuB5npk79jTEUOkZqfRCSbbzWmmyMOETO2vEtuvJLAFN9MQKQdh5Vyd/f1BEyiHAZl1qIdMbcFf6C2xtK1I73rQygpFTGqqBufugD2mVWWlboQLozQHqyKNftrXF/IYSnWbEDS1g1a6jHV1xPmxVELgPb0SciLlh1FYueAlABXCcODgUMqAEgdnJMLzVDCS4t2uOEKXbxMigzYqLjeUdH0WSlJBeL7O26LT8SWdJ05MkRq7qysoPhRp0trskCu33d8x3oz0e7JezR6Zre8mW6no2Nsxy8HTl5YIc8sAKDKVs8JHYmwEszEyBpC1W1RviYkZBfN397gYUsUUpespK9EjQg1P0uto6O1xxDhSNPmUlTzEsOk1544nHw9uphYtLpj9WrqR0563e+kzlyOFr5mFnAuwHv9a+A+s32dapb2sTJMBr+TR4ClyiiHSqzEUnY4rt0wJ0+72oxJNT7HArNI0AGZ23JYyTFskmoyvYAas+C9bLX74HuW148JmbEcDvfJ9phyWXLmNtTWq9BGiqBtiuc64NLsmQjyMaI2Krgd4iOsJB5M4WKXV9oFZnTs7wtacclKKNLUIJVHyGZP/nNiRTmgfzqDcKt5svU7FAw/0mcZ3F+AuHL48S1APE0D/z6qam50f5eU1tqnvEOmnXD5ijbvtdvgn2kpIW4kiZKRrOikG30Ln8yxSMZ2xkqStlbMUmLZ61yWIwPsMILGu5Q4LcToBxiLdeHQKMkzQMGqG55CR4R6IEbRNzGoR+5t2hWXAaUuVCV3hI/ZmTcXiJ/uwISYbaHOE3+oufki5HzZaqHxl/1drMR6Xqo71JU0m3/2HS79ghvKB0yNEVHs0mYmp8j2sfKePFW0oFk627I0hRpmP70e7cOsQqb7DsBwyBoiVvj8ykWWWahGAZOLLzNXB5zOnjD1JUndyyjgdc74hTTx41icdfbRX4IV6nkxLaxuCfxSCN2/lRvqwBt1Z5PKKjkv8ZcUJgu/uFM+rN1ATNYm6fAuMoCkNSnaFmCY5es65lNy3QcXVnL0iAIjQNf9BQCAJyoYAWiTsjqL1gR2VbyUhrXh7vnDQYfIYOqWtq8BSd6+UUx3gPG2ij/SDAlHreomhsvZnrsXJ4XZFXzezHMhm79AyyMdfTY4ml/Q7lRs0rkzgGLZPQyRJJUgkdb4ZOobLObwt7vgd3DLyXUNYwbs+TdNLXFZHJ4YHWHDZ1lfwsBQ3OdOgtPdynF5Jo8y6tf9FG4IOx06PhiugZXhQLn+JZRLZ9IWGU2yAYwJWhuZK/b7xuIc2WDc4g2oYoQneS181EAMqrlAQmJVxF/Uv0alBKmaeGIljwgRdm23zrlVoOSossD4QAMA0FbkQq59SpOwHJyY0Fz6DEKvlAdIgAka/Yx8ViwPcZ5S2cIMahow8Lp2ag5lIJtcPvFQfGmzDHZuLCQLCJydaZUZh2yBH5D6/+FBKE8Eq0H4Ewj7w/lsd8//MfuVZ+RrgokGuAzCKonI1rR7y3Zq44QpGsKncCCmHgeCBk3dxev0b2aznOYQNSTCQxhPQxBtxVcK5BLQWzdSH3sv/eZ/cRSsiPJEcpJJcAR6xI4IRAweN87kZHEjYJTYzLnWklTReus1JtWje+trlfEFh+L81+hm39mNr0+kdXMLcPkh8VmDTYz03J4FocW2cEQfPnnrHTjUUcPLus01bGtyHKeGdgpgM6aaO5N/1DTVF0mdjAtERDJ1dnZl4A0T2FEHQ6DYE4Q4+ZcT40mhF6K2xOp176b8VTTSVf9s3IfIZ273nJadJqrkVqVfkmUgFyLbd3z7bfdQ76z1GFHuslgqYtnTlRe8HuhmopTndxCMnH82BN3fja0K2TFJ0+BY4K5lAFL56q82x61dulF9/S1XCI4E3J68dQeoncLjjpJN5ZMzc87ykkaP/o8Up5F/dUa+AM/B0kQ0G/RXwktrKjt8QFA5Rl0WMzzn51gyIYFDfo3j9n27Kuo+IbZAr/Yd/lsW+2J/3kA+taJAbxeIxDove8Wah/Zy0Zg2I3j7owo7vNrd+olGEHYzKdaPCh042PqQNLnooKBnwYciFPLl/dAFT/j8yQ0gurcDDIMi52WSWfxPMC+8znycBfyreUk1YJphrYJGASdEwje7VqzMy1NmZekalt+6l1Z52u5ESiyL0OsY2r96Av3UpZjeVNGUCl5Ie6v8COxWM+G+VLQJ+otdW+U82CcJRRVBn/OPqz0mTiNwjm2d2JWbW0M0qxEnbi9oGEBOf3AsuQ2Br0n0VLdiepQnGsCNf51sbt7acxRtM1/UWmcB7m14PfdWeEbyFeZ6kZl7dc1oXOuD62Y4WzTXcAQIMYxzA4iFfhPQYV8Lo0u36UrhsHg9pHTNYnfCHhk9KNR0FfbxXhUUN4JqLYYwyQJ0UguVE6BHKunIyg+VUqmFV4dJaa8uvKL/b1UZLlojrtyfYoo4OkB4Acyxal0bhkQNkC4YA/3uexBI2xo2MQUNcKLg3yd26C04DpZiApqmY615ywnWqVBiP4Jbb6WpiwK4OWvVvpYN2rY3ZjbhKz0nXdeacpQIV5QBtqCpNh88FG0k/VOD78F7JGeI085iJTnNAl2C4qzaVZH5ZYvvbZTBbrqVR3tteGc96wkzm7j6Zz0fE27zXDFep04A9cOja9sD/JB20Iw0VPVVhQDQ7OWVbc+XWh4RRDkmeXW0aYJYrvNn1XzDJTX/tKAi++O8fOBaS+G2sAZXH2mG8sAXD46ln1nBmjKyEOATGCsJBWrsXIUwuYFn5IHMSkxIVRjSqYrfeR6Q8vGtg4UEBCvNxYc/qDDrBwt7eSofEZJ0UTtn4HpuIThnBz280ApiiBky9EFmTHKYArFTRyxSUoF3dHVkiRsNpP1R/Hi6OLB1ndp08h9AXVF/keKc12Ly/2z5eeplrLKdCqC/HS/y+foPfhscj+UZK/zrzanKYtIQVwxWIsk3eS+f3jfbcZ5KGIRgq2hjMqEhT5NNLoy7OoKoXvNfSgntDpL9Pht+nB41aXuYz0pw53qqpgRdydpRh5STvjYTNXqSNT9+8qQKzM0QUzj40n+h2Cd1qb7g1oONRg4RZ6AgMseciFkblFNkO26DtabDl1k902aJYA9LmRpcwS1aCR5c+4lRNuYyzgBQJ5BhID5BU0mnaRx/Tf0GE42XKvm8z6MLR+VMTAvVV16ReffMMwCbtRx/jCxhExAHmvP799V1krPOdu2gzO/KB6ba7RfZ7022ApIJCNrpfIq5AGK9kR70q/xWNw6aDhGjgcqnervT7YriWRkEk63JXFWongqYcMR953bXnZ1zk8ILLwYMCJTwSm+2ul+QGZ+o22lZfRaC0mzgyisurr1D2M5KeMuos4cdlWFvQUeiAeQceknvH+rsTstFZNiqgUy+wYNRNdj7NEViG+83b0oXRAUiOi4DSniP6uw9Vlh/oin4/FzsZrKtVDZbC2vT4a3yI2l5OIOPsgOgTpnpZ4t3gb4Dven7X95wFxziIA8zAjXM7DTepKKVtTI5W7EpcEenjhDD8Zb2BvziOYdyn5nR4x50SEpPBwuS9qU58SCAeyIQFX5zqD6u2pjW2/lEuKw1dHTjULLF9mW1V/zYU/PBavSuIs5QN1b7dSpnLkTDNL8UzP0aOE/vJkCLLsxFs9thzGOJrZnhXtAFQOgr6C3+w7gt4/+ZXudDN1cQ5SxWreIofAVb3ve2a6HvL0wPsHpzRRs6YT7mpF4vtG7s1XyHe0jrr2tVqGPCrLunbKUk5Q9l8mkCNN89GtZK6e3BMTT30ahMJRk/9P8+5PjMXYA+PB+GW/V3pCzk/YB/Ae2dseYTx5PaxV5zwIf+K7lpc9iZo0kNXfOITgP5aIfuxLzQSRP834vQCb6h3Z5Uu+IuuNQ0GP2uqBEH19bdre5+e4129QBMsIW4z1B13pCJvb9slGf2W/6eL2edtxrqtE7EN+o/D+8Z/70Dhcot5vugiIY4jDIJp+pzKjKnXs4T5aR4hyE6mF7ZqYCLYnd0HojvMRoAsGm3HoTXJiSV0/gCn03IAZLuGVRrnMvStTc6vMch+hFvFLtoLYZj3SzJkUXpBtTrU36xkZf8m3ype+3hNYFhFd4z6PAVhhZ/sznwdMiArQg7gGmo+GFBmhJtX1/CZv5jcvoH9FiYyN1Z1eUReN7XCwRBgKEwg0UNk380XyLkDVveDNcBaXT3YCaf//I3/U/LTJI2OWTeqah0ho1jBFWVr/99MRCq8o7SlYDs+BcH+HhCLfLG0FPOwTL4D5iIUY6fj8zhkRrarYCT1h1QDSCJ7WEbewgrJFICAuEXIEzB5FO674SbjIpzsjb7IB0LmoC1h7N9XnIT74TUu7vQC56Ae2KwNkvahh9co1vADT6aESwfzT5WwCSI0Ih1KMG2E9/TrZANZM4NEQUNKDYR8f3S9yiShiwpFg8jaaV5IZXWVO9KJukNOXE8HQD6cqTZXkX9eZ+0XVP6/eKMVgimWxDmMioiPlrN9ba7TNrULepCJ7or5EKsFEqeuGLNyYYVmzI540YczWMRymbcwH1cJv8TrdbOmZdJ6TP6tXozoW9gVsrXsFT7K3nSlH8cG62VGetsRhHGtLrPiDqady+tCXtuQozY4aklLx490SLvu+hn4493hJB8QRAiVcWmkvGlzLQx217dwlbpzA1T2Wpd1WgOwOijvcSGO5gGIB7asxuCjR3Yr3AWQnK6Da686sNU91aDgtDbwZ+/hqPvpFbI5nZHbiaUZDKgCaPu0Q1ADSO74iib9c3FJCDBsusKzmvQ6kGKo9wMi6b6qACE6LrawiwZEVF4WNhQ5DnJP5n9GT0QUO/YQHtlzM/eYuzWDbhH3JUN0Ze3vhbNYMp9XAR+1M7zFf9JgCHpshlPeW3GcozxPrpItoeaFSKUb6LLUPSQka3qnQKcV4N2/nTP+sxRLyGBHwbUY8VCiHNiP1SFj2KrvGrif6YI84dEkwD/PJolAYvxLOhhBGE68Ia8HuayiZeDi2vUvw1doTLReKx8IJnuq5U+Y9gS1EhHGRykhVFDlESV1qaS2Ud+RFRVkddDsj+a1WUVbLHOs/35Y+KIH6njyVhEa8z0rUdvkJpXO+ZBJ3vuuxHlZEluHMle3EQOd0Dpms+TvtCHkTtLqzsqeMIxuK9McXbYPgjcupqCMo4vO+UJCSXdJWASFPr+JWXGQq35lunrENDDa8UcgkiWTpMUqnT6Xu/SdGvbVi0JhTZLqMlnBKaqxMx4RWqKapMcAOvXlEXCOHd9q0hrspQ6zDLA41jrUlxCSKaw2CcciPNh5CYWERYR3ojLRwKO8F7IkQTr+tIpiKw2KrPZbooZbR5u9agCEI0FLBA29cLExZQlr2IGJj1tOR/L+cuUSRigBZW7VhJXaSyES1xhbza4a43RCaT5846za19uac4uXWHN4RUio1C3+S6ChfGtmrTLbbd8+25Q0Ag9WHj0ec3v9Lj165WNQNkGu9SPeVxSOvUz1bq5Fg9oZQI52dDhbl1C8dl4CNkAw2WhlgRN97cLry9VOL/f2mcRgLd3HISuwZc2b+8GLnKxEXTQhZqMjQF5RosyFqT8K0ZCStT62sG9ESbUAC6g7/Xv39l/YRxUUoBwVSObMXXM24L37/qLdyWIN7R8xOU7RaqAlHRZba1WgPAWX1ft5pSszdyE2W2mQ0iSlfjaFNK6YBopqh/8cbrGmkti8kk6upwnk97b1/NaUVD0HEDlAnAryptZ0igANIjCM5u+qOk4aAllZqPEJIlfOd+Is2VQEejzCeJI29pn+8wmmx9hjyRsoudkrGfIc+olXV2MyfO5n5Kz7fXrzB4L5R9BwIX0lnjTxjNkDuvVOWfiOu80p4b4jvp1pPybRerS/XqkoCgXmHmasfyXMw+WTQiEcXZxdTerz2qGiNWwDA+Kjy3e7IZ8eDkiU1u7U9dKpaX/BSl2diDj7bkMXtcdfta+3LKd80uzawFWZLQ+clA+8yXsILvlY6tlR9pwWv7GpZYmvQmzXZ26eaF9xErwTV1J8mXOcS+xHcxsuGsaBAPGFiCllngubWDa0+WQKseUPkQTMV7AvMe8CoNls9/ba7pfYUu5utzLXbZ2p+my9KwjrltW2UqgKWgfRxU0Usn3maYqDBOiPRsV9cOhP3xfAxQawwfM/ZDBqtzgG/0HiMyPwgum+qa9h2pJrzbyEGtTYE2V3agh8PmaT//TTObrL2of99TXxVKWUBoo2nZl+yC1IzIFHOHWLGZRC48HALE/zSynBqmSSNZ1AJ2ShsW9VKXm9M11+8i3xIRB0YAPwbUMHLV1yU3EsCJ9ukKFNuh9J7ENkgUecC8aBBHhq2/c3oOmifnrsxR8vySq7+TS5D21NTFAMn0sQHzucG3m8yHIVjGhyHapvdRXUa8iyYp+srqkX7rZYhdQQEYHAhD0/NCylznclGuOnbRc8qHh+M7hyvB8Kw/P/gqhbH3qnBpCNCXzwYoZuvNGWpi1A6dmNI8lSL5x/+ohxd9CF5msTKHadbE/Mp/uFf6jMkGB+5y0OYveVtV4ciQYeRULb/ksGpvPLdNzYaq6PMxlCwL5eUaJEaG3TMcHYhv9N7sEsgorh4hFHU3sor7t0E7HQSudfLffY4xKMZkb7/+jKVXBNER/zROrzzPS6paRaEj09VuWotpyeEYlE2Hh/CZF/5LAIPP6L15Il4cc7ibaRzJoom28oslSrMZVwXu0to2LN4/5gO8+vi8II0RNeOGgDFor9hSsbl1y3jgPZaUHN8zyOE2/QyNFjKp5p4rvZn39uWXVdtWHSV1YQn7i5jlKKgdHrRGSpNRcP8ud+7T2oAqPuQGcw5n+NGg85pGGjzgEOVTzRnXYLYlN6uKE+kO3iItzbmFXISx3jciJFwh9V233J8hZQoTF0EERjKl43SZqSUlr7bxWLSoMjZQdCZzZKmnhTJw1krN1SzZESofrpmNhOxh/4DriYaeaJRtM7s2cIYoAlbFlBq1ePZ3tZv3UFHktiEB9B72UoIDRpU1Yq4gU7gOHQGC/D5YxtP8cLFezD9ai3Tek5DGB/E87XVdhXC+gMafiYLgQWTx6jZgOHdo2ho+q/S8H5pN56v4WkvsRL30dfI90ERK5eS4HrFytlMSaCqoGbX2xTY7AgP3i8Y/FvDqn+QDqza7VVExkWBUIF25ZpTUWLGgNbAcCfNcE9Hjf5AyDB904CkDjNnr5lfpS1tluuKIWv/zNhzugpoVq5pBChSvJtcYEBJa1+bB08xiLn2a2B+m14y/rJuUYYXfgjuP5v8UkmR8MQSakB9qs7B1BehzBrZ9HSCIExA8jMcSvxONMXFCo/ij+KvuXap+au+tV4Ae2KJqtWlXB/F0+mGw3cACyzSzG2X2LhACt9ruCbF3Z/r3AC4cOcqavks/KTV+/J8TLgBn0yN01QoS3dhMlA3EHD6S7iVxIPDp/ALtDCD+kusLaQrLEkxi+a0D5GCpzuzEs3y3MbldI/E1ozhbYEeruMtyI1xb1RBWbqsZyDqgEJCkNGZyMGJyCwCYMZrcI+sjhDomLntkPp40hOd/lG1YcOz4xjLFzUBsSWZfOTbncwyZX768jj8rav6nHM+NvU5ZfuVf28ramJInyvV7vIDh44TDhFPaXQ70pMFm8PLDca5vIAgnLClYPOPRrDUNqGfxQBJi9uO+jnJyvH3e0YWAF7raUkVahWG1g88P/Qk3Jpz9qGBEUWWBAgScCNg1THjdAYJ7zTH6DGljldm4MzEJ3zd5ug5bMRfSjA2vpb+ykUM85phvLzpTuT1SSUo9aw5x9QN/MxyLiRDPMVR9k8p0pbdZ60B5PpNaNOVU6qV/gFOUj1Py3wUPwRV5OLLYWItLVvRmoaYNFvckt97SnNra8y4IKySgBQ+cz6QRLGofRIsKo5h8PX2LnYI6wpXXhsVar2x68F65nSi11X7xHyc5hF/XUV1VES2FHc5ajxptsibFcOygfMvCn4XMU8Bn8uPTX8XMf5SNM/zWVSleUROzIvIY05t9j/HjkAZ8nCiINDoik4L9V7Id9MlUUNXin9f9zOF/MCrrKUOGWEg+2NFqquclH+j9oKJO4vZSSF5Ev+aLXNj71Ha8caQIsBfO37EodGVcCaKTIbAgrJJ1XNn3wGGF6XcANk3MFzub6DoFLb/4nYIoTxDDEREX7aJwGgpruSBxvmfnZdmj1uOMrt82gstNtPE5emJ94LaBJYk5TBWoDdFix1Y2QDvGmCCBxWImLqKZ+BunLB2O6TpmnzigO3hX5T99lvWBzcdu0Ng/H65c9iVvmTgelolcSySs8idage8vIewl5l7uNvLcawokjlr/RCjHLCSaY2kAssL55hN4/+ADwRZcnAiao1hty0qr6ZNUXggrYXpND3DieIsy+1CPyerma/NFR0EMGZFVCTCBeabTQfERQNZOmEunXdN9hSXFK2V42N+6UZX3A/lZRPEZ0UKBEqg57RnRUSrBABZYbLx8zN28syD6liCSoZuHgkRzyzXHcEQXPx68P0PmIyIyA0qA8kvmhSFLfhQTcbkmU9mKCsNiNjNkJ9M0s3KVA2b1PepZPKSJK6dRtBov9nUkyzp1YslphCpP4vFTI88M0bEEmVDjQ5+6IGxMISFLdaIEEh08gZn4CS040c9uk0j8IkIiWZsKHXKCvH/kb2hEumx/9ShM4WSzlRk1ICpNvZ7u7syhRNdaFB2NDR6MahbksPLyCRbbPXhv+Ve3MrsaJBXYpMc/DXCXVWOEY+wdd6h+iGMnEQvhoFr8K5G95V1ukwLGHAuEtzoBMtvOQTzTGrBH31yru8cUvxlOartLNyw5R3VAbGPr5iAHvquyth4OI8BmwZtNPw80+YOiAoWrUpfZ30O7FuW4Yk3DubR2+0t9Bh1zIhV/ijowheZJocUGFrInrR3L8wgDRiXf7+v+t8W1/gU96rmnm7mMgh0aDZuyGU3Ihg+5Vp3if8zfdGi2eqrI1hDj7rGT/bk4rH6el36oBGRxv/T+Yq40ix9M+LbvWjuz+LprWimUnWqSUc3X1tlVSOVCnXqMvnXyymJOXfsTDOaPDYHaa7fA16fMEWIgCn/HBnvQW9TMXIlYNUetxfHjNsGTy7mIip3x7dZ+vdWDnqT2Tit1+wOAoIXxwY6EJjNE0hBjPm3C0mN56z/13rYJteYRFzY1ZmViUiEBmm6gNzwXh9+9M50KHV3vdoRVbVBdXxKojhhqy4M4+7m2gGmtgIbzk9FiTZkUoZ4zhVegUZY8C5nH84MA+rfLD88Un/dlUzuwz9bqTGan3StmVOlEPs5h5Evh3AfCDMIoiBJSIRIbcBj2l3D1yn1hMsjvgUnPV3cNGoGSKsKAynGTO7tw+qkXUCTuLJ8DEg3wSF5D1Z5ois8C8DXgyCwPtgzz44gilgiYWof0nQoMdsXS6VAOgHmsy8oNh+piSipoqFrUwDzLFTsH58hBEwmN5my/2E0GKUB5iNKULH/KLztq0BmPXOTouJ4WF3Dqt/DnNzQ4Exa0JfI455ObG+NboK2hzjBAaFuO8QGolrceynb7AuHra3/h4Q/OZY/ElGT22U2yhW9FrCBbNgTWAEYGUx2jVxNvjoBZSbOL+fhOImKHRC/+fskn7YQj/QLD6qSc+OWQPjCP9d1YcGbnDwPQMswTJslXZSdZO2tgkVQSashaCO7JBTgIthX8aaqJiC5bycTdQYApFO7DGF8qbNS2Bm1KvPlMHBEpeCoxTkvfyMczMMH6EmL9cyB5UAlAjE7GBeoMWW6BDeDFuehEdbWdcwkhbXN+HYYp5OQNCBpRXRVjWASPjLL9Yf+doR8w/pZQFNrfsRARwLY3EtKRD47F+x9wRGFu2uf0drrmeJh5IdCXnca6WfKv0RJ8Fa+WFcm2RXIXRNiHjedrxjauOckBW8Ngbo55oGOuXsp2wiTXgJeLpk/qqlTRGjL8bvh4T8nTfGHTV3HWMFy5a9NiARmzvsACEglG+ea93vLXdH4i5oLVJxISPVPSjpz6K2Dwpz0ybRhbjAnXhi6uCN4WRNYOhqaoxgDJ8Q0WpwcD48P26N/UbfQytitjPAbYyuhOwBKOUqpHgHvBxev3hoyKgsgWet0ObVMrKTr0PbgI7LWLMfxAIDXEJrhFo3hu0PxtD7Tx/WqbEBpfDOMMowBKL5uSHPbdm2rC9C0asZdxtEfXyt1JgoRuM9zYW2ZnIffQiiviS1Jq6pe0uCxqE85tLGL9DjiaKP11GwHe9mclvg0ws+ppqHKFfxgk/avqvmYm8tzxs2uCxs9y41b8EH8XaMlk2xAEBELCo/Mwt1si1mk/Zd74dgwxYkxRkQe7AZb70+1JeekQMmBgii7TT8ryP/s/jU3f/586Nk/LQC2nIeTkl0JHaVRbDQYQL00pQpK0+027h/CJ3aE5eQGlHMjbQpz0UVI1qrskdtb53UgeOVfZ9ItOcPCyWOKjkYIPLSd7HNZtfdbKwvkVz1vNIM9VedsH0Ja1bm2iZTIBU35SmCyili03cX6jkiZO3dLMWl5ZyIP5AWKehk4nymy6hXf4Qim9Kfdm5y5gv6Z7ds3ZqOB21IOkIVKiN+MHMpWoO/MSaxNbRUp3h/7YM7Uo5liO4OBZV5nYRSmZ7p3pLzgyZWdStVB3VEYu2iL+PctTTNAczrs1gIalFlInxny/1Yqyz3k0jia9eFn+ZCdzBhYk1alaR7eNRx29oovv4Q8zpNjeX0md7dW0xrtViS1e4kXH/xKQ638WjvdU1VpkmeJPPB7iJiqxEYHKhdghN7b4aIJe+8LHnqPWChT2Y4T5fyo/TZVrXdHMYOYh4HxotAnQHktT+9bG35EbbO3bdbsxoPwZi9LeN7IxkZAkCRCasWY3qimW/CaDGkRuNeDMKVpK2ke0K7wYMKAxQrx6ep2PYPqSGTpV/kn0/AAxB//siwBr/hE3FdbJnx2HQGC8/nBIhA+fRNTtUvKXVt5tA+OtKQkTt366v4ZYiDx3obbr9KO9Jz/TEDPFsIrXZwiH/85/1deCYU+aiRZvCz4bsWEFozk92hZt7Vh2bI+HYWtwsQTxG9/cX1QOjZMgpt2Kg39uYLsQC/n+PguYes/YUOlyRDx0jf1/mrlQZcHZKFpno0qFCxy4MthXIz8MWL7HUwYIlquP1ePnz81iWA+yrp7wftJ/up1IJk/LcJwjPkT1z1nm+PxY+3ceeSzPJXPER0GIr9RTw9SlNNH2L5W/grrWii9PWe2pQ8BlFbfuXMjwzfz23IYX+1RsGX96DHxjlnMU7LRLOS21GQva2VfJ5aAxpmA9Yg8aHlywMZX7RJRlb5E/iYru2DKhKbXOZJXaOgP9k1TDhaQ8xpibPy8CAF4OOZjRhMDDkmE21bLk3gACCr97b+GWBHX1Q79AQhsDjllxTVwlfOxT+Esg4njJDu3H1rZ+lvJMQrea7FG6jbE7In5nDxKetFwSDrePbooWYD1ZQdaZ2BQEDRvD345HM+K1x+a1L9+rgMT8SFVwlx9JMMMBva2qOQbWz91TZ/1tA0cAEiPNsW5qW47pIujROavVmx2kAUMLVCUvLdTdn5snwFP6hFC88NRiyj1vuT9l5kuggvByiu4RxUvsLrCNlFEMLTozMY+xNUdW47yaEtuXEMdYAVZIuSyFY4w4z2A82oC+VonSKJOQt+gsWIS5Kt1JQ0EMMSaLw6qf0LwnNsxKzmnVpqX/rrFs3cclQ+jOQvxQ+Pbx1ViTuqtYs8L4bPzFEVp8m7omkndSUgMQR8y5oRrigGa/hcVaR5YcfCEZIKlLJUkKoDVi1QKn074LkySrBI4Yh4DWISnjCvyL7XnN4zyqIAe2OkGn2P1tDdTwPMAsnxSBDhUolVN8tHWjHiwAiyABDHSF0WlZBLtJ4q4HgGpfX9y6gSWigKhkMgkxCpgcQx7/aoEYPSPNy6hFN6yBRBxLC8XqryTxEmUWOvwQYYn1TTDcKq3tUZGCq5OuA1lOsyOmt4NUJ55v/0AYFWNwyIFLZtHtaD655dw11bj4pIS+IyJR/VrHdMVtlqP2I1xdohFfwWprUk7uBzNiBSLkGLmqkPw6BU7ON6CwOpNh8sLYhEnZ1HOAEZgJUyYdOglAcrTLYpVvIcYB6/GAira65Qr0zcip020Lxo63Q1oodMDdixuV61lsQkmG/2qWzNkoHNtAVVbiyCePkCNgMwlfrmz0WxbG9z2oE5xLnqLmioo6IjRKRDed1mLcqFwKuCiYmBWqloE5Rxum3iJMA3///uSJSWo5QYvyMtzc/GJlChgopQjQkvBswO2KaQ3BnQCWXh/gbtDTMc1cQ1e979DNvVM7RdRrKXIqQKOjXmeNBn+IjbVd7LoUYSNNsZYCmvmI4tFZ3dglaUpm6DbBLwfhl/+ejtN2FL1dk92CCOh5nZj1OOBTbSvniTmsmxrSk5HV9eyQF2F2uBlc4BnE3dkStfoGxzkGlcropqI9mi3rD2R1B1bHr+99K5lyeo79f6uFquyNW0Fr1t8fWHlHdee9esCaUCwgferq9TE6n87LUBXgSRBuR6LZWZF3GUK+mcPI1umtEiM7rbA/fYa61yemvwGEt84aPgTDW2LLE54dkLhk4bDfxY7NnrVgdBw3zhOiwZI/u8ST/jBH3MYAy5Wt3rWwBkZ6vRKpHZA+FqCNEwtC2bx732SKajGQO3+rDYEFmkdx+DsWxgNz7b3fNAnmM8HoeTDiI/K1jA+7r4bOlHB58VSQoDUGwWGN9drLPlfNsQ3KzVvqXsuKx4DY08uXOy5kb4yXlibtuqO4AAfQTTqeSjdp7E57yPh1kpnDvNS0S0gcjUTeWLoeQQPsfbxo/MSK4o8wmef4jWIr55aPrgXiT9sEjrntGNuw+/GaxUIXLDi7TCToDWJC3mPu9C9NaZEcNxT+jYsoVlCG61DahZ2FUwZWnNTFeG8VknKHk0haqqXylaPr2mM+t1eSO0Qj8WKFh4VbzxYqEW63QOkMNBNzuTBJ1ojfyKsiUr26BTFsejp434p45Hpct5FRP5DLuS6zL1Stg78jO9XzR1CvtSW/VDkVGmCFRrNlpBkEvtBawCmde8f5D1aP+BpyzJr2ySarpAx8x/qO8/jhgRycTZ83xDgk7onzlyNUb+Y8+07c4kws7QDJMVXIG8gLuy03ujupEXTlH+4T11R2885AHvc9s8qwV8nAG9ebBqAfZCFPze/obGTcdTQeaHoWgH8q53obQot24Hiu9x0u+hRJ+8BufIPko9S9GHI9xv+ZMHn2MkJ9XBzyRq4ac3GAGULv1GVApD91yFw9s0pxf8Y92uEAuAueW2mUAcYcArFt9szAEORtyx6iF62uweTk2Ng0teEGlxoMAlW+tzkLQoj4uwGkskOaS/CX884bBAkRGhooMlw1gevcrFYnw7qnVoR2Qkrz1qEZazNnl6sBcCu9E7w7zA7PYeyR1YLQ3ylXTZVJyjcnMJ6y8mlCaXpOYuA4HVYqotYw2V3AshP9ckc9fecjR48DJ61TKcfPlkB0xVQ2g1u86hw6erhVZeVbQuqgvUrotFQCnPztk1WofM6U7MGUgdO9D6eDT9VDzr1H9+8CeZiILiTB2bo+6qSE7u7xb4k4Ab6U7yGNJPfOM8kirRY8kGSUfGR97ldYCgyApNCePv4lruPOW42zlHmCU9nBj4qw8F3esUfURGJH3RynWAiOIVDY+MK0b2oowDYJRcVnnBLDFi6zU9xi+Kl5xcmWuV+FYAjbvomUtCF90RL5Iq/RflZWPTFI35gEKKZUuDAmV6xtnzUWoxsdsTyy6BwkpNhk3aYp+KSkm4wD1ktQTGXVHj46OnJZhesKwB5VY/KPKd/t7tP8WR6wtpxgVOG5PPCS1L/hkItLgQZs5oxKzjOan5RL2rBnseKK9bXba8btMvhJoYcBhK6FoBxAWzgCD8hm321BlzIgPbH1xYAWJWOyJNfhy+ivXI9ZHT+lPdVStwSQ6IP21xNUJ3kOQRaMTAQLxasUB/2r+qvt+4g+9Rl5wkQ5DdUSR63SReNFYlF7VZNdXVYrxQCLoVkuOTEYjvJQ4K+zs1sIwSk3ZkUoIwIKyjjgq/+dPgnEaXmtJVmGIhDfqz3vxs3J117wg6Ozt0L9kE7GAa+FJ+wkWu5yQ/Er6sGoIXTJ9/dUcNJ9v+50SJOJ+gf4BzyCMh00y8rRp3k8UPCwwcHFz7YzafCidRqCpkHmuF3NzZs9dgxFeMSerGuiP2f7uETv07LZOy4toM4tgxZpJL28BBpRqNHr2qnrzGyS0dYQd4o7XmmeLi1GZA6PbAFJDyc6l5RnalZjZjOEnMwQidIxxHwJbHbkX3jTetYCNDpS4GpOLak5P3p/4KcK3bdjzl8qsB4LXfu+p/Ib0NJumt0YoUehwXfC93khN2Uy2dwiX5pgjmXQtRj3fSmMBGxEt/nUjDXAqopCpa5dWil2T2VVWbMGZI4NRUh3mT4uuBOTJe3IwwG7fKGktqtZb6HShswprOzLWLzsMoV78A2ho+q/3SFhd22wqYt5YLOHehV0XvuhDJOrl36ZT1s0LRgv+kjqZ/ki3FCkxcFpAM5qgmrVzFksFHtMHlJ7L2y/oF4/K1FKlnpSJF8tY6TZ2KMqRdNeUTw51q2cTstrg6gYlvi9V7kbAo9CbGMyt3S6zAf5NDka15R1Am/6mjrQpUNVRFRatrp2Es2kTu/oTQMdPARx4SZf/+rrCMKa/6O/2ZWnDJb9WaKgNCZO2dYyqD8dft7E/tC5UKFhPvVXA2N12YEekRvFXvNUM+Lul6P+yEsIE+48KZPEfki4p6SGOuOK3ZFwKiAb3lE0Pk6+Itif35XppllSx/2qSZwFEDNSZeN4tXDUyQ/SkpMYHQ02tZljDeS1hpfCGHfIyoHG4cJaocqzQXlHBMoI3OyvNG5aKiw4f7n8Zz8uoj2lF0yAd86Nf08kE7Z9TPcTxglsR1SNLRdsETugV2oszkmS/fxGhYhbliFuDnnRj7GS8Mf5OtqTYrO1gA0d1ue8jyQ0fNI0OQErQRzlwiR7uCYx1YMOdXEoLJfzxjE3lk8lN+SWuJABc2dgHU5Zre1VNcFXqqWYBHdWF+rCGOT+RcTUe85zx72jmdHaXIt/a3kp5uX6GLGqIh78rmG4KeZomOIixi+20utQELUBoeAnpbATEJpStm7FPQ4pUto6LWeETM54OSBFbBM3MES3XgZECPCQtBFTp1uEi0uFvFGgW3sCMOJyDSHZaEEQdxuZnyk1+X9+rhoc1Zlg0C6kodKiNAYQxIHSoy/Gz3aV7Zop8E/M4YY1/L1mAzzuIChMm4bkRPhLvhhXei5IA3fBgbMqI+OD8vuHqtev2Ai631mi/SEpgUygxefCs6r8Y5rhxVwrQEB/DZd7LZ2raUvQWw+1peOFOP6pCoqTQRYjS35LnOs5cpOLktYLbPEO6ZRw8sSHwMEL0i6To2sF8dHZPGjgWLsdd9zDotY2LzYPTAnV21ckjhihTrxMnXXZDdQ3iO0L7s6Ry5zkWIUNjuWUGiVyThK5zRk/G/JVTLMDgdod4jMXZW+CNbJgDJsKgzz8TFUPxP4K0gGn6OtdThfdpb3fkAn71XxvKh6suWkd/sL9wWhdKRPWn3pFlbUDnfMXLeuMUeFeePdOBQEmCCa99Utp2s9HjHEQmyvw1J14zzncVrIfLZdegd43SCVXsWvPsCpxDk/y3u2ApgAtGH0cabZwAO+SX8atcpymnz87bEgg6APA5ICLC5DvVHXRj7kUzQC9LWS9YQO9IFTGB8LCzSQVQiJ/kry0kkbdPXWnx76gjs0x/cTjFs0EhhmnQP6qWWz2YWBsvlAAl9WNGVKzoK2U4gCgC7dwo/702192TD9DVV1mwK0uQvv4tHrBTa35881sjMS6g96IRf4KeAn0jrMa10J47sP1gk0EKaKFLA1sbR0phDJZsDDh0mORjsLzXzbMmMqWt4DuJckHHZ4uClepNnbSdPjVU9U5c8Zf5zMlO14oB+EwZwRKrYUUnUQFYyFx28Tv0nCmCKh3OFWiH/uj9fD/KDWlXTXQw+gO+36E2yNxBMmT6RUn8/Vhuh7cdJaKyHotX40NBMjnS6Y/Na91z9wA3B65AIHMXvrhJK8Nd0FvUEhqu9vjtzUvJ0O9bFE3urQtkmmHIh3L9XV57Gizw60oHReSKgWcN5LhSYd8ztnRj5Nf2YBcP2yd1kLQNlawMAJCPpVlVs0h9AH5HbGJhIggbUXKuIQwvUQRaRjXLMG3VGxjhIdoyTNBOsl/PtPlrrYFHWRHzO8b5zHdtXDoe/iMHi4NMtEk7rdM75JnZ/AE3Xqy5E2xPJAI7I8U216z4Xg0M7EsKzkHl1Rmz6hayzgYTO7cHFe+aTNEUCO2GkpqSrDPfUOmRCGn35/8MgHUY72menTBcLEKWbcfEtKJil4laNp1A53rknDCLgqFcYjwcvRVcYafYmQX2e4HOKf/vbUmnccn4MktjG5U7ArxVFoPoheosVJp8H9n2eQO1moMIO3EM5C5Gk+Op1DBxmAVTNGBqrJ6fULyAXGi1cyFoX8qwNPNub8Q4BByQoTxeaIIsqrpWBKNitDsyTvPYw+JSlmpZE5kbaQyFjl8cNt9wyxVWuQNWiqaIZPMD1zbohWBEtdiD/B638A2V3eDVMwdTakRGMgPQO5UhqJ7rI1DfcXlf2GYKbEQtWRljomcEiGn+OU7/lB0mUPfgdaQWTEiJN0ss6HNhSokLwHF3yOpJvCZ9KvbLDKCVL9Aj//xK3PzwSaUG4wslFXSYQxsZsTu+pNj1A+dzSspy7zvbep+mjTgqlRYluRN8415tyHEFW0DzR3MshA06cG20Tbkyt2obzUXDMQgZOCdagt72AltE5152QOU9y/kt+WA1vnAFeOCw98mfgNaXNZfinoaJDQxwnrpeT8XqHWLL9a9UVMfEMrXIwuWUh7bw5cdNdNgAB47QRtjjKc2KWCcRFxi4cbt3D1FVSEoXFHwt5Jsigu8XbteIVa0G4aYe27+bctqTfhsSy0yxYgBaLS+fo1aNIgv5fWqRgi6HOxqgFnKZsNF1/DNCfSKbgN4+uEWEO51Sep1TDbcgSxAmP1JkbUkG2KXbwUUfVu76olCpGkvxRJ4Ldyj0Hxbnq6Ce6u3d/M1eOGn9osAPMGu52KzaMzY+vWsC1e8kgmcsn8gitdTHE+Ubqhw8Ogs2YeWwNsu5HyLEyCJOsiHCPv9AZdTWDyIAq5DQ1ths5WpsGEwsn8hvvHMpI0Pi1sUsMW5l1af5JGyuHWkA8m/JSlGAYLx2Ch8l/aKMcKDpgkymP7D+ZJLJyG0ByMv/ejYkunIr8k8g9kHEkpOh+hrsrsjxI+qxIOLabMwDSBQPVdj6SdP2RUIic/cCFPnxzqrDB4d0BtfrZQKP5YCQSDpoYF4xY0IC2lalcToqkdd/5zM9UW4SbwT0yWMgvDGen+Ow9l4wYc0kIrCxmnmAOZ0l2RuM9MWkwJwr9gpXP1gDbIGzahGf0i8d4bVndgh/WxywhGxJ/v0/jdxJqRUDyRP93+gv9ylBzaCmKFuYzpQMzNQrNJf/u3TfBr57xcQBOFCvLLC9ZBwxfz00FlaFkNoKw6w70+eGcsVSwq9OtBrCHebbUUCDa9kP8fjEqF69uVkOwBFX7MMkdlQ8s9gODFPSHrZYp0OXfpbCmK6ZWZKLq2WSrtNjpwHMiRJnwAPCULZy5z+mXTjdpQOQQv2rt+T7Jdq6qtt2s1BkIiOdmD3AodRyTNnKosV8lJcHkwYe0iUL1OiWmZboxxPGLmw0M3xOA4L8f2fE+TBXRSBANTJrGUMqhD98iAPy4tU0TJbq+XKVzy/zHJ5m6HydWrsFtNNB5SPRfUhNW1X5EVMxYnKQrkFo+yPPEvraMY2NXqAYkJ1WOZ8r8iDrvY+0Ahw9M2SXdWLKi/Qj2dAj9FCtYcrBp9rdwNQkjLxUm6IIarFXdC92a+QMPdcJFAVNZAL68YAyHvyhiG6ef00Ifi15s4LpNfKJgAwSsAH1jgujotbyfdMkYwXiM8jm+6LZ+PXwAT+bxjB88kDFDWefa6ds4XpHGgzHuAtSqSBt/jn2zXL9HrOtwA45c4G1wOaPow+ff7mbrRZNqBVRIZbKNyX8ueIEg/YdiMgfnj4HQ9L/xfrlRvNoE2JWdhcN/5v5JFnUGtiRwQ9vDoopD6mS2PxoMLwwTO/jpxhe12VoA3p/30cN2+qsM5r6EUEKB0B5prSwFPNxRaau065lwi4K5F+6et1SNZdxge8SAJvjdBEXW2qiZcvt1+9E2YJFgMjLiHoXLY02DsVTTKc1+/Z0aJqmJwgvXlC2Sbdzf2+QrEjRKnaWgpYe/toF1ncI7rzCVI6sYuhmtYJWSsy7C9CEj23itx7sYzKTM/wU07EmYuZO2CJ8rqGMPQU21lwwrU5IqJ4aMcJDXnWaL8K6Ldhr1txuRiXm0OVtA+2wi4KL9+yeuubt6fVbKX8y497Ko2v8oODbgeVyhXrPOpvuViRhsHyKdZPTi19qfIEkO12Ye0uZt6RaHbDKRvYro/G8bfrdBA0ueqpu2emfeZoWjTXoTY35jo5wWeZZHWR7s2lHiJrPGJ5QTfh/imF3ePOPpXCQltxxUV2TiFvPqhpCjQdMYdPHsTgAYJw6U5LKaSTTcSdXwJ74ABXD15Ss7n5ipZKnHeyxM0yh0cKK7YpEdDylWfmRArliarauq4DwcsS2k0FVab1kZ2z0NojhC7HyulU3Pp1TJPRexP/O9tC209R2SkvKQ8NBU1JbEZ+scZZyOaSc5ru8jtrR/1oeBqwpkuH7C062htFBikXC1s9GTQv2wNHFVT331zS0iPJkQFT6Zxlzp+fgxpJiBjuubjQbZuq7MnT5leBXTy+Zu3zi1QTXM7A/eEYneWSQvcOyr03kxdSsa+3hrdMk7+Wk5HQWy32yJLRfrqDiw6F8RQaMhPoP0Q==" title="Mekko Graphics Chart">
            <a:extLst>
              <a:ext uri="{FF2B5EF4-FFF2-40B4-BE49-F238E27FC236}">
                <a16:creationId xmlns:a16="http://schemas.microsoft.com/office/drawing/2014/main" id="{2E8404FF-D2CE-4B86-B407-FFBC24FDEC09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9726" y="2192682"/>
            <a:ext cx="5495528" cy="4040822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sTxXv+jTCr/Jh+BaDI8wKJ6i+yKFgmF09zY+JE36IVV3F2EAZSWhudLPKAMAmbxKNcvWyCuR83n4utfYivHI/x+p2A+/H8zelj46bV9fF4oKCme/kwJxk7x3A+CRadsfHqD4TZAY1JmIOUtTsrhToFi93y8xRv36yS5fpDwcBbxhI/JOJjQDe4ulRyPmAmBNxgdFB3cc8GGfq15G6zXc918NmRSSmqTALU+0HwPxnScQEYtFQl2xQeUQd0FeUy9F3PVkn9bBbewBzpTLrjZ3Yh81TNf12xM30HZRoinKnbh4EhMp4qb+a90Xcv3XJgMv2Pod2pOit9vZ3sOURvjctQe8ywfKsV7FDTTdbTm20WT68+BVku2lR3a0gkTRA9dnQJgS2pCLGmxB0P50GQ6H9QKFhzDW3s7he8ct1XVLiI2LyrBf1lMiN5Ex94Hwkb6wB4Kxt8E1NhRjRQ71860OyhFoNAO/CdnuIyJapdP7eC9sPLKW5cj50VIgwgvxXS6uGvsSnRbRON7aLljKbRE4aaSds64BVBQnpO+iusQVRCSPaNyA5ziN9Kqo15wojzhDrcQYbBqOD+LV4yqPudr/n4cpb2M9ap9kJMR4sb9Zv1PXocd84Sdze/WPN3T18v6AaDPrpGFRA0Wj9ilIeDfWrbVs2eUMNBWwslo1COFA7+NZZqnE6CbhJjfb/ymMUL6UCjSqHRrkb3JsG7qSr5vJUW0dCtAxcRZVn3a4ME/1E0rzAlfngQFvoG0OtkQz49TIUMhy0Ikp8dwtBuN55tykO7cYHOfYiKCyaqX2FBasurQEfep5L0Pe9SS9NLao17biO5pzhWjwVmtMCSDxF+hNqo2OpF/ZtnLWHpl+E/kdlOeIIZGv9X631FzEtGrpAMvbSKgQnbt2zpU5yDilNsuKa1VGjlnFVHxgXZczSNaHonFF9iBLsD0TscXkneLkV3W4iXzASYkJwhLbfTfnGvOJN50g6MJusGcNAatMBJQQnEiMML0yQHVph3t3SXeLAwXFyoQyIm3ps6bSpKrwtlSUEokV0kK77v8vNRj3/wv11Dol4Kf+LwO4yXZfIc/ScHbET5fmFTvWMOJMyeNK4bopMEKyK+ogRkZBdTtMdEZrup+HxeN/KMIAGI63XMvjhPP9v52eXcWUdTUc12Cvhuwb4Z+FJfEbTM357hHKxlIQF/FJtcxRqpu6mCQXvllUID4PpWhrbcfXJpqtafHC8hH2PdgFQaGKmyZbZ4DFII30uMNtMi+FuvdBtZ6aaPmiXfWyIwJfWbhKZOWXioj86Mq+VWyL1utFq5W2BqXcyvKJ9CJrmsVC96wz0jF0QvPfJExcJ0DTI+lvGUYOAtjdO/CRd0qHB8yQllr2JGwc/jM4Inev10+ZDRxjaIlbcy/jEgc9UFjSiQHTwnBDUNY7nReRKfsLVH7LrIpYNXxYJ/nM5HhFOs1AUU39fHF4Of/tKCo7lHNXwAQ9uVixz1abPHurZVb3tnIFNJcnG0q85VeQ9PN2c8nhvory2TzdAP1F01s7pdEHqbGond0KffU5ZPzMJGtEPiGYGAO9fs2MDn4OTzGB3hj2eVMNRCcL/+Lv4wyHXszUk/Y76ldgePXv09CzaGyyOw7pBKiz7jV8QYp+Lo6gYuShEIxX9urBn/MvLPuhz9+Ke17zyn2n1CYeBeBvEXYPpdlx8loQ1bZtmLuJxXEMc7ckecaS3T9Cf6dU+6dcaKo9VJwb/OOGxceGqDLoC+UxR+Y0I8TacWp3NsmzG0u8BOGAQ98Kj/NOhU/vfs34t3L+Hw6YX5yzB4jtZ3WKe+ohqwM7GbF7rU7O4ctLbMwLtr87q5PvB/+aGbRUQnLohB/dYHtNHuxkeLj0q3RMI7aO5GtsyBj4ZPhzh2ndU0e3lRfrqlQd1+v6LfzVzMP0ycDrr9U9ArCr5Hc0/QVT9V0QQ5X2GrsOCQHtpn5QWJwOHRDqh0z9eMbSI9HxBAsd8ioNFAzchStV4oKoDE1HBH9NYSiv/6yuROUCQau22KIH4KYY4F1anE6yi2gPMiq+Gx/OZ5SWautj8c1xC+3u1MNLU0j/Vi3Z+kr4kQ+kszM6izVFVW+WPQwZyX2oUKOqA7KTFaF/tzzMgr5NFWqTzMpOGpoj1mK84UFC6LsPmZneGQZmqsROdVtFhKSsorlKdPuP5vkjbKeZmCRW8+R1zUtgWd3XJPvMIQtRmdiUidYQz5DJorkL1iVFI0WwgGnODTaIkNzloasiNBEJy5E8XT2S6PjUYQ1XFqJwpAFq3A0Y87f/q2gBkfyvOIkIwmmgEnTNu/U8zCoBTieIXg1tnzT8HGb/4AUaYfmPlLIjICXP+Rz2K6tbBboGYUJNypuV0H58uc60qhM2t7nMMd7PGuxym4yCUKLfEGuZ3fDe+DztAl5VFsUXqx53IUvTwZfapTSPJNn2JVbZ5wqtvBQSxe2Nxvf82b8ue5QourevMOE/ikrC3U/Myj6TWLLDlwWmGxDBv5LokCTSnASeVSLi+o1e3M3gQRCYvfHXN+AOS23gzwwtDHBXbGFCW9unK/h1+v2bGWaZ1cfMZNwLUD7T3Lx7ehX5A/pliA1cDB/b19zBrUo4Nuub5An3CAjbTvhAlyo6G2GfPqE4PzFxhi+1Ww/Y/xhqGjiMGtt8yjdNHITmeyYdxFrDMTGfr8NgoJrh+0dh/mXwHJ3FGotzu5fp34PIYE23zSSi9MoHRH45EV383disWUDD40tkGBkkouF7qiJd4t8pQgDYRcHeSGLcuvV2y80w4eQ3h1NdjExDfDDPyaJ7rIPSkMUGH2ddFwBdNZPREGnscZW+wHfyMa3Nr5Pp2T6wKGTqWbGnZbH4bw/fMFEu6tvkVLWPOSo97rOMgYaRUP9sPaXNMYl4H5TbXc43e3zX4UythBQfG6zK3dulnXK2VmORxXelZsoG7+VE8IdrLdext9M2r2Sogrf4XY5mq/48sCQKS5k0nz3cnJRpxXsapRRJSbkNlyRgrrWB4CigGDItipIjUOG3CyKT7bOw11gRHP+8jk2IE6a7jgg88DFwbP1ds36+8MIqqzPfaszwxzkvpqSg+PEAoYLY+4Tv6u7AXZwut0icciVfAhBFyyNs6KMELN6b11WoWIVo5wTW6zwlIEqlg/VnUcVB3QVuR3J0Z0lUWpQSE5HsRacIsRAiSwvPyQYH+X2r+7qxlU6ixi9+J07m1e2JInC8zpRqRm7eygyyDfWpCQUNXpaEyRm8AgzHkb/Z5WoJswhcuRfQhwQq194nxXFOZ7RmujsDZ0FblLuTFDw7/TWdERxTPo3SIv+CmtrTvkt0McNg9wwSvs7StDVVdLYHBbyk4VL72sYc/TkjO6xnlsHwze2mk+i7JUv76tpB1cUDcld+nkCpCtRtBSEwK77oWxlHQQ3xh52XRYuqIy05uvT5s8fKAS19NzjQ2wwRiG0f8sV5tPELDGYJvOMbhgGIluxYznAuyfR/SaOiwbF55GrnxmJVQwTijd5A3JZEJ5J6u0or4Sfs5nT/h97d+lTxNvbBzhcLNI2/heyWe0L5wouf4NgUiUKQmjaXveiWYaLBXtTHVUS6CCoglulz49Q8MKrQUrBIRcZGWQiov1XJgmytlyp1/vIHBNSK/sXt8Wp01T24LlUU1nRBKnRaIUeRy+ciyuEMnEywpO3DXK2PZFng4Ag6vQ2sSQigefcNja9ORSXJKfuvCzwJitKuamKWojJp7LVnIqW1DjwDpJoFhBXH7niYdUIlcL643Hsas2A+PetQVfwxYpITq457xRzGy6ngXtYYJKOVQ6PUq4Mowz959IFBYnLrEHTKgkfwHsagCQ/kPlwwXD6yGRQ5qim7rXJ6uf3TsZDL48Sqjoa/yBYCuivBRSYCKSQXeb03ey5cFE8uiOPwQudLtZjywLt61XQDuU72KVwo933ZM4xY0XpRlsu7/he2sG1BH5atcwgSbjftl66vT3T/xyxRU1+SBCH4bf7bGu4bKb6suQH8X9taTk6d4FTEUZ5+PiYCZQmJhCm9gSzHsiNRfSDh4HcQKvpi0dN+pmbTb33dc6mTCyy43A6b4x0qPMVCqUP3IFj8OBJvD41qhTa3xMC2z75yPZkHb/jZvx2eKy/yOfa+d3PAI44UGSqfC3R0MhwIgoADxUvMKYF4SUPbUr4P1EOy4G0x8XrTfuSfl0OKD6tYEtrP2qOZiORNBV2fxtzF+fFwhKt+uTUXI7h3RXI2EfGojp69DnwgtI8ovruy1gsu7ASZxDemNS45HgllTcAYxSaKLPDEAIS32jDtvLqJbaJbB/IWlZdX1zZjFYW+xS4aE8kjHIM9g8fT7+BNx8Pg+S1unqSO5K5m3TngOiVnWXAKT9aC+73/5lrB9VtQ4I7i7Sx8hhBbx1QXZ3WhqQTIfTjIvlbUHizx7ecJcPrdMBiK212nU306RUDtaK4GsSOeh7N7GiCfLCIBgHMGfBnkApVrWGvInC5TEG4DaYqSKc/SQ0FaH+lQIicZyXnBPU/Sz3FklRmOvf0cjbtadMvuK9TofuAcBtY5sf1D8SYW4ifsZxgL0MBTgwXOpnCTCQABRMy0AeGyj3ya31ZVvwFaFYDdk2WTGjB6aftNmytuGs4pNIN733unzO50xO8h7HvRVl+PHn+2phsfjERGluD8zNES/kPDnkGZnZnBHL4P21Bji6V64/Bqd5yl2Xa2uobT9dIFX+vKZATi9QRg4Ky+eHVR4VaCGmA+j7zWIZusYXSQgWRL6u+NyQ5Se3XmfgGiknkv/f4gQ47KL+hieC0raMDsaPYsPFuUujMU28YB19eJm4dgepsUvocMyKP5AF+u+LOMaJJoZYDDhYslqWnDxeM6TksD21SXfsXUcG/RXaaF1Y87fPXxsu/u+Fqi9XGMjigOPwpkaSrtn0Y+hfjrdoLj4dO8ewPxRW08oit9j3UsmeGBlRemlXFRZiDfJb43PGIG5csbn9I9K4dP2TA7fBJpCYo6xOdzIJaPU0KkaFPA51/cSnb+tVsZbIuYpaJ7yWR40aT5hPuvpZuJMyCurBRe+Xsd1ktHCNYeL4inaLwTEGvYjM9TMybb+doW51eUQmiD6WP7VNXqdc52UPqPpnUtNeg4T4O3QcHO8YvgKPQFdDkkKcUOip4El+1FzKA5Kppa4wOWK7VebUCWGe0wAMt1YP+9HiEvd0M6UyiR9/MdmMw7ROWhl9LD0zarkjfRot/3DZir69YsQ8jHvns4yuQJVmss351Fbnlcz43kpEXdDTsNtgtBvVj0ffasRMo3m9mSKnzUzt7ci0OU+M4qXAN7P3YoUG3qd5woCf61In7QsOPrbVHt3lIajwdueNa6U0QVRi/4lakuUKqQcd1btL0NW3koOHwDqDWJ0y+Jz0XUJ046InLdEX/N5wqIpJX5ysxu2Vsrd9gVC8GqIzs11p6pZM3KcBuAXkXdFPqRhFOb/C/RgT7bBYnl+InFSk39GlwMhYotu2Yab8gLTJZapQPx4t5J4oIgOEO/82G5cCn+N9MYiY6NbJ1kSa1Cpx+jpqPtXfMm0W3CwiKXS2q38mvbv8aplUJqvvEXdst/S4BNHgC3hCg3uYda5ZO41W2JpG3+IqvxGiJJPBAujt/8Jn8lL6TAoIDYFKYgS+h1KwsiUFGyRkJhfdfoOTwbLzLyG8yr9dme1ykpGqUMxR6tRxCHdLrS6AdiQTsgjvR/Gw4INAWpIV18fiwL99IR84wHE/OZBNkNORwRWnyCCjKYXXe/lIt1QhZV5RvfWri9YUwu+Un92Dl9yQCFCa71S15sELcSX49iQwkqeggz2/1UBoASGUgiFoKrb6ndOXGnDxGVBYAhzxwD7CjnJRDYA60w/5SIlPsKK9ZLCUhLaN8sD/+IWa2j2QRoszbi7frZu9jXZV5bq/JKlh9O5ir9XoU2qv8iuc+t+FQPdBifxjUWv1ztE307xrMJmh2xAjzeL+L8J1K9fcoplHSKBRVnlPOkVLC6nLkW63gAegP0V5QqqW7LdUR/jytuPRWKqHMnY2MpQ6XMu3pXjQLhpv2v4loKlHbX1orCRSotfbdkByPI4Fm9awhj1EfVGPKPmQQtjurXwr4wl9i7ILW04nUk5yWY4osa70ydM6oIufm3r7+tMAUcrXiOEflEHTs6TpIRkDWOGPlNGgJ61y6PA57odLHqPjy+6TTaVK4ZqjYHje/JUWWI+YuB5MOoPxXINgehbWJJUZAsPTpY0sV5j6H/pe+rPPSxz9BdfltQYFu1WTWIw/bq+MPM+1Y3hLUi0Xcc9RKCz8KG+5ASSwy88ATeQMHJsw9JhK9dz0bmI6fywARFT26Qz2yqj1NsKmTDN51gff+nQQ5funOFsjpyywwyRAvnb748hUVucFCT9HeSFHe1RFgdEYLNA+NKjMMExzT0AYtKRYA88h5y+GuXSRcQAb3QMzGOtLZGDeCCIVvxRDCQWdUNRYFJ+7jHffwF8NnpyWyrxipNqfCSQWjm67OSYPGYQRvlK00T8D0AhqdhnvGqxW+RRm4AVAebMHxCJWSq0w05HiqbT5bSTS7jIZiB17sPDsGItYfB5AlF7MJlcUB5T88DLOMzlD0riB0dBd6fl/ekJE0u8Tf5PdAmqNJmVeWbgQAaw4ohsvZd/FT4I87icaYFRF+6IM1YhL6DGIpgaUnW0I0mCQ6HAziaVSiOAeIfsbw4RUCVlqSsxpDUa4mU2ftEvcOK9sn8PPnWnPB95I6wHDrGt5IKG3ZS92/T4xKSyvQNRp24QwG4Fxqdqmw73et2RyPLx6soSwdQMtBMMEp+y0nj0fix8Q2A6iUnfBdWG3EXVISE1Mg9hnXB4ga2tqRYPQZmbCTGRwDH/rxngAbRJShZs5ODOntqLd9ALNlyE2rjn9dYwkcpT8U/zCMxvjHONuWnDc/TgOjImuM9n1psyOw5KYNXr5/SdXMZ5bB3ClF+TDyyCPF8YRCQuZSLGy37sEju8wqcW80pxMszDk12LG2TctjwoOlSgmMZE5uOy4NBlvuG6wdzTcIlZZwQE/LP+qV58XkxOuMIyUIVVCz8YvXHceOTjCFMo97W0CjKjnh3eulfU264O8FbmK/8fgeVY5CYOcwvz/8jTYkTjSGpvSiMJU1tRTjXkj19FqSLGLWDVIeeN5L0OXhImmZOr+E7qMQ7RTFadYMgToW5cEp92HGg04H8mF1glne18Ngm5mPFcw9/F9xAO8fgMzBcKMluAodT4fVBQziK/Pe7ihGNfj2zJYWNGoZV8IfJ3Ot+z7xLV3MuUxdl+bMHjVfJarrPwAT2ipEBsZ9xwTa2tOeaakrwvKM8Y9sqBFT0SgU1Fuva3uXv60ZNdHOkGnrzfBftbjSGisNUbECY39HR17D8DxhOknX5mW9yDxiR+BvgnlsMp2YaDecKt9GH7VAOMPwIw1dwQzioFw5B08GTa6I1kXwWPXZMm/7mSqn3lTbnrNYx5eAS+PvFKYdcfYkD0GNgI4q7dCgKqAF8xy6mxCh/Pk4gRiHAymLqppChr84pxlACQoDumgXWsapQRaDdrArocvfgtyfuPM9njntg+VCWuXBvwCghz2AL20OY7YZM7GP27SPHu7mTMGHyBeyx66YSb+vqBdJ0dg22BJhe+Y+nUW7+re+fKwijdv1OMwN4Kc+qYZ/mZQ0tfMCBAMtczjcYbig6jlhyp6LsBYqX4JdqYWtfgotdYE+SGhZapjnGhyo0EkPs7r/PSN8nXEn8hKu9m29PlX4QPqym/165qYu2Ah7gM2AncGHZypNJHMN5uB4IHxcK+s8CE8EhraHmz38lFV/n/KlAdcI6yCR/YDQD1WC1f/cr8yGEY7pvXnNZM3li5NJNQJu9pBzGmR4lwJs1mHXCoKPMZhrAngnKGx5UC5o3B3e4VLOpJCqbituOWzvkvY3F5yemDRFZh8YjpHZUnD+96sDdbjgw9NE/c7dHQ1Lp1IVGir2ESRbsZxoyXjDfLhYjWO8hb2uiJ0Zv+eRbrw2RKfVTWYmjC/XfxJHkBiMLVPch8X0jgw7kEtILOt11cVwtOFVszvRCvcK9Geio2DAeGsltc/2yb68W2ZNFvKWxORv8A3DTEgnI3H5et78NPOf2INsO5wj3zZ96OoK2LSS5xzkD3L6k1JItJKnyBN//9YHpJZu3+Pg/pIzrU4wuVRhdra3GqDPjKrKLmNYeXwjJEcOxTr7/qbSklt1kLXFy9G3gur0Z6gnBtDvKxLQffdQGUAWgrN91tcFNRpbfwiiTguUvoNMdNM+bfAwSQJDEzAYx/8EdQSgjeTNBrqLMvuUwhFwHgkuuOtU2hmj4CMt3QAHhlNAVJ4D+WunHwbZVMy5Ys+bIS4E4P0SvuTZtw3abVwIFoDwwc0IDweIr7EcaAQtm4kfLdVJWRsGZzCmKeuoyLyPnQef+DwM6QpsD1iwQX524NHfXMxovvcCICv49gEYzdjXY+e2wjkiMV6y8iKU93wDl2fPCV13h8/1hfR91cPkea6gHtvtfkhJLcAt5cfevBxZMnMQjeWKqJWzHO9a8DrV+57VyHNbUosKKyvnYNp53lDUk2nHiH1E9OUudQc+YjchT6Ssj4Crfum/fdwffEM4NCOxAF0/hmmHLSkTTgy+Br/49ATKubhevP8FyDVSf18jDImLEAeroged3YyvkdQNSiTHadSFipcTpqrS16Cor9Ltsx/e7eSwZIGKK4NhQ1p52k2pykQcRkgJKOa+LsAWX3ewtsaQia2oKL+ZuMoc130wG38HCmrJoUtokEyN5OfUyo4Nyoo+gumZiFF/ToHJrMlBBbLEwkRqfD4ev4rOITq5P/0mckbTVGuzA/Mw0l1dPeip7HGOO5hAUxa5kG5+WSTostN7mbXhTVVBT9MeKt1PaUBeDbphCgCXd7dgCm2y+VNWwR7j2/w5LXHW59opzyktv664Gw+5UM6zBkDiBDs5T4oK8IxCBAjWbEAL1Sgco4+pI7d78oD6BzbLBXQ9B/2PSsWkd4WgI8gWW+k2bY6Yo8vJRyKrKvtT++Tji1xmeE3Uh9+7G2GSzbUwnzjzacfhUtIvpU42GAHv+AgkTAHKr3yTQ0Wb15pwyyGt19YdgV2ehgFbe6coEKBXg7taQePlvrl6tiw9MMD2O/EmFybF25WbCNWsOr7m2ueet+Z7YW4QByOZaacOWbUi+WyqKx1Hj3KrJkU+rp8qfk3l/Q1ZqQC/D1vRUY/Sjp4kSANWCO8XUg+ihJvhzOYeWX/qKB9sCPu2Y5n4KYkjCDRIsqShSsX0ZCWwNhnSiZgs4GqS+TtIU0nt/VlUWzMIno/CHTt6zdrwxhgy784Fmjts3h4QDamZyKwry68PoUuL6OfelEZK6m5auoaSBVY3NWV8yqnPNhL6OF4qsaoj3THepyoOcVX9hro2q5Sbdxcfwcy7DYIdo/V2hLiumLCrEU+mkOV0mzT5oieetiCnQQRo+2G8+tmIOnL32LCJH+MFGED7KBP7EY0A/kh2Q1sG3LIwtWdmPYqU55Y0A3N0SQFgFhQkNLeteLwiQVuTJK5APKJ7kHCzJnFDh7KQTHzo1PJNI8G2SHIStQ3YuJOYUicnPiVCg5LjYpf2ANevwhRwbZTotcqV1+g6ybyqlgvhaVOMgMmn/CwAkXM3F/o51xe7IvXA6pyLQz9IyyherAkmNbVHQFfBWbAaR2RwXaXHQTuS2+I6yKMKK+9pFvzPbu4+rKu7vXb021hIHYTsgEE3emDh6nicvXJjQ+VIeLuUVXNvTBnLffdDUIclyaPlTPGEHEa0VXnAsSa+HEkN77a9p5q2ykFw/DTG9m79fi0B2QJpG+IQJjSm3lq2nMykl4lTAyIjLOwwmPOpZLZB3Fe5iHwIMKtIDJEB0N5334giuDPM7b4nV5BcT9DMtFUcKmeKuBGhR9sJz+oaXG+B9+TGDtTlv4rfVAuQT2jNj1Y0hAFPL0CI2uQ2kI1aEFB0nq41tzPuOHx/l/agU74nq1r0IWeWjHQoWyuyZ9KTtJBfjLuMiVOK3X2FU6r2wV8PHIdrCUYYdSyalwzIqRZ8IsbLM/YzcFqSdqx8xYvzGLY2vE4FTJttPK7p7N/CBPi2i+cbJh+ZVTDcto/j30WjL0J/ncz5REPwH/FW6yGR/yw6m/sSdThYkLw3zuxlC7Qn5M1M2d3ryi1T6ZtIXbkZVPwPSGYCS/uQEeTEhB/eP/1T2Ut+B/ahGCAZg7FDxjuoThVKA/IODrowdm/BDvLjwNwve1FjcOid9eRgOOW6fvKRYI711I7W0QR/Bq5RxuHlOeeWLD/aUt7elSjKThTOc8HcVG9U94INuDG4q3ymnwWp0OeSCJZQOf1X6yX9KUF3GunGOywSWyzDKFNrMMdI0XbQQDDs1c16gNcLiL7+lV4raLv9oOE3I+AyIGbYh/2mAvuXa8rqgBMqmM1iO8oazXw0z+p92aYBvpJOlbEYteKMp84BgXs8H5EG+f8L/Im7pt841xb4skl2WT3SIwlSK0rCUco8RZ31qWGlgafBGaiMYkmA5+ta4EaSJg/Kh+d71SGNF3DfLOwwp/GlpQsCuokOxX1OuXBOhQf/0Z8bDcmyZGG3tKzS4g8XOunVR3CPgrxbdQAhQFC/4ghklffCrAh/zQmuiaKVT60pWx1jGkwLOuBtMK39aM2F/ageJSdql/0OeXJM4Lwdrew3aBe8WpbjSMmmlRFHukDgzy+jDmlkAP1ijDlGvhw7UTIzfCoqaJG8sodUHrl3AEMWLr09MiZtmfehm8GPfmSYExUf45Ju49l95mG+Se0+iuwxy9v4kgL0Qzxs1g4KeJlwM/i0Qn+6KMBRWY7VJ1+yld1XtBH7pSsknsyDOq8Ypyx4D3NZe/OZIDmPOf3LOiVF2lIJ9Odm6Aukmg27dJVlh07emfRd0d7KPZ96x7zVeFH32dOewNqs+C/lO2Peddv27IKM9JR7SX4+Ps+W+yMz2fc1QrQiSIQSO9xIKSMS8igi5njeVodpGZF4JKAGG4R0hboicDbNEva++FGdDLabR8QtYx5uZWwnlb+G1QPd4Y01AoXaXL9OD39qSnCnupUfI5dgTW4Jl1GPK48NiLjLtjK4Voxxt4U4uXThpLSyYYz0G8lkrWZPyFWYzUVHCO1Z2VhUU/wcSUqVPLBFF+KXXYSPcyD8IpEle92cj4huD/5vxnkvMm4dvh0nOK0ukqvihua/FiRL4E5aLzuVBClKgnU3CuWYpX6G6uzeKcS0Vk8xXed4rbl9BQpcjJfKOUSobcgZ/P3xxNw2pN7SkAWwk5g8OcbwdBEe/7RLp3ZEoKQEgJvfSQvUAmBw/GO7H3rEqDOJjOUMhnnMRVIXfjAFIrjo5WmOEOk44bjM638Ln64adGzMM/hrNW/zfI8fjkfZQWFESG2vo/sChvkxLXEY0eRFc9ieAaf8fuEG+JqW5jDnQ+Yv1HijuRjrC85P4TLd/lMV6UM+dCfYXCW6+CcTB/AgPn5SvTn13K3lOdb3IEL061C9B2p8uM9/EKKaPe3BU76D+vAwz5m8zH/85WYEi0XPO9P2n9AHLq9Ridboq990Cq+KFYlU2a5GuHIxVVrW1vk6IgkskjmcWy75RcT3Vbu/TfzYgNRSGn4QERGFYW8NSVAnx2JhI4a6KKMHfE5VVqgHONodqnxXdJLftZ31cHXMlKgeHyATM14LZ7IqFgWfIC2h+GAY5AU9nhG0r4IRINn3ViZJ4CK6mUTFwjXXzpHJd2P02IxblW43hDlL2uCOKRvlO4+loWnu5ZnTgC7vKkd5qeFdYVn1U+IBurUGuWoZdMcX5dwcUOkS1Oe0pSdNAVicYTnwq2BYxSogPKZhCXt0TAQcp7EF425j9rjz9g2jf66Y9YYmnePC5eOVPJVu9Umxkt5fKw+fN3Ic/h5cVepE70iSL6vLXmg7K70IMSLeCc+jg/8CUf/A3QOhPkcN72UkPPC43C6/GVX7qj3j9FlXQb6VsuyJ0/pFG5R6/xrP1WNN4loAHprBvUdO0cU2kpSoNK5n08FQoi5bNl1Em3pmynVUk9uMul+FWySpf4oapkCMZybuf1hzQaxA42EnIVETSD3qhzCzNTdm7wTDGvALlNchUhFD9bcG9u7ZMDNwemOF4MkzPDmDJY/WRA4HJP1+3rSZGJLbLSWsF3yEZ99bY9zPpsZSx8oU91F1Se1fEeymFx3uY2BiXPWsFwkHRtPzsClMgcA0EDqBNy4nlEkGSwXKPNbCPmSrFTG+TaLy2t6nM8Vx6c4omoslifdKNzqzb6slAm4vdvtR2Asp+5BVe787Ddm79VWGQ9IMLOoQJzGHxwUouJT81j/QwAQP9nqAhuAe2mp37GSDSiuUUA4ebchHuNs80PF4NLv8zIpQVOk205MBemJEyY3ucES0ZdBCLg1tmCyEySD3PQMM3HjuWYKqffixw+mMIMRLJVuHz6C1Q+BGclgP3C7fN2QUHVvZos415lQBSgvCeMMYNdsq4XScAe0DQUzoJBEt5yVbfeCY4E1AzBc+0ogS09su7BMVae4UDAVKR9t+h9cd7+co8CalgmQftx6eORAIkPGdEjpQcw6RVgoCgjbo8luMhEFpR5on8ph9wgWue3KlsQm4NX3IaL/cWSnLQaUsUE0xsJ+GmKlStscXhUpfXKWfV7mr5+NnAIT3dGJujDQ2tSGiz7hczfB9j7x7PvTT6LTaqKBNylu07PM4FHHfYWLQW/pl1Sdwx7YZvpVTtiKdd5qFYLhvZb1sqrubLDuS8Y11YHBYcLZfwH1mmp5pNWC6gNsMVcbL4YBJt6qN+eLKLwY59XDJFP5e/vFgu58lXJVwGfLxojQKuToN3jVbog9xpYdRu3kVFcRssnq5NOmE6wWFbn6p4oQ9ZPKh+gwb0Ywin481hb6bmXD6mwju/2vRMTVh+opmBzAmtja2mqoodtDi68QIdcKYuTIZbtYG1ERvoGyZvDbMSDlKfh4I4oPucyGHSWFKMc0N8dBX8bgdZ8XMB3RpVYZAICHiN7XWzwk4dAZN4nGqhXt99T5nDTIjG9tMF02uckkqFMVLhi7Ji9OIEiyAOmIFZg1Do8U6YDeMv2V357uqF47o9Yd0dV7k/bJGROXLlRGPjcZTPzP4+5EkanD09hV5qoHJYEAsqYSgCydIutBbO369V0HOSQyg+cAiMlymnY9Qu1tBpmRag4XfI+xa3o6FkuhO/A4JGQTAVermiIY4MKY0d7OGKKQvK+UPvxmiecmPumDFajlYRhA2fdiXqUKT3vIFEcBFDNd4OucsSJs21p2JYnqcLKr411q6acv9a8CvYSw5DLp6xAnfhXq9X4L+X2qBFMoOvaTgvZ5OwaqQdOO6f19ira58/QONpmBY5CnwaVkv234NXOd3WCGmS+5Z/Sg4jNWnsG+WJyjCZip9fYxFZJX+I46Myy4ul+49pk7jYZzumn8yfft5lsvFLOxmz1t48Y1cvNWkv9q8KtYJaMF/bi6pKd1ZGtgd3vOPwsMw09tuy5qsAmGj3QV5gNTdg4EnKQMoRRLU1Xcs9wzLyeZtVaY5oUk16lh2/L8JGghkCOwnQ088UNerNre6wu4DDp3GGQSWeCwIU09UhCTzfTPRetzAdTx18bGCk45RpRkY1lRNABkEYqjqf/IAo/V4aTa5ByOkpkwWGtrIImbdyiBlFeL6crec+2us894WjV72alSu4KJBpLMTpcDrPjrfp2xR1BhUSFznNfBprMZnXsDnf9nKuRJ80Act07jC1r5nNCHZJppqy17DPCOBT1qdVch855HLZ8ITKLPO3K9oSdzxRA/TsO7oMQ5q3aPo+TmPA5UXOxORmp0zOGr6VFktEdSoPhcGZoYPtmz21PVzjqAdOJvya23io2wlsZ46BNXXazyFqAjGVIKlBKxqXouoYGeXeW3LZJhuiPjZi8CPW+/cSdLbU+2mY3vsalbjcgqKE8h1dcxtY8r5mRwvochmTcrTv8MpwLWmguo5DdFAK7ipt75UsNLXQQQ4+OxseWOOoiwIaGEpzXwya7RDXMJHFRO7SSD2Tb0mihrw+OPfyAPoGuUTG8qq8C0uaiARi651nVTOtpJ4x/VrYBqOzcoBmV18wHfcvZ6rv1/E0JFrsYijR1imhEuumznzdx2m2gYTJd8ZmaktQG+Ko+aH2NHwoyRF94ERq09N3VasoKT2+6yJBpPOJUAJ6nJL50lZtO+ky5ckgT+sDulNPjONeS+x1EGbwFi9jUFdpblKUwyZ7G4/jcixhmZKpyoz5f7VW5GZ3j64SlJFSRcwOsnBEDv2hLzf4kxJnjNUQvV30mI+vQVXR12eJH/JYqknOCyFunVhOoS7Imiu+M9vu1chUoIV8IBHElQ2/HndXG3zGONuwme4IhppW4qGD/v3ht11jC+kOewxAmLURFrz+a7pKPraILJyBOQ+ZwXkl/TRyeh9xhp0WRYNojzF6KarSr9aEguwQbKn48BWx1kevPO04aLD0rOxqZFirOay9jF+u74a0trymQ4tMima4GzNPeqXsOsVTk9lzOcBgvXVY32EBxEwcT7UWMCxbZsp9LJI/DQMUWh5PmYCzho3rAN+4ZN7fv0nUNVTEo622vw3Sd47KwgqJl0tD8STD1WoewQE79N8T4Nm5OA6eMb/WN4OSUtI2uLDYDlj7DBtuJUkfYiWMlrBFKvL7fNdElDeC1kzMJ59HZeCY+1X438Z/mvbmL+6AlTtLKY8tYpqNAvHtAHmGRqOS1V66qxmhZ6hfKN01IUA9qAbOIc/Xzg+TsgWoJGEKwN+8+4di9JGAZAM2wK2NOfc4Az77i6P1w+mL9wQyn5ZCfndQLVRJJ3Wi7KoGvQLuRfSsQf9J77RnX5rD4Ri6dRuT2cG6Z5ioNdHNU2lcJetWWNEvhBo9CEiiQ5mFM2mcRevsGapZoxIH+kAXeNLBTJg2agVI9kewx4sWKtMse9cUnF8fS6BbW4eYXxOe6DUHqhqwxS4bUg6lwsVeJuXUNeaDOOXPKjeXt+n3GVd8oMTjiHpLBXQK5wONThfEUKySVGdK46+2f3zaEv20DzdrH46HeR1TFI5dfEp+GiIOgPtsBnsiChDWCNClqPWjTkVeJTBbzXIy1OCqXsx7lLkdLnKkExRUzI9YxgKS9Qp1bulsU8Xjq/QPO+rb73cL7PlheJS5/MS3sN/gq+eI6aHGoNObS09vw277u4P1CCOibX1mWpztGR0fbdNTde2U+dikoO0q7DWgVh9i9UQLreTO3QQ/P9wwqDSRKvb6AhSwQ6uscvd7E4YmskxAz+f1LbxZe1RSWJv92Id3cy+i0fq9FS/xd5q715IguUbNDOH9TLuhN8bzF+CptBimPfoiHmZMobiSyEft/YJGdQmG0V3wEr6hhyGdxQzKNCmB4d2mmnBSAQ7D0s3Kxzss6gwoUJoqUgXCUNkqL02nhupzsc/D5tbrsNN1+0nN1beWe7S1pgQYHiHNUGT0WxuiHuWv0oN72p5T4u+lZNyQOlI8mP5QwT5M13gIdAxmd8sTfjTPcTm9v5gAcZjHOudcT/VxXPKduq9Es9nvJFLmdFs/TJDgjlcLq9SiNF7WRVYoaQPFYs6ppHX1YynVCYV6ttpzUiLvJOUxFG74v7cLrndHRs049NRcWqeBIOXQvU70NeEXLOl00obMDcYIjz6UK8jyysTb5NZIesI97uBLslqLk/LAGBmxM3PappmFhXsSGrTepnJBBCFiY5GTtaFc1MNz4kJu2gkmJahRJ7ycfbvei7CY67ACJ/rzo6nzNniuuej1yuUu38C2xfXJsfqFheEpvLEnjFgSTzYjzgnbDVXuzmQNGbpKp7Yc/VASpA1qAwQQFjdoHhFuDosHxUhVotK0LfDnkGhLaudenkdLbHwQgLrJhNiUCijDDDzlZfJfK+d9/CDX02ccmCNXrSaX9FzPWI9Z6UvmBy1NvCkX44Zry/hoTq/dFdRbeEJdErbisCc+9+25/z0yCnTMtdnW25XUg/LEm72W7lCeco1gBReoOXBOaPoR+pVvmgOf+GmuSFXVGF2wyMummw+0dHJMi5xa6QjMJqBEdk9L0i+CBIAmgJcqZvDhrftCjubxDffpmzZoFmVJqfxauvVvBkXyRHBpK3vWQzdr53kuXE/MLbExkStgBQ4I7o/lU2mqmIpCN7Sf6VP/3ybx4E4JCMCHQdb77CcVZx0sQfke/pb2CEfi1OddOUMcpkp1tKv0VaEqxw4xVQM9RFITKqeXcvkHuhG5x6Cv/CB7vQpFtC2ar7lF6ZVl1sb5d+ZcfXVIiw0ctUwLawtef18VVeS3b7/0XGLqcCUQZe1jpqu5xvoa67KRS7LaRdwZP1GfYaqlaj1zSU9ysbvZvXlgFbJtGF5vsAZGa4K4bxLmjWf5agfHTW/Q4YH5TV3imvs1N9dV8XBH5I85tQOuiG+6Nr6VrNRckpi8IqzmeEkgq5IrKsSGyiEk+AlEKSVEdk9yJVOSr/kGD678eJdDbfJd212bW6kJ2uKhulZGbcnlOeOReFmjz31L0kSN87JuTg+Uh1OTWN7DiUwPcXG/kHCyJz1j44/Fd3X0cwW+ebkGuKmuEvta4RS6nEsHH/TVz6chk2j+7Mu65ZWjqhMSJNrcTiZKxE5XoxnG5HWhsRKtU/MT7kbv0KXVcEslnKi2PqaDHC41GQEItoHAISdqphI4WLa25Y3fQ8qdHZDuUeDWG8rKXzyltvjU88IzqBH12a6kmFknTpKp9FAHDnkiu9TtYWSAgJ6Hc/z9B9Y3znalRuZ+nRgUQtc2VW3IWLN+Hw40WGe4VDxhwwiJdFfuhj7VPNw5VdEDgM3rV4Q7SbkMxvjkCIKfQ+FrNNyu3+lZHZUssv8MeZ929q2qS2g4NNKyv6h2nIYsspURwLEdqFgy5Bryh00CTSSUvcrjj04JCPziPGZb0CL3sIFNbOOfOY5lIrshMvjMWbnhM2hIqfT/7zEY3nu9nbCAd5m15o19Fyb1+IIXG4YbtV92yei4qbRQ01+L06i0NZYo7/3M/OGdF+9qknzHwhJ9/eV69HRRaYEYTjsYsAMgVhsflyHrxXyLeZUyWpf7CQlfqNQg5CjD3TIcImyMLg+Md1soGaW329wZMUTyXyNoK8hYD3XFg7L0paRnTXytW1luh7xxK3fwLrxmSner8tofEiiIlIHEJUBn5IRbezWlqSPXFFf+ajzlaD2R4kFLs6M1Jmq+pTK6C2XHoiYsg0KN5OncFmX+2SkOAFn3ngK3gsRkDFgxk+hKyIBS6BNVHZu8J0LTG1hTXSzqEn0cBJ5tybAOycNMHIOK3KPiTzHT8DMsPv2qRrfuiqNqW3k4pnbElwT3qDGd7M9BEvjqkTHbn3VZj4d9pyOtUCx7PgsRzanazx5UnK6NjRXTt1zRTmt1cpvshBp+vKGJn6mWt1kxuoMwiw0tfxSc2QL6ksN/sZ9mZk/z+qdR4IbyWAtTXobRzLxlWDqT2YWiA4qYVuGXnYjuI+XUVfSSNjQD6WTrzFMAFcxCW9IPFhznXOnq0dcGoEsslO1YIGV3vl6ElczTfqG7QfFyRs+DT0cNy3nsvcYlykLrMjgnN+BedQSiRiQo4Ky0sjGllQmJVUjcJvbWf/0xjQVrpxOOmeqzLB/sRegC3MF9DtRADv6i1eZEn3Rcu+Vi+Vf8L14KPcpaudu18Ir9HaIcFnc6tZugOZbfmojJdm6J6UBzgc3SXeVjcR1KJU1LUVfUByCHSgNyKi7J6xWRvs/hAslMfP4gQcP+I3msE59lg1qRVT73yhgn2rtedVYC53l91vzqIKlXcAK8ZG9B4cf0cmVJp7XDSnt8MK1Tw/KJvIJ2w7gt9h+H92vNJB3+kI6JsiwZ7sPED5MMj5A38alYqsZ7kytUG6ThbZVVDGzeWGMPe56hVlIIZgm2j0+Cf6FjUYkIvwo2ad5aOOMCZf4HAiaESilgLqLyWpTv3naq4GbCkgLTOCSjPoV56uUdsvo5aF3Q2PMRGUyK4Hj1GFOeZ+LsDqNPSjPXPnbdiFw9nMJdMke2vfZKBL689RtS/g4F/pBkNXlUEnwb3MsJ5YF7+gRU5M+/T9tSKwurXqN6wjv5MhbceposU2jNP/PwsEWij+dEamfyQ2Z8y4iHB9Ut6CD7cnNKg4h39FeU8VnejeVKH1EI7YLec28VjjuyFBoOwe6rn10iBdogiA8btYai05RVhcI0vpiF227C8bFIl41E3h5VLhBHqIZ51zRjJO1IDornnnZ0vUXfu6rcs9MIEyO70/2aI0BBIXlUJlDmswFGvoHfQ5vLIgYiIFyUV8GXobU0Slaj+HOmO6O7g6qhZyKKJ+BcSjYIEY6Yt4TsXb0dkEP4fxIWwXsAV7D4OT6zkYyQexbvDDAAbUgzY17LYmlLkYMHav13nACMou+Cv5+fU17rT1SjWJ3BHJiqQenPIh7KbOvUgAZbDbrgO/wgWukNjHS+CIHoC5IdpC6xYuTUlQN6psQl6ye+Oyut4MleA6oNu5ki2ZtewodUv6lAGcI4KHRrpNSzVX+UMsfkeGrmUy+1TYwoNjgXA6NiR2SXN0NOuwSanUdfUuZ6lHp9Auk0R5eib++R4IE4FZWwEIJacSMNx7DrON1n+VVf2yZHTOcvWkIIxYsPEycKk22qw4QNBRvjLateXLH9fFyKDq/qH50wV3+mqd6yJAOM6rBp9k1gjo9D1rk6RvKd1wbpOqnhCyQJeZ7eLM79c5M4N7A4NljWX+EFdGs4W8vCc+qzmWAW/nEYbfFVRoDXtoF/d8EknKhTh/ujBJmEWZthyVqWYpIB6Hc6R+rJF5IyYLDme4Jdw9eMJodmiIIFMyXr9CM6OXMsZnQu+agvcpONgl66TuZJDa+MySLNf6TmgP+ICqK7WXs9heJWOu6C3hwdzdYDvizWaKf4u+e29fhqvNvnvbiq+quUZEcl9QDDtA11xUeFdGsIaTZ3vsSy1lm1VHpfeFS2jsvyXPAi1cNf7Q3fRHyu0H1ILvDjxlMeWLicewE70xHudBoEg66aa7WUlZ++d15PUZF0eJJxT+yq9gUC+wSrd5xCGfJJQj98qkaKwURJ2kcvKAMqt78ghHM8fUD1z51xMYHCGY6T54krTjlNvGHJ7SMETrDb6ZsAi+vUaia/d+PmgKSE0QwPTCol1xI0hPDoT4KPMSijlwU216z+sd6U2BE/4sMyMa31L35Mzi1pPyPXVaLukpdQNmHV9j3P7XTDLMjnmODGdOLRJP+9a0rU7V1mzBGnPqhKKYGuiNPmorW8S6SPHv40JsnQMTFnYlyNC/cGAmBwjndHHv0r0IDhr8fzSZa4Yp3DG+uwo1+646sHbB6JbU+3AtQ7vnaQ0eYzzlJ/+hcWmIW9S0HltPdMOKHVVcD8Rxr30blb0O3dAj0ZbaUEijyCbPEIfBOSJLBHOLzBvmLCFnctjEDfAxLl+2TYZlhbNmh0HxWoUIl787FK1gCNepaI2crTpxlp1JHCtbdrXbrF0qzGZTO+gD1ZnXWAvkDsjPt54kt2qxkzwRQR5oezAP50fZWG7FBsnZmCJMLMw3SQOl+iA1k1j4gVTRBknke66n7PyzjW/s7tDY1Fkukm5s4DVkP0wWTOi3Ejhaqplfgx2LzdKlOcby17aIA9Z3GjdZLv8pgoaDiNoNRsGyefE0+pFkKw+vVDMvRpac0SVJPP/Ixu3eLBzJvbuDE9ZjfYUyPHp7HYsbb6q7tAelTObcmFEE6vPpDE2JWtUnzk7bFktV89H/O4yliHl9LV4uLh6T2+mqhS+T5AFV5OeiGMzqlIVXC1Bh39fB3Fg4gU2+cve1Q528hcF60U8k83J0fJ/Iu/GkRyzZNFuulKBUBpO6GYC8qnJ8/8LlnKuWuMC/GX0uA57VsT+tF8xFreHShMG9tdiBPKO8B/FczoGOYWWJJ6UYJSRSDZdT67YTvau76UeTKG0a8EpawJZmEkgA/HQMchrPI8YAaaR/IvqisSxd6IBtcojpgN9IGdqxs2rFhqHV9dhox0zcUDA4SfRBGB/Yhp7iiw5MtfPrrcrzIRIJIpbL9IJpYdLnwidOTXqx0QMSQ63m+IYWMzbyDOoMsMAhOmstjnFggI3Y6hscFAJZVzpb8/5cGGVsDZp+0lICR6yMnS789CqRGBf+2/F3AOBdyMuQ59teGTSO6/0QDH7VmIiVt/Y2Y1VnVHg4N73/G+U3N9Tplo6c/wsa6jpjTP4AgdSYtBZMKgMn3CFcrAMU+r8bEEuhS6tVoQkuHlNkg0Ih3+oG7j/+dVfLqJUEjlS9U6fdZ+uLuAvCw768TWoR8PrWWF9rC6tp/M2X/fy4FBRVWY4goDIvexIquuugTb/fxqJP/AvVUnU2wDq8R1/w336yM4VfbMdIfvwRubVnB0BUCosFOZd6PoNYXkOk3Xqy1gwTs3HaKT4YSK/YxfUJLpzYDvS09R7ZTcdKb/PtUUNM3xKCdbO0L5eJw4XDX77yZgaZ2tuEu+EVScU7BKvnX1/UUKBaxMIvfGWmTbTCORH5tAqDSXKqBJ5M8+tGY9EGaNjZgOsi/K7Fhd4vFSouf9HWZTjWUY0kAhDDbPdCkKj06bTOwXFfLhIdrCNJaHUwtaK07ZWuQ62BxjdczoX/yhKVdy3I4pYbTTNWaJgjOBuC0c/oaq81rpUvg9vVK2YvVaa278st5eFeYJWZ6nhFVmrsXKytBwxMIiPmvtjyYT3339/0TyH4leK6TSlrwU3tUBKbwWGWNzSBh6U91jAWM88Gv8ohy/4XX3GnCB4i7cjygt6vCEhsNx4PR0cinN/m9FqCEHfvCbJUZqtUqum9Vhf57dNHRpmW+cEgn4L8eUA8mDNWEaM1GVa4E2TuNu5gHOXOWh9LIOIt94byXiqeinR3Ua54ox0v0UO4Z1j9l5F6gjU8CTwqiyo4u1B+MtIY4JJNCOenMFydqTX7bcbYrpaVw5B0sv9d7LsMsOC+MKL7LRC3Md7/2idU1coQ0FGNNPrwKfakPimb61io6hSj0rqoaAn/7PQQeCxJio1o2D3Zher/EAhR2kMMsAR0tP1nKT19Qo3ZF8tM0ALikhpgSRL2Aa5h7aloWUs6jopIUx6o5D+PP4N58aOfBtxuH1LPnx7V8xboi2IeW7jBwzXR9xmrVPPBMgpJ3zaysbN/CnpPvewCihrVu9nJ2G2rWSgjJkC5M70k7QabXZThrHYbIYMFnZovoJk281iqPkZpu1X7ja4ICv2yT2u88+KrI0lTwynbfciw6icH6oqlEE9gpcCJXxE5ZvmW5G9ckt5kTPGERISbWSQUbYuuUZ7WwXspUn6y/Mdlwol699TYYuIpOVnSFz8a+7/mT/cLjzCFpcp3aW6X2s5Jj1gw7Mw8lqV6w9sPYIP6AkF1gcBk+70UyGK/oypRUHMoqR/dxEE/SX0/LbuIDrDWVtrbphXTDyd7VT3tZZKmpBI/EMa0OuPZzcE5kn5U6t8ptyl4RuhHHS9I3Ma7/DAo7UUxQcmSb3FhpUzq2OMdosSOGZRP+btvWfu5iCxOCGzjCfP8v0PznD3N//wEEr5hd4SeCs3D7rk6KOScQbo8+MRjT8mFYzs5wCMkv3P2MARCYWtK4ITSY5ecI8x6DqSdz7IMQ2jMXesT6Xj8BzKL/dO2n7HTkZW0WJkv/W9v0zqUhnFO6bAOmQE3DVxGJl8sTmtARzU2FmzkJds91RTIxIu9iZNIyqFWpejI06Cs3NIQfQPNcqtq2+XS13hzA/cEUBNAQNwC2NJKIyWKxOZYhY3e1zrWRLjYJfzOj6bWqHV+hO6kuDl3KmInGAYYvJPrJMtRFSzVMk7V15YGD+7rOkaGiH7CIeOyb5E7Xo8x2/zomP7s89eQn6GIueqN+0kmYV0oyx9oRPQrSC7L8qA80u3IAH2t7ox+I5oAjIPZMKfvW16DR3PuTfwkIIX7m3oVN1Fc8BbfhW2chTRvSUWXi3uPQklFZC7zPWEdnIjIBTewsCCyuq2DztFO8g0Sl8t3MD9zb9CjszM7NIoTdKf8Tq827Edwm0lssVbF4MrUxaO2kHnHPy17xwsQHZN2+aaxZdzrlG46zcZ19oJ8vWB0x+0R82WKItuIjcJ4M4CJNLYcR1NyzBE/VIYwI9qKS3nYli1IeLccJ09VKCnHbtbORyvHpTpSJYxGUgUw/SEAiPlULmIQc/vYLxy/7uXW3KYli5D4bnVMtb9a9WnF1ToB2PHd2DVyrChyQAoLYS7Kh/nkFT6kzunX2DszOvZinZHL+jtwv4ErjDHaOIVfXMILc60D9iEFl7ni3mt7eavKtkreyNiPIUDsVsbsqbXbA4Pp3CigaqpY0dvJTb5aRsRttGpUHULha8ohr3McdD9jideWOPdKjpQlsSU7HjQ6izI33k3YmirhXiQA/RR2Q9/gr3wr7xLULRXLxw1n31NzUpOxd3mMMQvC43seO6MgeZlsZpBMFKlbmICkplIsZClBqkn6DK6BEDIvocdbdJt+jt8cBeRUD8t+/BQKCrw4J3PtoTFBZUSRK2lkD9LAmwL04Bj/0myQSBcKw2/9sLtw+nLx2SYphlXJtXw788AZxfCyNgngk+5uGWlkVEvfn83tdUM1XcJAa9f8KhprmyMuwIBw+HWkjoNlELmfQamlV0ejCdFNjbXp5dQYUIq8NfYIIuLaqSm5PB5mY7ZXjvCBokAv0x2nNqPmiau89scO2QkcbQrqsdp3KoNaP+DMDTeSIBEqDRUSsqeKHH0ZiIbTGiAZREuOchzrwOEsACwFkOB169cgSQr6SnMZbJ4GrtnKv4qC2W0wOFCf/gUPu/Na8Lx/RK5Xwm89xMih+tY6ho1vPJKowHA+h7d13tdEMZWIVMcMedtSzESROmnNjM7eCHSzj6THSMNPJUl60ycqpOPEL8qTDaFT1EU3J917aqAcX3oP/vp6E6kzrwthVH66Gzdx2nXGTHWitxF1ms+ypNTEsViOzbXqA92IxKt4RcTSUGGjQywpRX5lQ8agzcNlipjrXV5ZAb7QuCOQYfPisOKjRBzDicwmTgXF0jfUcOOgyQfm6+q8PJ4HotpzVvEljOVgEFj3i1nnmKCJsKwG8tIbv7J9xHjVhDcDuZ6E024YhW6uVOvv+F2VilZax5S2uQ8J9qYP1Jus1px0WQ2vPlsJkIr1q+J33cDhMwueA9VB4QCrx51fpmlv2kwC4lU9hq7rhDCSPQDSR6Govj4nYTZCgmBixqMG1w+GAhT5YKJ70L4iGOyvZpKYsXJsi/XAvyPlN5p38j+jQ98zivs7Ot1AkHbLAonN3qscr6OSbN24L7x0/AiT5zdry8VbL3vWfGv/+9TXqyfjLj2XUxNkymc6BmaFH5RiJifCVvmVLx5lfEu9N+zxdRN1G8HTJqNig3Dz2T7Dz3D3Cfr/42dtcSXOZhSfmRg5t1zSVCB0wXCoRQZfXOnGukeBVOOiH2SS5enqmKbcrIrAPkMHaa7uMscIXerelZ9h5qIge564Oj8Uv60ZBoPbvIrW+Lf6ur5o6KbRcc2reuMtmAg8pvOgbEJGa9oBG6niyUMzA2yEIijobk2qGZ7BV2gnkRi4f0sBKP7hajyyc6cwH0hox7xXnKckluNHpb8UmNLLe72KkJD7b7OxWxtnbyb6c0VGWStl29UqP7ILDN9t2xoSxQk4BH53gN5sXEmx1hN44T4WDGlZXyQTT2K1unODBO3t3Wi9yOFRRmAsyx1PCu17LI8o+i/ZMxfnHMLlOZFWPaTHNgWTf8FfVKx2FZM1UxtTJthGFpqi1+JKUaU2zKMxzExlZ83jOUE2q9QfCbkYm4Z+rc8G86KGOlwYZ7BRKu3nI3FvtgjGFMI7IxXBJZNeA//Pb2waoHJC1KRRm5BJpztyzRNkioL5zgAtlPxt1rROViuEw4V/j2RFC8sQcl8vUW0vse4FdD913GiKCr9tGBUcfwEYe2b/vxgsOvisYhtqWQvJURav7gxUqoqHafwfEMR1EayH3NzGD3QHb5jEYNzFBju7x7tleEL0batspmgiboygxsz3N19C6OBErOuBEaqWWsoGt1NIocexFORe0+x7Hd9+YG1fkPbPvn+Xk/EnYL8w2Fd1+oAWmoDwNV7AL0Wk2Ia5a7HOmPTr28Hvr6f1rmqVt3kQVm0bjA6K7PDR2RowY91baQN1cNyBQwjWe4/dJQ3StAfU5Hk5qBtgMfvLZMSZfEkTxlNxC86+plZqvyjrzO95Yg3itleHIJKWYkH1kSCGLNcZEUsS0dAVX3nSTupRh5m1RgHpYunQ+fCew2Grq5W/26fDOBV0ap9FLELREwonC5hkPlNzcnDecEcHKAg9rGKt0m2AKxREAqxkc+XzH/hU9m9PWcE6rDJvIUtLYD9T1QqcrOmw+oiJMFSA2cS3XqI8jW8pu7a9G1meElI3Sa2HELZ0gN1QW6Fbx+Sgdd5isJQyelpPIAvjCqtHgmXggtmSWx4/WgMjaR/PdOZwthxTJIaNeio3eSgaenQ2bt55njBvafy3v8oV5Aiz5kgw5im7BpwHH3XuRI1hPJGFF3MG9pvdNFgwGxbdUPAoTfN5NCy366tCrUGPzTJKD1rkMV1NWXwRPBln4dOFjoGuBtt+Im2q8G0VxbI1atPn5eR2mB7X258wwsWL7dcvdeqN4ZIVbmIdSJnPr8pv5vj1gefG5ErqpPYSvsHVXOYtwI3H+FAlsuH2PujAYK8nVJk2j51F9132Jq9Sbqu734a5MzD/Iz6IWOPVypiuMndefe6X3ZzI2Vmc667fBdJLw/HHM9wU/iIJpJd/uD2wKsABvkfNAIOpb3S9XbXfyWhXK9QFtob+Vpvxwoc9UFIFj5i12ORw/tKY4srnubsOHL8vNRiicVKpYmGGmz/r62kNB1uvEAeDKv+mmxTetbmGnlzVzxzDF0xBuwjj0L/BifVWdw8YzP4Yd5P97CgvJeP2Cj0EIpd6RoVGexBrjvopoKJ5KVuqwL3mZc/+H/PFpYzoaHmthlcUYwH3PS7x1rRVUJAil6I1ktgUQaewrwEe+M6Hrb7ergHG31mwQwnVsWAVpHBWm89q2ouaeoJb+y/HGk+J5y1eVmaXQiQHQKXx2WAocOhwWzj3C/bhSollFgMNbptm3Q40Jz4LZDSyoBudR3w2nXdNEn8fVpnjUsf/poN3kUVetIAusPhQY+KlTK+HX5g9EoDuNcLR1F8s9Rj/e61OLNMAVLc0NMS14oB9MJNn9AIkn04sSy/CUThaRj7em7XfdfqiPiYhCpb2vq540nWbL3ANKrzl06rGwiSLugtDA4+xlIeZctVacWay1SoSLhomlafgvlnysKAM49vaX6RI++3K1mNBUEcgt9e1rsafWLvE2CHYQ8MsWsn5n4Gm7LrQit384aObE4wtalGO46mUwvK89aUWeBNlClLD9ew1cz1RaEIBUWoSyXLL/m9DiqVueZ/32fxhUHmdKzX6/cXlcq9yVGL8rFqgc1/H7I3n24BQ8Cq71lir58dvH1huCRS02y9v/zVWqqnhlhUABCaA5SMwCcJFm8zxl6AtVVS0KlhyRv+QkeRDd9bYm9rfC6VBVhZJzXmZEXm2QWriIud+tRNVIVVs4sakLDMJXZBRFk0TwfkTX4J0nqa9NUK0OIE9skUEu42GPRx9EdiRUdh+9lp8S+M98N1uk2s276jhJS0yjqOo2YUrUg485HLRnJfzII2gS+L8U0+ZqtLEjexE8G3ttdWxh8kL3aM5qbQt59zFOndBZ6nTwnod1KoVUIVCN6XZD5x4Aj9TsNA4fa9moun6KpgOarYqmRku1NVDzVfiEMocrhvoga1fwFIXiFVRjOLFv2gM/f4SjpTQh89rwhpey8GJR7LQHrrPWyfxJhJX7GtrGgqWMcWPdly4dXyj+0QE5Hjvp9sNUFwsOzG0ftrLA7eaFu+WsV8oz/QFKVASAkQ3zvDKGXzUT4HQvi2WThg8BxRxo0ODth+ParfmC6cj/x0RL0HXrmU/1wCu/sSuUXMhUSb88w2fONdUSb09nBZ+XpDw0XRKuj1c2kcfGKWdq4xYxPZPK0jv/fYCuQIarxymCiVSJDT5JfPnqtLTpOppympCvXy1d0QZDhjXQ11EUbwkJsNmhd97u3GCdqYFEB9eBTLp0weOunZ0iwW0JyAhqC6GqqoEL3YIVAPuLNYgvH5QfWLeo1n0oakQCKnYg1z8+KYg3JHs+3yzQtQhFmZQ8gCKbBdgK5lzyJJGpDiuO/4v7BxGRq+TGpFh0UUqAoLjYxg30Itw+sdyAwM1th6EYVnT63aXMrEFrjCi6jUTPRxpJ/wUus8f4znpdi1u5QSNXu66qR3+KVEV+Hk8n1vReNt9HPdrihlpDb9Dhxn/G5hN59Cvh6pTDHLzBNMNoA65ixOYs9gpfXQrv43eO5U83ktwq2dTDaALRl0VUDEKOKkzoxOJgf5QdIVQlQYx4bPj8/pOjGx/yUJhpf53r7ha7u0dSMmsNl17csxnrB6Nsx9ipjRaxFrn/0y+VSKFpLYPlDFS0OSoXm30/5E2MtyIKXz8xuH+62p2jXYLUkL9vs+62vHqfrpboiZ1zFXr3Np2/zpoz0gFIWt/fM33lfHz3uuR2WLRWMX5/YBb70P9ncYg2aAZ88s55o0PLKguM28JPDSuOqU1HW7TWr8BOZQPolv1qhe/maCqC9PNo5CYbBQ6SNP8K+Mo0P9AXxHorz9PUmUWoO75h2iB9YYo6aen2QlLHI6QCqX5bShgjWBRApuUU8b1PAjYRuAQjmpgU5Kqw+S7iIDHt+DPnpyHwGoK2c8KN5bNCnkSt9Un7zwoxWJxj0bpQyScdyok13akgqxxQPvDRdbBsd02pzLJ/SFntp/OYw6l8P1m9tBFYjlSNRTd/zxxluczhpSz7rMD2FEEZo6dZyhxg1H9hwyCakheV9pMJlEBGuTTgRIKQHsIKejrkU3zamrZVec20TkE7KWq7SoG5kNialybk3bApfAm4DxAL043Ba8d2e+k/GeFFC+7n+wHCeo1Ttdw7EAL/O1AG++YQv1PexrZ5tFM3oXRZE/H0QHkx4xLsVmkymMx9CW1MJT4GZU11QF7wDNfgCFYWsnFH3zucXsLSV1auYRp5SR8reH+Lxdb+DSEPtsRT7HWxfPVxOB7M8f146g2qi1Lcm4IbJJP14AcpDLCdq+/wxqWux2Bb2RlCo+/DmIcnPR9z6V4Eh9x60cK8rKXHDbtttiz9TtUCScb8PnvB/1cOlSQWJvz+ogZL0KfhY0NLBc+igrQz44jlVIPa8x21cgetbvIJ70itsQYHFLOXfry9gyUaU+D9CNCUhxilccNPGzFbMHoezlDQmNHv39D8gSbmkk3Eh8ImXajClSchAbozwRs+QW3gJX3Pnd224dYIevtOXZwXMgKLKN8tLa/qmR8l4ZyeLZ+8O8b+/O96FVOCLr6MN/dc5xpJVfklo8qCN4UETrd+BcEPyrL++ZO1vXqpQGDJtIEJPQwnmvMtQ1c8rbfOwlujVll+orjUCv/x3MaGnwO/FEiupATTPLdvWViwKEWsT19j6psPE6tfuJXuC/3poqA6kTxKtrpe4h2rG+BmANgBY7zJbyPpTxDUAxyVTLUeM35lTYqbkSEWXZXpSpaABeSOF70P7KsGA/Xi1uOCjyMoYni75dMpXQ80g4jc8chhwt0PRwHEmhnSbOsyyMRnzFodnOepmk/iEPB4Hm8yUOK+nTleie/R8U0h2McIe7ibi2xJzyB8pcm9oQidZBOXqpobtGwH8zidQDUv37ZBVRBf0Wa1Q5jhJRMdWCn/VBLF4D0byOG+hG8uvm+yliHyxGH4rMnd0lkNPS5yRFwpzOfDiCmxm1l9/Y6dme6siSlD8MzsVvJtNLBdzuT7YfUW3pOXsfDADnjXXuaG/y7WO5T8lYaWyyc6tbNPg3l9Db3fqri5ghSwmoXkVl0f3WKxI1R/Z5ZIAlbq9Gos2DqhBbCdnVIsHZfJjJopm4QItvjF27M/46+TXZn1qSb3bfhh+1yS/8N38stELXQyOAWT35Q9Guagb1CfGc9IjVxonV8rdQrC8axYRKiIxS+wUN26FIyeOvQ3/QcT2cM0XrUxbKewN6eARWmSvbFJDDQHgqFWPNgiJTl+3XqjqX/+tNd0Y7U7hLn8aXntEG6LZ0aia5yVEdg2/K5UrafmRKIgzjCh/Aszhnzi7Usxpq/o1Y3QzKzUuSOXD5qFwk96MLfXrw2mKXioqDU6pWpT12/HAyaDqAs4GMbGoyqQuCIm1QG6GrIzSXr6PzEXTx8svJQD4A5sYCxkyQK9/q5rn9DPAjwqPmO8pM8rQJvUdKnzf1DfQb9pIe+ttAelfeyRa/OOmnJWFneZ4g6BykefvJ7i0Q4VrDpyf/814dsSmqkv0Ux9iRzIa0kDhNxsYnQ/pkJPaIn4L5WD7YR3wDiiMW7i3Rfoy87XCxbLraY0+9W8m5IY5XoqoD56EpiVNw0DFdY0QE+aKokyAp0DgIpkIIfCQBskEh+xp8j1ytvDZZMR5JFTggqxIk7GsWYVzmtBeRc3i1QjY72aZwmFnTpJs6c+pvs2BWxQH8zWIwcrYrSIBi+ioUDN9lIpSoGDGzqgxofueUsbCYiVRrJBhkbedfT0ba/NBzaQE3OzaSF3YYgdqOrnDepX32adPagiDK0KDiCrFBxzWwfmGpb4QIsvNmIVXaHW6pCgkZZRBI+qzQO/Eru5kTC5ij9h7unWzDLFqlTSIa4Hnl34czLkRhGaXgQzDsHzqbLZU9uNP15eMXTYwsU3hV9Os/IO/CtwV62nOwGKnfujArYhzcZ3rrhNqOyuY/Dmg3h33OKLdBIkF+s27ecyEoy4e1UFutIEaCyFd9D/yDYUitV2G2Y/5wuY0vKdFjF5OsAvKVTuGd6xl3nK/s1P5h9uzJxhoNlpMtNZuNZsd/SuNBTQusThVlZ5K75MBfkyydXfQAqgu+eVagSogTFbfPKthVvME5UgyFQ+C/nWTP1O+jIbwpzbppp5ZNgv66SpPCj6P+hu6Mh/n/6nt39jEpYq1gu4OWygiiV4PzrsgXiWctjdpPCOmeMamfDX6boxvdetmx9UDw2eENB1GpH6eCgd1Cg/tjn1Hi26GPlOvhWSjtie5Tc4i5EHJ1Jl6cOgCrnL+qFILn/kEGjaP4nMSwovSd3upk33hJ1zFYNeERiS2q+WQtKb/VnVzjO3XKbxmX0fatT3vc6U/KqMjKGHdjPsQQdv+WETWk5UJj3qpcvsoXoPkQB/i/cvlSRl7si7JPKqBz8cBAKj/lbVfv3a27lZ03BsDOQGfWnU+12XPily3EziTgo81ixvPpFpWf1Z2z6wRNJNJHkyX41DkNDbPsZm9HR+/dEXscXMznsHjswjHXMFDLvkQ4zCjcFago+4n0XV0OtU4sMtL05dGWhpun/ApybBktqeKSOHlJBf/BdgyoSWLGF74CA34I2gBSkkzZsJh0Pqyj0+8ScQLzzNeb6fFptdpPjP11IdXAjV1n1SZeYjDgBcPKPbzknqU4J7kpzRYJvyoAKHw3ZN7o8TeSuqmcIQpScnDfy2gU2paaR2yUZHAjQrPSWfJMYv4zuFQcMXYNGcZeRzr5RHP9Zic8RPSji3tVBTbVJNCseXM/vpuFG023vXUjGynmBVgBzDBnNVoRySHzisyhlYyVuqk1X5nb0kZJMd74H2Hqys3mMBVbx4hto9POVwGG2bdgjhsngrVupbGDdmT5YCm8I+00PA/oELoHVBRTvdPXhj2A4f2Of0bzT4G9zX5AUJBC+8xx+ztIKrt82QuAO3JmsUWrgflp3Lbg9lkMgvgYpvdFaW13iPv1SYHX8AfVt7wLBBeqRpgJsugA66Td3SQaxlnTNB00iyjpRq3MKKZViEsSZH1rtFDyX4NpTiqN2DpiBwvZE6jHsw6HvMN9ZgiDbuJ4Il/wOdli5pzVgRWe32uPgVUrJK3F2PXoz3Ay/D+7rRZGCbmlqGl3ggwTto2yesFiFY9Z308KPiCPcGMjjobMYHkb4HtehX/Cm/7Mx5XJ0YgQn4zpicTFg10I6ENLRySR3QPgn9IIWwPhdVV89PJuTEr3GzoBaknRxko45Y86zotqKg2kp+34JWO0X3vWkyFkrZNGmrvk4O+8UKVpBNl3uKyx/EMZkSdAdl13pnfijX0Fuk0+/9/+bQZEnPdLkWfE+xiLCunaUw2/XlpXFv18F8vw83uZ8XjulivbzZchqsSIjqZEv/4PY5LS7t2jcLldoCY7LLIZVVvFXDNABTApPTkdVifnNj3ftC3iJdqrKaTBya9n5NPr6MqIfVG7R4niarzm1NRHAgrQEM6+qtiDhvd81nuEnk7KqIv+cAZxNwgKbpvY/SJv21gzFFcYvi7TZg4CBT/VpLqWccZ49/CBqjXXERLxhzMcrrOgS0vMUo78L0m8v6WJkeMkT5IkI2LZP6qQxtGwzCxRM3qhFY948UFiixStJrI2Mp0l89iaJAwFjKUEyvCGRSIX8KK/+mA/R9MkkvZG3r/ueQbBj5+ooKsv5C26eeHKZgOGcf3lfcsgPoBtNxTCiCIBFrU5i+klhZgEyTk2C+Y+UvHnLH8Zk5NqntqOSsgMNVth2XauX6kiaTWpXojR2HQfQBbY3djt26d8TPGPiNvOcGPxZMkITYppUrXZ0TC1jxHq6RKuWukICZRI8S5l0qol/2NtQbZ8YSKqUJ9g7YJA3x6EW2N0HwSlaoBTLh3yWRTKNL9n6WMOpf7L8SKrfsYn/OnpTs9k8YHEWCiqVPqLEc9tefRsabkKO6lKchkgRKTWi81bOPBKw6eTCmfTiyEbzqPeksKfJmusp57Z+X/zy9zIWvb4ajYgaQIM6uDaoud0FoiuAdLj90plQ50Lsty0vp7BzqUnlNdHusyrs0hrYfKhehQvfrhLu+epbBQVPHcJ5tWXXgF3eWbO74cOYlCVDM02FtKw9PhmV+P4qu2xL7lVYTeGHvJ5HfRPAxH0n0BYxiKTExp8P935yOh20SJi4vpT3BCCqO2KNnbJFax7WkDmfr5O890t+b5KOmbACxMYt5xbTOZkhmmV2IerngEWiHLzb0U+fVv3LUON9cMel6NC+mIxDo+tw3NHRrFBXuIHeLI47l//sQXKjML/Ew6H/LLoDUXBVlY8WQwbPG6zvYUnsplBJrIxxhFGZN99xUQhIMb0T0G77mCm7Dyt0bIb5YauCTXZWbqXCftm+/mqnlC5YrjmxwCcraJKixA5oLW+++Fydc/nhAeMHccCnFVDBIdiZpcWbREbPY5iDDWDI0/ZS2DlFr73qIEpNOeHHDXJqhw7MTJKQqpeqaNU7lyFLDvbckZkOb6Vi6NRntIT84aPF4EPG3s9/VaTRDXBSR9TaTg31PQuqeJYBH524MiwjxHWN2c2umH5NpuxodQF6+KCoiYtGE7aN83IsPUZ5SNNK0TRS2ZM/AknVulR8MhC4d5SW6znIFqnOa8rw234kX7yfVEEqOPhJhA71AnKfSZdsUXgQjzZ8KWKRHyLHxVCCw+SRuQg3ODdoo/Ab4AesdI1b/F0bMCsADk50AGw6fmhC8sO3zP7A1xfHB6RXVH2/aEU8BeBuREAO95izt2Ak4ALY1cGHFqaxxerW+ZZnd7jfDBs5HvnOQOtYL/uI1V2RoTOGxTruJCYQXHbCB/fdCQXjKDN/P57tPIW8NXjRdPSCU4UfamSCAEOJz06uKNAfh7vOGULE7i92Rzp7FXmfq4Pf04o5bQZlAiHCRjbj6EKqIAVM0R1EvVSMca6NJ/E0QQsak+qnX/RCcPYUboMCsPoQzomYVv4/6mwX9PXNy7JZfphHphy9F5i3FQe8GnhTemd6bW93XKCcMs4XSsd+73OkuzM408h40xQ7VhTd/1/0Wo+Y7vmzWqLmE8MyjGimwolVYEs/ODygRWMaczLnTIaBp+dwHBlv0yAj3PzzbPnIWsFQwiVhdMm7PMn6/Qd0IlOhkq42NYXwZnecHNfyFVD7YUp9opVjFfvXc7GXQsFamhK+5wz60uvtGrglYS4fLgp6sU68XpMX0jZatVbkA6L5kjN5AZ/53/wuXAA2K6M7mMfkPUk0S0q4RVEAke+pgM0owEjSh0r2MWRl3AES6Yks2EdrpmMVt6nQSlVuQtel20+SF4P6kUEU71V0vUiMzyjiB//12YR9IMdGNUOa3ees6cxz0q8zr1cLsG3Qlt6fefwhuQ4fACiPDFpw61LRSb7TLBWZeu3yKdaepGFeFKq6Kis5Dsfa0z+wznVoLd0WWuFEBQgMxqPMbYmZ/47YG0qo37uARZJvhVcQRztGvMNneDtdMV1HmBiVhzL95MhheJw2KeUodYWsNXNjdBFYSTEdfe+GeEPcy90xqpcIUq3/bMCwfSMg9ZA+//MQGv+iVRlyPnDg0zZpdQtSB6EnPGeh2IQ5dpL/V1ypymYjQyotACqS0ta6la50M+rGumXDvXT3LbKEeQh08QqbsSchixTpIPp17QJ6RWRK2XV1KBBjgxEyTJS83u5yJ7+E5qpCItc/R8MqzTAuF0z3nzitr+hTdp8c0IC7GP7BGkxVrGv/kERHOhavv7TfQlK2NS9T8uTc3USTxZ7i7XmZi7oCAgv0jHCxccijFUynkJCtCJlrgHf/eAjCFOxe77J/dpXboYlscwGK3fUxE4aqNFV2/Gxunu/AKaJMqjjDUxgmJF+eEBhQYLr2kmqlebJkJqRWlsFXccO7hDomPWbVWhoooP3oqlPLexpf+B47gibwSFQf/yIhjc2kYyN2h9OW5GgBCN44VhUkNoyjjYo7/6DlbSCecsrmng1krVL+stO8vjpnrTcKw4Ogx7NM2Xh39TplsCeW5Wg3WjgtNJPfGkuMRO7n9EQU5wtVBTucv7dte0p5S22MLyT+hmQtWU5n9YTSuWF7c719g4Txd8JV6tGa/PS4XqP+0NWiO8MPnNMuWpE8sFsGVFT0JNcqFerm2AcUjbNve15838PM8ovBV8+a2rs5MzZaOuWAJqNZaqdiXMDXhbQLplOcUgwS/WqS3LnaVGYPd1pHFsfmw/AUuElS+4eQAqBNPyaw8uqaL1n28X4L2rj9YC74woNdQHRrLTpasvBMBwEZlFvMe7/DbRZNVPR4ry6IvYQNPtI5+GJDoeDQ4EcHJPQY0ySRN+IeaoaonM4yHVGCR6c+70aaDJTm4I2bdYMYoGeM+hsQqyBuJ9jcoNGhuLYj52hGxh/vCSdBygu+4WY3POl9WksrPdUSageDcX6RR2cCr6KsTNyKKuVpbFvLOlhaIvfyuJTGPKlQVNxOyHPNId1vzxllSyrZ500DbnsjA2RffQ4eRqbPLd8CF+DxhBMJ7kSX+04cFsEbsarD969qza60EjRROekkPD+9UJoo5MUxnxLEcufniV5mrfFJ3I8tOSp2JWiaovEe47qQ9ky9/0EZqgLQSesbp4gnV5Nskv2rj5n7Hix/nVIOuvAGvT2yQ6o5ZEhegNHzgoUY+5qxvSU/qRoTGxloyNLso+vKBRaFqqrWC+DvEt6RzmR8x0AKtoEO7nbgsOEc+rw8K2z6MZCKq+THp5pWORFT3tQ7p9JKktNikvw4GuwULOW+RC0KCbBK4Da9rjti4a70xb7N3RjJ7CPhdvHFomuuedLZwwg39pl2wXr1vThU0vPa4DYb8os+ATFDYsZqahQJbdC2JEZDS+EBexpuqoMex5QBFd8WhYtsg2+BQKQhyCIu2NCVR4hYSRL84UPiMKjmTbt+6p7z5nxrGhIVbPPS48pu0+lgq796hqw6/9smqqBwhLLT1WCmEnHv/A/oIPtDLeY8fAYVcoJoEGNbacJdyxIaeJuCdEXU5GgzXZAc95l5059HhkiFhkcbHDN5YHENZmJo8JEvp/BYSHExNYJCMx1OfATxQyMnAOXlZhzFM3XyVfUFuXy0DeNYXO6mF+EzIyMV8zeeAhPerGmIuuiTltLid4OE7S2FhLUXUlWf/F4ji9tO4u4dko9NGaBcGLpJ3lxlElcrzmKYHrpJW53L65eeUTYjvbahBXLK2VbpYwRV7Q6n8hylIa1UQxii1RiOW9BDeP28/X7a+CpacQ5hMgc7eSpxnHwDEIHl3ApW762kpDAYYBgG+WRGr78DnjcxHglt8A2J5DTOjDllqukPB1Atx3NyQeGCdq/+0Pe71v514v7BHn9RjJ7dDoGMtOc686om1/Lr2tmmta45AOOa4l1Y/Vxhm8JMyfAbQ+rn4y9fb0IbSAPjxep2zjv4W5RLALhQ509l4pkYL0Suykxa3Gq9/uTiAD/LirryOT/loqHoppPFesFs8hPjVfMA0IyO9b7VHYmmTMB074wKkiQSf0J9RJpUbvPtkKfS/UgbinJxiUTLAnrdtFuz9+D6wPQDSmeYLwBT9K1f19zxNTw5OZq52vndcn3SKQQhS8kO6TgXc/uvfrXpQxXhqcFhFTDfQB1/piWAZjdfbnGliA0cOcsWb1t3rTSG63JtOo8Rf6QWmnvg6H8F7gdNig7zlSiPnSTx/7cBZgWnBKbXbxYVjdm53zrqDVT+zaZIkC+KJHgEkJCiYP8L0BvE4fxGmq5FRx31KpXTHHKOX8rDTRS6pftHliR095mrc/rmr9bbeFoCtlqLyn9H8N90SjvPg06eMzVqkUdGJ+pu4jVXmV5D0NAICzprkBrg9c1LeRSeGbU6fGMdGP/rL64ORQbhFxURpBtIs9Kz14RNQCtrAxMWeBNo4LG/mycIf2sq8gJghsiTMOAbHyz2chIC20GrhJGe1AyPv4L5nrYGBq1zHaufbFroPvoFgNRaNRuM1YMt92xyF1A5gkmXwXk2Yzplpf9rWg8n/eu2MbYM2u0iLMiiNujJwoUUZbbCE6RHxxSDGBupFoRT3A0oua51Bi+OVxBgQ4AVspSN6mKFtkvSOYpFdRrogdr5JauCGSx+x8BO8YktDmeA3D5up7NC7W4qKySfbPnwfyJ5qcHXblqKt8luUEO0j0OQ40hotsXdyuFaD7aOVukZQsyR1vM7VnNTHRfZbo22UeMxhIfMwX3MI6mPYkNPfgg8BlRB01E3n747vIe6Xyxq8kbMgnnM0rLI5qdnEMBrm1opWBZLjtuLB3ebvg1GQPv+V5Pdjnap3RPXleBbuAR+P3aCsl+OVbE4AQbnSLdzRKDaUDjlkjqdfcsKwJrtKaHi1Kcd/TMDCRRm2FCgEFyFvHE36oogUqM/gh8X15P/cfx0CRFfCHzwLIzGQM9E80tAieLik31Q587Cjdci+8Jg98z7E/qzUS/Y785aIWqs0qH8r2mnkPe5/PwbquzpAuL18lnWBoGgyfREu9YgGQ+Ba5hqoX7+FSR5Qx6j4wT1FywnM5OFO2xqg6Dd2D8XK2u7BDLPAWhVTijG2mzQJ1mHY5rU7mWvy8BZLQppL5LrVJFnE2IRFNsT2XhmZlBSlLtq0bYkdWEKaAiyu42uw+dDG220gttIyUQZSsPrGpDqCh/uZWsau+k7yv/b8tzNCRc0Mh42wlofMm2/fVs6MAbrfolU/r/mDep8LGvUOFCKrM2/ugP25ekZIgU1ViMzkYhpxXHsGWNmLMVvTx1k9v9YumTKwNyLkxjdBvVpYYRkTzwsDGKLULFh8DCf++Y8dxceD3NK7T1fnALll/T0WTVBRqaVZ002lcxAK73PTU3XgcWI+0yuhVSNM+qIlglUkCPnXDCdYmoy0nhzsd1QezWceSjKLWVKvVSm3dfywBtyaCqS9xLenaF5olgGFfBLfTwSfnlnySbuZbIylVfAnj5gnuRwlz1U4tRgw7QDBMWCakEbH7rrwX/2fa/suWkGAhwqc0CkQicxyKHq4+MO+1hFQclQtLXFmrZsY+9wUR5gDWoUKgs6Bsu2ApacprDM/6JQSm6yQ/8L0sequ7Z0GFpdR3/2Q0K9o1/ER5mV8GzRqupycUVyG9y6o9t1+Oqa0ajMnKdNMd1+1aPthxwE0MJE37olv4QjTlT/u0G1/QXmQkwHV4LNr/45KKk7taJ11R+T0dtkdS4mrpb4zdXnRs99kPMruV3+WCEIR0/23VdfVjli70KsR3iQ0nO3QRanScu9scayXTkZKpGnBdregiVUUvGT54BuI67XHp+9rdF9iilTPOBRdnCa5LPGGw3bi8pbO4NdSGPeY8LptQrqbV42lvTu2p6WwAWgHOvEvs3IIfYY0tYM6USPOKNMW1Xa6IprpwSvO6/QwfEIO41jyCya7akW1v5HTgarjBrr5pp8mmRDIK3LwViF/xxYMTWb/sB44vr3hc1pK9qAguli0idWkhk4Q0yeqFz1M+nP1fdEfroZ2WjcvM87DE2keeRxprSe/S8pmpZ6VDKIRQYk5PbJWWjA2/jh8eP+W1ZiQBuJGc3C4LW9nFw9VzLSZRx6CLLC7EzmvmBB9V0eZ8DoWJseLtbD+0lout84xf4zXh/PL7HmsxUwkuDlWJLQyjh+veR82q12ZYipJ5WU8jLvUSi/5u5tVMdeiLr1NLucqSooHTUkD/RC51UbF8/SbJHyZtezYQMeBTq+ma2V3AYX70RtZr0zoYKvxLtQuBOyhA4lF32tHysAJ9O+SN9gF8Y/RUP1/3/KMFNPDWEo95LWV/2Vzjp9ryCBc1Fv+ek6zLHWtZLr/77+JLy87wtG4RtPi1ANEkuTptxHSQ1vqPPCiJiFNAq/P6+BL18MH8g3LnNZkevZtyUHRETDTJdCyWaBwFL57EfSQ3xWOH1dL6qR5XZ73Ji5B9QXjNActQvuVbvRS+9A1r2CKQsEJ2IaQI2F2FvU3JjHJnUvxRLtuTIanXJw+Xoc4OlIzLO5kVW/MLrsMvLxTbFtuctuOnrIGGWY+4U6GuKf8tYD30tvWxKn2PSxNc8wIY7C6s6q9GuoP5zuq4v3k9VSeMY7f7jcsUhDH7lE6wfmaU/U44CxJwmoISKZiwwfzUUwieJEp+lLFqyLBKBilyXf1b6fPFEZxyL4jE5tth0l+UJDn9ukGgeN9tw60c8DMYEgblq9UjXVm2ZmYExGan44m/yCnltbAeqHBiwhNBUy043dH7SGd86JUUeV20ecVRz8gmG7fKQpZ8AS70VMcKnSYIXrPjS8tsWvAJNs83Te9D6JzkYz2BM+FWjvjMprS56M8wbU5vQmgtCp0MsIJwWxBKYtDnFUk8y6l0rVDc2RqWpc/JmHiwrJlYrzDtn9r0nAam2eNyRxp8srZbrEN7eDKJNRzBZ1ETs4iJh8ho8VQWSu+seTtz7CbVQKUk1mU7ZNPAsg5TC6zqScMfGB6n0SdrUJJvGnpjjuWKFZcSfHZ2+MS/O3gbxaYqKr4Nk5gfMVn7rqyjvNM+lAXUF7dVfsZaCJS4cbBsMQnpdAJLq0//JTDxxvoxlerDfyjWBhg7aCLf+EX8UEZVIFx23xc3mwLuxCfQOkDhGVOBBCwGij4w96Qaz6HempLrkt62mvLvD6CXH0mbN6K2HB18nXl02Gp5TYKlIX6BzqvGHGxoOgL2mgEB/CrAAtLYVLI1zelfamQ4iK+OdII29mETYsKElidMj2aQ9Xkzjy6Zl0bkzDAAIxb6HEKzbbR3z5lYB1UxFtY9UHNbMiNc0mhOsEYScTg3A8++ecu/+6HumfZQb7NuscdWv87soWm15/ZRRzeVt50tCCuO4ljJEvWP8nJEv3r9SZoED/VsTyQOQCGG5cVjktzrC91XnGINFzu03b+Bxgf2VdyWA6OYqEHAybOupuQv3pO+FkYjR0rp8g9leDk9kL4R3v4sbieMrePd/GY3Inu4fPI7tJjiApA5UneBpN4jVY7jOwz/5BkMvbTUiquWSlHyJzjeEZIzL0jDey03Npqxo+T3Cs0z2JadqbIY0YhmGlS/JR8ApidlAFKlrgoDFrE7h6vm//Kv02NEx59t/4+c7RpO1lapDbcNTFdFl39bIhj82omAQbZqa3Bpsjj+pHmlnNUYXimbKhFJgkpbJHTWl/ochZHDRCk0FKRRtlkJ/Ud1NoenftFCWaSBbRMnfuc1nzSZAj8E3J6Ico/thN+2aBmYKMyNsHck29uI7yYhpffKrgbJgITHBVTZ5dTNxfabe9/i2ioMt7jr1HKO2A0BrtBdOhFQVTi+TvV/4kSDacl47rHxbBOzmq7DUSyucLZMkPN0PdoXgmA4vM8No4cd1eiW4qtqiVKsmrn3FyeWjK0b/61PQkJYWXkdvp0A0J2qSHwg+1QCXB3oz/RgfVzNlw/B3LYHD97OCCrd6buKD7TuYuL/boqgxHGGTLbM+daa9M64P+1BcmkTu8TYlbvsK9/Zrtm+uYl6vjs+GAWkZQx8H0x69olT0R01NMEjXo8ZCqw0Oia7OEDCP568HyHdW5U0/IVJskc4LDbQjPw+5pgXx/ta5dsoGS0Xo1/h/NQsxsuZhOqU37N/C34ZR972y3IzHLlillgzcPclRzqWt3e6SzkwJ3RsfSL17SDluHoX4gYJTm6PvMaRLUG2cGQgqRLGbK7vTnKG5E8aqnky8GV19NKufbhkIuUXRCMIuwYIWp9fxqhYUjiHoNcazkfzJo0UtWVXYACev9QGFG2ZGSLmsAS5amFs8CWOJBsfh3dWQwJdiP6O64hi8VvLUjIbcr40RouylbjRaaGvY4xPsB24rd6p5kLjfqDLVdcWC2c0earDDF6qPzbJXTmqpGmq+2smCBItSWU4kR0vqwGRbo9Y2rRhEyNYxEfbO8Avzn01e7UdI68UfzqDcXy+fUBUCqA2bYDErErGtLhaoJugoLVXOuYYDUoErHeIL5scO69cTOnr8/mzh+r3jAgEMyp+ppVDFiumWh0b7KlYtAFx4ATJz7Y5V2a0xc9yzs1+Wbsu7wcXizmt4ef8FBN8wxO9q3QLbxLts8yrqIbZ15/8VOFxhVoZSEAilziecFVYWw1CXlrVWEJAWzdTznezKXABjeo45Y/88Tpdags/fgNUjnKKzPF4TtCc2315lyAXn6wtapYFjriiPXQdzm/RtsAHWdq5IYcJViXPl5rJSeNjN1yDcArf90RCMKPcysO+QsfhDQYJmFhmxGiBeCOCkC6vwWBiusSA6L5AhICnImucFfzuZ8XvHWUDnaaPbI1o/EGpPsgNQWmGHxVQSO9APRNzqP2GwBOPYeDg+1JAlMW9k74W9E+vw2lhVlR8AR+UQ9FgjPx7+nDecxqYmTmJzov3emzLeATliZ/pDRF2tkv3SrknFd3ZwZZnEJ+cGkARtcUxmmYCPLyWXbktZSaXSySDxYX+8y5L865Hk45/oXNs4e0KDzFmzKoiQpZpd41ZrKeXkL/gawOIbFQrWLjZTaTNTvbXy1mBFd3ddX9Pnvj5vgFxDRlDmltOZ3hozLyrTJ1IcVe78aMKoPVMpKpF+pdU1bWYcfREo8GE+05kpFsxU80Pvpal93+kaufrSdwDj89T3hbLv4BMcc9VxcMfD0gjGIN2mUxNUyTtCIneLeT3zwzdlc1PF8EsdloRRvPhhnL70DZYEK2uhTgREI+fHgPDkMJ7jwU9IzYJ7s3WMrBIofhf8uBbh3Q8Dj+sE7UJQbEF/BdCDJwG2yTEKR/vfXWmFfJr0q6Aej4l2ufPWHNXbRLETyTojToBCFarzm+NEBblwYYcld5ImX6GPDZ8g0JO89nQSLz+HP46roeFXF2zK37a8pKv+pjxsYypipBNDbxg25MqU/B7g9jarGSd/vcGYQzez32FuE+9Kred9KFzrb6BRDRj8evkuvWp+KyOWml6BFBwDpwEZ57F5e4gZzhBpAhxL3F/4QAhm+xAC4GJj4RWPk6v8DBIpWWcGPStj9ppsHVxtPUslgc0hmdoDEcYekbfA5EcO3aazlgVP8mVybS+lFEvYyjqWvmAJNEHkO8FvM/OVMYq11PC75RxwNd50CgW8v4reyTww+kww62MqN3G91yd4ob3GuZpVeikdRFvC4RmhLrc2x8DH7N7vD0mO0LIsMICGUhZHzVa3yiMbrN34+/KKU+R+X8K9QROVxWI5GkEwUDhOcNCq7+deW+UuwIDiajVlhGX0aykYdewzu+5x4wY2LN7vzyKlppJ0P3s2ilpjapacNC+uu6sgFnaPUOfGXP8Jsx1SXnoQIyvn0wqq3Fh3IJT85QJlqc5KOG/lu0e2xcuqHQk/I4ltyMT1XuJufMj3CLH39+l0nr7N3NcfbiTJ+J1SCpPRvKpy3t+2HiRDJ9sAv+UdEjZTMYcO0jpqVncL1J7HOygWBDE5WO3wyNsr9HuY5wo4XZVxUsWkvTOseciMWoTnf4De9sResB4u3xRA4C9+xwSp3qqX/BoGkA5rcH2U3an4Ny/ZqI1CvbqK1CQfvuhTMjs/POtMlVgYICqt8s57XFIUac0f86e97rzVF7LAVTWan89OhQnEkCUkRHT73AVDyUpriiqDW1wBjkE+nqAre59lYNym+RwNYdA6nS0GLQW+hmjgTh532JCEub7hk46Y8ul2vJt/d00+8bbFSZzq2tpK3uBCJgLP8TMW2A964R30RyU75cDHu1e4QjDAuJyI0gvRTKGigSOQqQOcyUKY5cXiEdhIsknBDVzR1B8LQkq8JZPpbbYdWjAj8AKLuP29uGzCOeY2/BH25mfWkNULNddem21amWpYlS31gDkFaoXD/6iOLzQuxWfZFsSeI9lyjNe4+3VxSXZ7c/a2KwDGH/u18twGgK1rw4M6fbds8wxIg1osUmGnBiT87KsncHHGjaDtjKMEQpkNMXqKoNJtWKkjwKcFsIXsCWz1G+HcfoIVrPNYfSwM4ZqOCfZFbInwbw5Hgbyz/pNWXMakLmKSDUfjWu4sQAx/4zaBUU+AIFoejrcAygJt2kEfo06PTgdo3GbxClfrJdMxvxsB94AmyWN3/Y4AFbeqDk1BAQVfJBw0NzPKjjYj6Q9FXUgkSSwUGJ3wQBSgXaaukgbO7jik0XgLu01jCtwhDYhy0jIk6kPa1prkiOoVlf+0Pj5hiZmgf4xQ6vPoZbkDfAt+ZY0lfs+sy2PNVZKfwHnc9PaONTbchBJuqqX0mQT6ipvMorftKT3A0sNKutfo00ndmKw9QKWNXihbOVKWfiWStJKrecDsVZGqWFFQ3f3NwRQcA1PhdySHGnMT67iBxE8CS6EOR7MBZ86TeKyyxG3saS5CMsKvzS4dLmd9WsK2Vvqbxb6XM3dPtbIw6ztoGw4pAqtQaoIX9tkHZednpbXxYIEZuZMN9kKdXFNqUKPDw6xiBkpCAqt5Evd71HPrKpDAOLg3T6pQd4P2T6RSDVQUMctkxmnWTGSezxsGf8rfVKP1iIad5FdbUePrL6pYkBU56f7qisDkxdQptyyNHU7X3r1PK1Aoeh3AFa64FT8BrU/z1MJJzq5rYogIfGG9XSmMgGQUjtjRm2bVyDA7Jyj4aN6jirXFMna5g0BLk97M7qlJWwEW8EvRiRdtagxSbm0wITbnFqwUbB7CyaiQJZDWa5D9VAd+6kydHoPFsor4qoyowj+wUZPlWyeyEaDs0d0VuGpHEuIwa41XJfA2VZKKdPwnENh/f+vURkYerb63uzgqWjqv3aFm5IkwOLAgoxrAW4QaAFXmt9gVRf3ojZkR0qDG/PU77FZ1a1YkDICnCX0roWskeMvpAe6j6+IhwF2BSHpdpJhL3NmNhucCRV+Y8LOOOGmQRH+svLJorax8N5+C3kFn6z00Ux4iOiwGOWZJimpzDNKC9GyGZMiMZOIJz+npD+x7SxJM0vFDD4Z/Ns52ktfF6a8QDRhiEdk3h+VCb5iq4Tom4vSZi5I+QIskQA0eus/EDU9A1DWcISo2USexP1pgl+1dnm+/bXbWkJKupP3m91saZG9dOTcEN3K5DMTlOmpGIdbB0ucQLCMUz0RSdRJ2RHqsspean/Udmz6BmBKeXm1c89SrbyVkndLu7AbrEwTu/A4fnY3NLPKyNzxxyOSifsA4Q6uboBTikbAYLJsP2nCzSpVysYhoEXEuREm6IZNBH4TIkkLIUqPwNaOyk91F6yQ4RsBuv1nQzO4dcpnRzkjwQqHJhFEuIqOK1yWBN6mHwyVdnro4Jyx9d4VkGdHtrO07ZS+l7Ss26jpSQWePF5d+3K128Oq5TS7blCTg8FxGLwWrS07la2YfZ9kFT2RsqP522v/A1+66t+e7PLKrqOmuScJIcAopvSvAc+z5dvWjpsDCUbqa9HEo9w1IgDtOSFtpZFZtYRYsRDlsVkVotvUaAYj+hBxaQ/MAN9PwJoqiYHodJyvr+pFmwqO+sglEYe8yyrE/8gZWTHoTG6yna9ygP5bXt/o136hivsew28q9rtJA2jPz+a9C3Hgys/eWkDtGR7zPx67ben4sjHN64tnoOlLug+xkkXoUIU65p/E4ofYEUzMSwdbSilqdzRCsX8ag9Uv3OqECYYGQnnWo5Y4U2qDe+iCMij6HwXWB86Y1fiNPTXP9MTNkarVNjPBbQPRC/wyHfGmdEeJ7uJPXkI6Ak0r9DDTy48l9Lp2lEMildXm1qQHqORCt8nP1SelM+pDLsFG0uoWjwOeD93FghA+2X7nwr/OvkYRnfdsxkLWZy5YX76Tfydu6GE+VGwO7uCkyZAY8ZWgMZV2Xk7XYNs1rPnLzEasJvnes7w0M8FGXOpOVUB8VsqtYRBhIeMNU0JdxE/xu94b3LdgAVyqPdhHWsbLwh0v7CxeZaO6WRtscMCX/l+eUBlIKyO+rC584TquzOk5+yjWLv2VEe7fxv1eNKdamihIOCQUDfLdAPWwcL+PlZfc3r2wSDPNKrFUg1c1vg65JG9mMOed6f/UFQCerS69uZhZ051EBifIaM2PqLdK5s7IWnpzaZJcMc/oyhsDHdY7CzjSxO7/Z3AwxF4Y2EHQTCMj5YOOTsD/CBK48ioJ6BpLtJEcA+wtl4T+4y5eGrM2OzF9MOB3SaIp+DBtwuuC7Hxfz5ZPOtd1dQS384YEA7gmrrrJr+a08XwKkSqmWvgoJjOOoP7fUse4hpDRXDqPS0oLiYq6Y6P9KFm04pG5Cx7jb4JbNrqu3UkYcQ19N0vNRMRn1JZERxYkRrBL6VgedCw7N7Eabp0Jx1u8uus66xY+wXnN7P+7I9Yqmd4h6aREXNHoQ00yFtwLidOyFXagEnOtG/2YxEtHOXcjhUgVMdbG60M=" title="Mekko Graphics Chart">
            <a:extLst>
              <a:ext uri="{FF2B5EF4-FFF2-40B4-BE49-F238E27FC236}">
                <a16:creationId xmlns:a16="http://schemas.microsoft.com/office/drawing/2014/main" id="{D8112A69-8B9F-4CE8-B838-D7944E03429D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356745" y="2192682"/>
            <a:ext cx="5495528" cy="4040822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0D42896-0635-43C8-94EA-2ED042FD8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X relatively easier switch from vs. competitors; x and y key barriers to switching across companies</a:t>
            </a:r>
          </a:p>
        </p:txBody>
      </p:sp>
      <p:sp>
        <p:nvSpPr>
          <p:cNvPr id="34" name="btfpNotesBox117783">
            <a:extLst>
              <a:ext uri="{FF2B5EF4-FFF2-40B4-BE49-F238E27FC236}">
                <a16:creationId xmlns:a16="http://schemas.microsoft.com/office/drawing/2014/main" id="{DFDDD5F7-2589-4E48-9892-B3241D80D718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“Others” not shown; Respondents could select multiple reasons (RHS)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</a:p>
        </p:txBody>
      </p:sp>
      <p:grpSp>
        <p:nvGrpSpPr>
          <p:cNvPr id="38" name="btfpStatusSticker842164">
            <a:extLst>
              <a:ext uri="{FF2B5EF4-FFF2-40B4-BE49-F238E27FC236}">
                <a16:creationId xmlns:a16="http://schemas.microsoft.com/office/drawing/2014/main" id="{041330DD-74D2-4010-BF6D-539167B8962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32" name="btfpStatusStickerText842164">
              <a:extLst>
                <a:ext uri="{FF2B5EF4-FFF2-40B4-BE49-F238E27FC236}">
                  <a16:creationId xmlns:a16="http://schemas.microsoft.com/office/drawing/2014/main" id="{38798F1B-7C98-4231-ACDC-A7801B1F5A9C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iminary</a:t>
              </a:r>
            </a:p>
          </p:txBody>
        </p:sp>
        <p:cxnSp>
          <p:nvCxnSpPr>
            <p:cNvPr id="37" name="btfpStatusStickerLine842164">
              <a:extLst>
                <a:ext uri="{FF2B5EF4-FFF2-40B4-BE49-F238E27FC236}">
                  <a16:creationId xmlns:a16="http://schemas.microsoft.com/office/drawing/2014/main" id="{A1CF511D-6424-4A32-90FB-2BCDF7A14C8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07772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1033&quot; FormatString=&quot;M/d/yyyy&quot; /&gt;&lt;/MekkoFormats&gt;"/>
  <p:tag name="OFFICE" val="Warsaw SSC"/>
  <p:tag name="BTFPCOLUMNGUIDE" val="Clien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YBjqFPd8frSgv6DVGi1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_OEvnxRzwqqI766V.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Q6f2v_75q6OQp__oXw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ggAs0GtCqFKhs3D_Lc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ar_3cE3Rdqgh5R9ml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J52pIS2Ut4mAH6bwzB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nhfTuGlXC975QDWRV8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DHntvGbS5MyzRo269Xc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Ev7BcxF6wD5Il3V2_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oAwYfa73_j7wd1jFRzn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8izA4feG3I46cs6D4A6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5fviMvTKMzsuR4QDf7Y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3j8os5HTP_xjcK7n2g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IYn1GqVQ8WVZDhQrr3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R64fgNkFWnJ6HPSXvJ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MD4UGDBPVT1nhK8nkI0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40ii6j2G2TfXokNAVm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S5Io608qeNPaO2e1uK9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n8rmVKa1L.fbZXU2ZUl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R.rVJ.82Rf._oJsYWJ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oRVYz44UGBfnc.O13dS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VTU7JL6t7GbvTjFAo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UcYD6p0I0zTfN2adhs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YBTi5dncSfPznmq2FLxzTDnxCnXaQE1l2LZ0/UiDOddGLVcD8xsbv8ijI7IUlWCizC1fUVmGYnecoIStYh5kUZVhfi5KH2XL1I6LKzWli7Mc+wClVgRaSHioA00zihjLCzt6jb77kkwqb61/zDHGVMMB7BN7b0ZY/2VZbSz8RAE7wHD7u+P0xqzUO1BJnlBJecS3gF83YddB0kWs7oZHsIf6TW9Bw8s7R4Bi9ag9OjQ+ZLT21Fn5eOqArXmoA7A/eUNGz/oLIhT5mx+A1aHdoJIdbTnbY1GAc8LzpGH5gJlVuxQoWawwzMBIaLhtHKnxu32HJ09SqxWB3/jqpcD17MNIMkazDrZk5K4lRQeFkzJv2o1aH4ywE/6NCpyw4VnuangborPdKtbKzA3cxnhhB4k9KdhnuEomAmIZVJzfSOkqDUPHYMG5eIk3WSPzRmgnZ5RIss4a+U+mqiQtH42YfFJwrDtsaVTnQb+wklGswg92PO0Mo0CdvMOS7Es2dTueGDpVT/4jsjbfpxJX6juKxcH+O7ycCTaGlUi1h55KOGiIeewLBK86dwJrALUhWCeJqdJzcN5X85dEY6pvWj5isiqWbkkpFtnkuYqH7t0JXeMs7xq7wBe7ZWna2UezmrT2lUHWYdAEpzoC9B2h2el4ANZRqH82TxKsz2QZM8C35n7Ce/prohXG9SZBLLUj5aAlX+/Ayeh3/8SJ5N5FP3rG9v1g0So/qqZuJLBH+RBaEh59skL+DJMznRZqGStkmd2InD+DdfBeFYrsJspKAnmbwiC+rgcXSZ9RcLI/rZBSsqJyfy6Hjr+TiU7sCHo49rImITV4ARGJ9pRiWknCe3QMknnwz1tmwNbozpCgzygzy9THNZOzM1ILRcfKVHMnljOJLKqxuQSuEfMDqz4A0vBeeH3zSb2B7BRcrqwAHNNvMjHYvTJP8+huGaGO00MUbAk4cZACc7G405D4GixmQl2/OVaMt8zFLacmqIUjOBuzxX2zvkmYqv+GwYCYCyoO3vCskCREkTp4kQqeucxYhv4sHbTmNIbEfzjIj/4GvaJ+n1o+BK8Vi9HkrGkAAldCHL959oKGHt5exDbYHT9dkjjFNcqlVWnBoTwZkYL6aBUZ/MsHRh2y0waQjgEBYaonwT8K9b6UTEEccfMpQ/EQh5HCteh71bUsOM3I4w44+mSSG6I+YnZQtwy64pkfguV7v5LtGnUy9DZzIqKXfflP10/VBo/n5UeXnl+IZtTrZ6NicSjDdP9NsOkRAMQvlGbbLpjn+nlfBb4lNuFWTQgasFbvQ8cA8mGmON9P2qbjS446Pc/DxAq4kw+uylhPGIgdWt3TT8Wnf+Xe3wBD9kJTh7wHtjXI35flHZkS8B5wkDcWrMW5EvGbTS0SLq4D/6M2eCAXsHYnMo7LXesEHQpVPLdVuMfnX2sYE827Z++Y9BIguou+xxTRRc5TbMpUpwE/nxGaZn2+yY08omi4FsmmyFFz6rkXDfPRMsXSwKPv7rRpvc0nonr/AdzEP0Wv8G/W9odbW5tgAU1cZmNUeb2AlxmF1AjnIDReoHfeosewv2iALiucNqbGUEFNqE6cmCRhYoatzPE4eq2FIFehQbvC30xc5+D+9YptWlX3XsbJ6Kzvt1XV+aKe2bzUWv6zCTSeFN8q0Wa+T+/EqSzp5KVqK8MJ1yJ1tW3S68Ljb4t+O5ZOufcVreqpl8PEK5Axn4cDfaE/VQ6Uhjg/l521kZ5FiHAcbzo1ufqLzDGd0XtLQzBuXe6oLOR0IQeHG7tnjYnKYCQdSp9vzI+591GBoVygBhUjgWfEGJD0lOZ261+3lskHMNrCOJQ9CkD7yVATiCPeLZq7cxT1l9lio8L1Hk78BjEhaI1VrNoAvdBGuKBckddxLfu5mwF6TM8Ez5cp6V0vACB2Ha96ELX/0BWAvuO3ylox26bQ3QH3JelNIccebDMX/Ow535UXjnGix+KO89mTGaOSdpduS97HG27ljRf0Ey1qIvrmfvVD1wlGFQeyaG7+DmbmBHec9OMaxWDziE7XUjNTK8oKfSarxu1kwUOdvYx7V1UflTu5Lot6Q6sRRsdsdTsS7HSIu3CvcieZQMBk6VPIJnRhQK3qWntfCIo30I7I+sKCp3fS+ZtpVIXW+KJHWdRqTmHpeuLaxeyfJo5mVNViVHWsCjpnNwRwd3Jlf5gj+7gqDEs9S3M6sDC0Hxyc2QyFZb+z5Att20BuUINxnM/xMOuvauhjWs2Tg/MJ7c3yMZ4DB21ztYAzsm6w3GFSv37lAE9x8rjyYXJMPIGSIHlHhMnO7hWGfOPEXIPDNjZonuCDZZhA9cFsM2VkSm8wut2WxgBw6LdyvIKx4U60MiwcLNma0omhaAukzxASa7QSBuF52vqNoR86H5qZ/XGT+GpiA6Mv0XzUEXZRiT0r5dCNxK260OO7pUkKhvO1DvtS9K97Fmyluluz3gVHFyI+Cq5R9Slk1Dhisny5Uun+gNvvWOnj7AdyhBht/0aVEEnEW39/mz0JmFVYULUGmH4YVMlrHzbyVPAZaEtvuak+5E0ANvWomo5UvpzT6ONAhTD3iNcTaFi+tPoVy8ePa99T23QWTLg9xt3pKmfwzMeZIC3OpHfbPhPL4o6f9g32j7iqPy9Ybm+kZiBm91pXQJ/l1d4clEzO5qvHqEKAIGUdPS+Wx9CKR7ud/RUFUTEC9OwkmDAnnE6YSEK9dQPZf6iPI44k1HtABH7OTj9mKCd3PFR4NgcyVWgoaXy/iEarwLuYc7wMz54kAIKK6A4uhY+53DFrBuFgB/fm+d4mVWWZChPNqGyFyGA21uKSL5EH61FCAFXo4kxFlONdth8icfrYqCnQYSnSzgiJV7sdCuQFyNa6iUoV/N8GaSfj7QWW51izYsq9V3f3+Jh28fiMEzdIuF8ao9Cb/6kYDzpNZpqWRRSws7oAgKc2ACB1OmfE3BUt0ZgrjWeH+LpWr4Pe2Mj0vW8b2fgEBmF4En907q0HpIAq4s/2NQ9ohFQaIhQ2ulszQVzI5N6UdoqIL6Ns8hMr2tOXlA2oLxoRAiw/5ffFXvBXYgmKx3hoI0QOk+j3P3S1ZZpJVN1+rxB7jzleLn1wo2MR5UgmZskFLhBCKAOLUwQB0d4L3xXVUkHOaqB9zCzZtQPoCqZjSnwzza+S+x4tfFI+h9tz5YopiWwT2AT2zpRqSM7ggfU5wnoGS+UpwBAxqu37O+9C909tkWpZ9/fSICnUXK+2QNKAKKCpP7iQCIqdP4XOPwu/qrwWHqYYmsCJZRN2giLUfpvur1zDztVK332TD2jIvv/miaLWNN8nCvL1CgIUMoi3kTvsSuHDlPN7hPSkMsviazQAK3pOlhajkk3MDcJrpjl8tU98m2pLiUktGMSiVvPaY9fKJhjwnspD57f+ldHyQkCoyxJQ9y7GiUsxeHsenlkXtU+JyV5WCo6FGI0WxSsxqL/N7I3+EgTjqbA/0mYfCF2cdlzdkNungj+MBYlv8iDOK4JE1u+ZhtvRjng7zm2n5jJQijZGH60+IuRrbfj5lqO58JiMyNyf+efxTUdAgKS8UUgAhzZ1ikSChxZsjIP/jyG2EKCdPxsn0Al+1BOjau1vKje/763ny1+GOuVtkJ1Y8NUs2af1jF8XAuthP1Q9m/2kMDdGoCRK3pna+cF0VXqMRChaQxAQzhRd/qpOqdQ5W2JDaQrH2cUTS2/h1aROPgCeh7W9MOoXY2ExOPmVUBl9HSCP4/6ie5sA37rP1cUD0vzTMhoEFzeTi/6iDExf+L33LBbAf9mcKyIN0s2PX1WZOONTSj9WXy62sh7JexRR7S8bezEoexS6X/ItaKHlwATO8+6kOMtczVvO3eGzdAGIP3v6oTAH+qoct1z6+ypQATPYpPYQmiRhwRqZG6amN9biptQ3dFGM4/Hfd+eK7xpASXfKqCG5LxDNCTY2+Ftxw8vESMcqRlSGaGQ4GyyQUNAGeYYgAWKDsxG8CsUujUmZT4yJMwlidYXer10jNF28MGXrrOzeSX89CGdxYARhwNNFUBhq0EqOgJseLnQfKKvRfiG3idkIItzUMbT8mFA6VcuMCpAipbbSEKV7MsbDV5QLbXQ0/wX19fX0aFVSGZlFpWt8PNoJe4qBXY+v8lrVy3+VH5J64ichg759y7ts8fEaCwCXZY+SEFrLP3bdhwtHrDRvsrJCbvXPAL0kOtTEZg0UqFMNzBLdq8JGXNCfOzAVusYXiT3yembMPTUxnsutNDT5ORlb223Vst+IdKaKmzdQ9F0HO64QF2dOFhZx30V2FygWlXod0PwX8dlYhMP+DYp10t6M1YeYZHgBTKl7Hu5JYpKJLoLLLeeFL66GjjIyKQTv6qcIjCZHNqCd8CJatBDJJFdG/f1JA29PvoxOFqxDnrDILT4rl79oQ+MfCNuqMxrFYtyA6V7eRhO/iWwaPBJU51l51A64M9p0V8ialNG7+h46SxU4BqoDfD1RBoETNP4KlFqNurS2+lORN5S8FJ47ii25+5iW3N8Xx4LD5zY5/AC/usc14rZ5ZywCWu8/C2voI0xxT53QI7MH9aWZh6vQ3bwv53XXf5ChDoHoTzZ1+PDAju/WH+2/+Y1GJOKmMZXSvyoqCyaQS9VdeP64sGFS4eX3wgfVYcBYw2eZN2EZdRR2xQam9+L2CXJ2DStWk2EJihMGkxYeFsdYIpDSQUDPdWaIeTIT/wYq1jSK5EQcKwy0aN9wPjCaPtsjUVRo2jiwYOGLlmgKfsrygYN7wRNvlAuNeTF/Sl5/pxnOgKV/WZDEQNqZ5uHR+EvgexZIyRRISkz6ImrbZ5ijO01hCXoe0FBxudS+RkXH1wO1f+squoYJzChaVvxd+TKZx6qf4onGXHlGVmQ5ZcSBFnoVRdTI3Thceslk9SN4E8+qb+sUVhEM8JdCCZBMm3J1jRdDx6Z5vUVcsTJjzkWeRLR9wQcdWBG09CpvvoKETqem/TrG2A+S7R0qbgJnYNiOQv3f2HzG8Nf9sXX2CIhDvus7JqI14SxnTZGlaz9BwfScOMcyBLD7RupNxh6aWDlhRjmntya/q7Vb4bfl04pfhuHZk2LDyY4o4kpsL3krgKVTzRSdZGvoViY+VHIdjloO2K/irjrdEedFJfaExHQthRnWd1aDqbcQgcP+fRAXLsFL77jGbpXm9HuZvtNUe5zWns5aFJVmYl443sUMDmQvWfSy6pU0CjMtZgV5Wrx0ROAfC9VKTM7K9pBq6J6476m5v607bARiYnXk7crU+7yimO6gGJN/TIP/GiSIrKI42MdCDCv5tuuP9AGP+m69EngEtkumwbGqYvJT3lLxHD3EqSiO79ff+r/yM7EZLHuWXeA6eRYzMGWYnyeDewguvFJ8dtkeh4Y4uwGgCEnPbOP0CFogOn+fZfyXInbjSQpXPOKm48bYeLP1fcHWtlqYv/M22XhpKpkahkdUk7R0NUPBxZ7gp8YTWBDkSWCecZtoDmu5QMtWDxi08h3g2i0+YxMRt2CamsqGa/WCaDarRgqUAoTU6rfLRd+0DtiZfmS0JN2WRwL07PeOqGn++z2HbwxqZE1uptKVERBMJnE9nh48hp50FbxzZr9nvW+P2l2dBI0PvsFludjkcYzOqpFTFVHP1kGvQ2b8ANG3YXXhokAQrZFechcNWhHU1WP+kgPmFIvHGDn3Yzm8pVqJ8XqymihW+ai0PAjTkueZH8q2SziHQwPam53RIlgk6szTO+ZSze+UI/kdhlb29ryDpyncREXN10/TGrVt2a2lm+NGjIA7Y8CQYwNWJTlQ6Ep0r+KVX/wqB8agfZ7M9oTQkmdU4P5KNQIbWpcI4c0WKwmq8Msjl6OLKr8by/T/ttT1yNiCm9nhsNWKfWmmCEdAGM1mPX19EzZ+uSved6IvVB0F6MevAV7B4lWX59WYZ3T6ljhBLwqkTUUc/8Aqr/Kr2bHBgS5INvo3CY9K1y6L2fQhiRUwDJXO5I8zGzVjAMA29Wj7etAftVEZwGsAQmqyYd5Bo530pJ94DCDflHZs6YDZ4kNd09cCSkQMHYRFbFKttpzUcW31L1mDK3s7A6CS/XdwIu0N+z1dCbXMi3q5Wpa/FHviCasw9r4mnT92lJymUwimZv/LdGWuI8k2HJzF6Mt6fL50lq3x4TG3YwJr0iVVEGXsC7S0zzZU0r0KRZBIhHotUmf5GMMDfSHIdnl9iccQK7mUMLyJsyx1Y0r95pFdmd4uqmk+kOPdslRGsDUPn2Rh59tfD/F8inDb01Pzn4tJad4WHLOwjsREEXyjpiekZTTk1Uv91zDkgTFYVXTu9e+MacF7yJIxzwOpls+UN5yYCLYCGDjvBp6bXXGeoOZfr6no6ipr7D4liP7hz1aSyXGW1J061NlLWn9uEUKF0PaH3iHd4c2tou8/rENfwiTDGzokU4s4YE/UyWWuT56YFTESpSykSzKXDczitE4MeuecA9DCmS4Y88a1qaJYnzZM5g0IUb9vUf7XXY64yduXDS3BMWv0fzDaXorN/XzjtVfn2FRErb4Iqd0VmdVKft6ARViRkYqlbElVgWpqerjbcqXEbLwReRJuSChEwIJU2ZOVsoTHnjEyeb0bYfWwJ9tp/eqjH8mjcmxc0gebQ2i1LWMmqi9avUKFs4YlECr2sr57u9sdo20ideKhDAnd6M733fV6i1TBJPZVuc1V3m1T2pIqjLKRncml8cl0o8StaV25egOmTrgSvaAzmfqvh2KVJpzVAnwTPPkTkzd9vlrzY3dRXLqDs4nt2qX1eTmzinIx4rDuv0z76dmh2L/V2W0Gw5go/cBIdz4qeP5LfE/66oGnmTDq+1MGvdVu5Pu3s0kzsfNzrFfLgTFLvoMvxIVSYvxhiZNw5sKUOKS6JcTXrpAM/2vb0SRIRful/kobfDnYxEJHBQo+RLMF33ManNcjLtUzb4mR7EoXSIcO2vbJY2FO8LyhpFEusy11wlLAvxCy5TIFDeG3wss72uM66iFcVEjHdQzv6t6l4OUdngnBwQGtastWD5yV00+vCw5VOrcKXHqBc2Qpsg6bE5lwVqfFcLaIg2zUVN9mUXqyw09JVT9G59aC7HdjmcpJ9o2fzm9xO0x6NzVwmjdyOWAlusWqCDYIbXoSMqPbQErIWmNYQuEofUyHruFdTm6R1OJZlFktPc101H5D0DBH58zOS0pGu98WIKcjlxQepSpS8qz8yAqh1V9awDrhpsRwLlIemBsuICcatRjqkRYcd1I6RHPjptdsmYDG+QP4xaF2+YL0ewH82pwdEYzU9bdQAWaPnXf7wTlk7mOqQTVW+U4A5Nki0Q8zuY13JlRsRxKxIhorUqlfn/8W2BDWPEe+jki/TRxE5gx2y3Tv0bvHP49hYM7YlwUvRYs7Z0m5ZW39dJZANKpm04EVsW+vmVyUTq0y/C6OCXNU+yjbE8vjUWFbe0yk1UiBMCxFA8xyBqtSD3ijERVa+27R81AYtR4MqE0L2NwP4knv3YIIG9DHBF3ey3A/ueGhZMr0W7HcPz3DJFH9EDyGRzt1DTyAVDqHMm1lMrvsqTvUfvwDywB+SCQm2FWgYHA5Gv/DIxj0j/BhwI3ZJQd4dARmN9+3Cn/0S/jo8Z1boi7HuYaTMB+5uJ5lEOkvdTC9Hd7WtOd4M7gi39uenZSFnewiXe8YmJ4r9KafJ0/UdhrLarWG8Ngd+9d5JOt3EXpruZkSnHhOxqLGdRNDW9+nmwViMqrmIpc8MHu9DpAeK5CMQ7Csf4em+WVvjfD3G4IUlY7wLFO/8o6itpg945TLlgTmUSrddM8f28oQD2Z9U4KcNCpoQm2XhILVGzih5v2hRo1f5TNgaGzxJrZfSwCaQ6f4utFPFMAP02jS4nAoZ+Ja3QU9fsA+w0hUQE6cIg4aC8j1zy1BRfJQMYFI9lPpAefoAOjQT7vi7A5/ICC1Ve3do43bZ7ERmVyUw67zvTZVTuwHB0pVPIhKqBS7NfSK5EZaZDdUDQcpH4VnkyndkO8SRcWxDvtt1dDTY2GN/4nuqLfyfKpAMByAoL2wM7eNSMWUy+unZO91OXVe8RI2V0J8KUP+krex0FP+iU/R4qg+vRcItYPYy2wHsxA9GcjCVJSysse+dDmVAwUeJcc/EFmJAeqnM5/ZrNg+Dcc/xnTO+oUCzt74rEO1UYcgz7iir/TdfdNVTLQX43NYEAwyfnM6mRzxVQUCc9aIKg46grzOf74d5GBm3+Siod6ExFdc+gwRZHTTj0UMpvefHuvz0ZOK6hcY8Ns4oXRF8UaocOpIPaHC8d83SfHe9hUgD5DLSIGyw6dZDclXYnrRHKkWH15V9a0U7ae5OyCM95GZkonD0l130YzkBJH8bdHlUXYqW4pvGOi4MgfD0DvFwPIJIqwE2TUymwBRH5vucmgV7l1LQQOeAesZqI7iaTR9uLPhDEf2ov3aD9g69XCuDq8xyWaMMFdBTPJTfbA4IWJLhZ5NKTpyD2kinC9bBeWPUg4Qu4BQn+ZOLaNJoiqF3mZOpBC691mWzXYApJvrgYjqU52/fMKUB46B7A7hajQX+W2UJDwdhgE9BmrTOGLg/YQM0eZLHd3WBt7971AH+9rNXgeN0Ukdr1aaQ/YGn/rmGUf86zZoKSzMigO3gitDbhdvfQgDABnT3II5JYSR58ZGJ9521Bqon4yFIbnn2LVRFwWc/pdHuDF9aQcJvpWCbD3p658CVNwQnXba8uUWAnatJmIiY0XpgHrtIHd45UxXjJvufjUyzbyrUIvVOvk+bCCRHSX9VYe5x/xmsr3s4XridrthNvNiRimkSXSIhvXQCMPlf0hVn8G4BNkEHJtjXAWSqlN0QcoXkFPv+9T4Izmgnk8z/5zcUuTBnv0isld3+A2Cl9KCz6RJRsbduf58UDi825do3JleX0NhBB7CzwjEo6kaoLelJPGYxMB7Yg5BQINRk2fk/vixI64x1gkehaEl7X5YYcNBhC716UykiCucZyuJtWWuayN9qYq37VFfkenUWV6f6utVAXZM0L/y6k/fFOcUl56C1U8E8HkywPdND3pcKf+A95HU9IAx1pHlgtG7JoUdoRsbRkP56z9QJlX0kqATrd124bY/wwg5FYn4tPjI5i1OaCea0VKZB2toOyw2eiWPkHrCzdLEkfRcT4qth3qjbY1pwLFuPMVqnlNsFNl3sYKDsvpDK9Q1LKoDjUJ8rHYNhsaoy14HMDN6jJVlAyOs+16+fkjkW7Uk8YpR5qPGSp1rSGS+zswVYdQjRTp9tR0m9RmmEAeeXLLVzsdA+V0WTb8WTk9hxwukcl+MZkvECUdw/Dn1WObYTXfWphXg7/8rwjThOfgWjuutAwDEzO7imBT6DY5hC9B86Rna81TLHH47JfOOw+mhyEenIvNdszn+9KwYJlUar/st9VXUrmQod4fE43kBwDilQyYffPxHnDV/Bhk/X3EA2RNSxT5cD9exgUoKlLPLriNLcSdUrUYx3g37R+ZRH2X/mtsSER3JkqOCUUcsgPUE8bcxCFYQYj6fzSzGsx41pt6EsS0YSpo56nbAXvtAb9BmwiQQUm8+QcRKmnRZ+I+sUz6G0r0yqO5RrDrUVRD6bjIUEOAOdO3jROtnU293sXP6mu3GiFRV/OPrOzTqa4n0sK1y+tLCq3iAKyu1FyTX7TZx5RKhqaLAwSUuenkOWwnbqQdkr8HvPiQJAiIYGXC0BZV8LfQCc92QA4Yeb/9tkV6vsqBqjJrfbRKCtmLasHgkc6x7foIxR6BXKJF4c1aITy6sAQvMx/Z5QnuWPl52RzPCq3/MKOFFm1jiioTxg74ubQh6SLFpPJzVlWudz4JFlcDzMlX25K/b6OcW8d91d3vrCN+oua3Bka8+fX1XJ/Jcj+Ox51aF693dnpnR0pek6eWp6+KCKywXKX2oX1wHa7qChtLdkLRT2noKyqAXFnPsua11O9HtwM8qPE5hllMOVbIZjJDMLr1oFqzdpCtq0LLLt5V0w9UI+EMbmBjljJfBTWRgJO4w2h0APbzNP7ruhf8l5EarkjyeOn9LybPGxOeuibmOx5oD/1MJkrPBRPIPyLRWlQkAJNoOLRYLptUkZEgFIp0BaLE9v1pMX14GzoZfnyTeWSn+uOxdxydwn+WsFZiOc3AnkoeYi4Zdz+WMHC1I/WqjPSjuvksFhVMlZfR3lrJnYWQ0EEvT8ZmUiZbTc7lmrBRB8fKEZQQZF6JqdTLwEQryZQks9HuAEcc4h3nUlWdQ6GBEN+02W+2bypOcL8en/w39vt8wt1zQyl8C+LWlcC3O7twjtLQS19csRaJ70DfUPvthPwYCBIc8qDeUWh4yyGxM/teZixYAS2sewStdnZAz18z//YMqFb3cCuw661c79cuP7EUIaZ9/y/1FQBMP0aebr1CNp0RwRnviwmPLP1ss3oKH3/0jSYzkz/gmWjWZbdf7KZYt6pxmRJbDaUV3ViUKIlYqTNZEUaGuI2rryR1x5EcgC1/zXgCTqQzaDbfCd0toavRllIXXOPN1xF850IzfonXBncHODk2AATDDkeG98rsc5hyzx8/aNjvfTU4LvX0ykhRwu1uq7tYxyndtMdo746MnnTJ2VL3GpMuDn7GigyoUt+4lb83I8/oNeayZnWdqwhcIG1jygeL0ot8BwVtbdhKIBtO1ePw4A3GynwrVykqRMEv/fDWQ+7cDnI9WaOQ6Ud/BEC6z0KZ97FUbLNk0A5HCU7qP3GurAv21lB4+yBOsFL7Ac4immt5s/vpsZWtKSE+CMkqUw5LIQHFuAd+9sN+8QKo+FHV8YHufIUTY4WnutcLSSQH0OlsGad1bZB6WHpV6rK0mr9SRMvX32kzqiHZPTAewFESP/8liIkjs33fTvlUJ7QR7nQqlcvErrb18hc+53SOVwMOFAljwizY9bQIP/s8j64r4Sf1jYHmE54xIX80bzp0jqZQ4k+f4/37TqmURzFvEnGexzlW6V8naB8gCEW/dwoiS5wU1uADNDQFnQPtEjvSZDLq4Li/6327eoaGvOq5vW/30+kl9+OQWP+xYFCRQxtjENc9NCnVIoZWxjhRCHpRDdxK/uNoGXiPshf1vkeTvp98DHLdPyRFqcEuvpGX0Kowot6dAJXSwJAXu3F/VGXwkNNOdeYXQA7zUF7MC7RsV3fj1grXVH0W3E51he2aQhxZL4YFZiMFh5HDRKeViIVwBFIiEykKYOTEytXGui+Uzz9MRWOz1lIrr35aVbQ88kCRqpAhuW3UHLJHiJZI1Ro70yEbpa/ryRnIvKy6jUr0RX9SZvSXGR05kg3/QQtqQnRl+3YjNID/5gsP4KPMBbWZnJychSghTM69SL6ErAnGnitjGhUv+74rt0+kejx5sCsJnvTSsJEvXTH6O4Wzh9BglCsI/X5is5TRZe4z1uY4RhfMGDb2StdcFVZaNiX91LYTj1eFonl1PGutLGQKggniB8AcZxcsvgizAOSnokVbagX4GZlKvQUkAxXkphW6LOgWgyBh1XF3xVlBhoCb42RjOKNsT4wrPGJepaHuPZ16OO9GVQv7wR/AjSsSTMSjmQIYjAZLyKfZu9dLyYKoGXvR92L/bJM1T84FGLrEiylk+wMnRqEUPhqKtK7IP8gVNFzfx1FerHgi51qC239/nnLtuxnk1DNN4/DEnDHLCwF3fMJ7Yobn5vz03Rrx0Zpq45BvAEVD8yCoCH/YknwKcdNx9t6kaH+izoYl2Kd04hkfD8YcgnY3XOCo91dNMP4O0gUXJukXW9/C5TqWTL83hDm65ErW2lvX78t0Ocnwat0C3Q7zJJBU4IPFYaqn/BsVGy5/2/8jzIKGO3TkFWO5OxE6Xk64EAUAh2/IYJ6BWlSrXR6pDuX++yI4bCGnw7b6DY8h2QJJ0kXBDC99oGaITMjhFtmq16og2JE6zXKgWwU674U8HPItFUAdt6cXWWV2T3PI5GtWllf0QKTQE2Tb+yosEcwHTzCYkxAMaXKVyVGcdoJmIMhPAkTJxKKqXzA8L9pL7bd1Ii0Z6pBTCjn7oumYd4TjlpJM5q3udkrGIibH6QdzwkrxoJIlAq0B27pZcw+ZzREikeAm5mHnjwFIhgG3uchHb+5TYpfhEqkSaR/yKsAtF5jsKSk7EtHM5zdMV7jIpa/8I733NJ0+92G/XjQMRdR4EntuzS4lDqWJHGaoI1i/4cbxI6N+ch80Pm+VTRV0QNgHeg9EdON8HlVcQ0D1Lf+EX6FW6J4Wsna7f100NdYmbA76UO89FkYufc84kGrmmullHf0M4uYa5qSyTlGgrUzWeW1aZWT1jTMFLtE8o77Rf5ykFFleFzRkyokeVXy4Bs/b+CwxEgRNJxWQ62JA01EOUfdOckWNQaBDq3gOYfsKFTs1tiSsLXm0NhEpCF14O4sZsdN+QDd27MvdxqcYMZV1G3oFv1NoDehJxYO5qq8i6wCl/pDrax3KFwnqvzJ2j+v8DBS2ihTvYqZRaZ/Ojl3ekmQYBcOrA8juAMei0a3c1OMqhEr6h69/tlCymhpF1YtcOkJDbnBPmm+SO+QJ7IWaW/XwcUoJuXXZHsE0z3PaDoAiEv0uG6knjO0l0SgHCdrc78odV1OXmy+s2aPBd/SOlQX50p6LmcdCUX7M7dqpLOx18IGZNlTAsvO9oo2yNTJwexGE11DgGJmIuoWYaBJfOHkwwXObHDBeiP1YD0If/ialg5gwuw2g7kbYTcqCwqfOqyu4w03mnFhc/n7XN1QFTJaskUfjQMzRLN/TDjXkKWuC8fXiZLm2aWYUiFhqC4As91PFnJ4DO/Ss+PsjPP9R4uBJckwQXxrM+GaFk/yh7gTPH2BXFM5CL77541t/Arm5eMF+VBNNX2JdHosaBGZzkM/myDgUCQq/qBZLB/NGwD4MUHeSMkuiy5CRBPo6Ycpgy39VEVj1wOqhiFw99ktHKWIgJTuVwcDdBvjdO8PA4wvKB6uvuhuaxXOtfHhtuQOQVZj8gbDrl6Ok8VCEfx5qiWtexHGGAyrOz9JyJ78Ef24IE7DHTMFW4wXuy31bXOa4vHmIdmxFGURzgEToxO+As6JTkOmlrq9wkclEWP2uaH/ikzKORZP9wwaiFxI8wJYGZ8DRh6VcnL+Ya/dFVZL3/SusrOjFX5vIHHOxX7E++IYhZ3gYAir3qCIo3CnBJy0+jJNt7ERB2Uw3MQFt+cbayar3OJ2b+h4FwLG04a9OY11krMwe5ywgdZ0FazslqtFruhk4zEYaKOOjFQ2XuN02y0Ex644TjkIqFwPSB6m/GomgqpxiwGDK3GOjWyoephU0GLJ4KxKbyzxgwhFtLbpbyGo3PLU5sCqRmuy5iVRiJp85xyqgfl9KAs3m8B1b9uU/EXbvimUhfQPQYbiBWuBRyxjJuTbiWsTdqvrdlzGG9R+mphqc/wuCQkzJVBAaXI4+FUd0lI5IStGq71Y0iguZWldq1YkhpOrl/AYbXQxYhcOdC1cNn4ImxDayle6dRSTJRA3LVVPsNr+MDtYHtE9G0SyEyyQy23L04vWxmkjLdcL5Y3qKuFQuw7b9zKjtmnK/4Frr1DXLqqcnv0ZXQa4FmTbaGai/tXhOSXv6fm6XvfFflzlZh4ktjm1vcSU9krWpDOeBM1G5Fm9g55kekTZ0MoEeUbJO5+/ondWT5Wug4zk5dm7yFVIG5wje3exhe4CiBi8u2v9iO0Ctu2KDaf7lwdb5AK8TYStWxYWBsBPPeWLTX+PGeIbazjJEZMFKFvYlVJ8x2u2t7gPaIYIqYlzep9BQUCny63Se1ln7N+ZVP1qAdq6ANUUtWw2Qlpoj6zYUZGtnY4ZRxQ7RGbjqaFTbrO0mua8Wmi+AYDjJKkfOhamjL/pum14JMB9WhNOVqArHGGkIzbl38eF12uJMhOWsio5Z0B3E7d/gZ+WKDIR2wb1WIx9m+SFeToJzh0Hclh0kVAieMQkp9f8e4md+TnKOVKwt6hHZ4NV7+y0EXCd08cXGiSbGX4zD+DQwDl25tpHvEH+p7XMNLMfjCNTnr6Q67YAS7/V0uzcWLDK7fLzRLiy7L4DF1VR0nI1mQMOTdT+LS5qdlMI3cYxj8oh+1KW+UZN03ZuuuEiCXoy1eX4InmlLtBuomPylecFuR6KFbiVOhJx0scFqCeTcNF0utauUKm5v0SRYz+pb3E2MEjC7wcJWAy6KhXiE9eZa9voHTYSlJKZy5Y3ivBIgO2YJZUOhj5XIzbyTL/ksyXweBJntKWlwMvyLXg3XH4DNCN8wwtwWNemAP/iTHmr/VdgYK09cIcCIHkDQ7dR8cXw/XTa31IukFsSAdIkezzEXee14IdFqzYUu3qCm4LPM5mRJ2pSFrzdToYgKjpMUf5BOUCVhnqMpM/Rym33492YVqEzobEFF4jSzc1WudBB1cQMpxgcO4okczLEEQSYMfaTP+SEe7aeAswvv1C2UEalR3NxSfInka+6hX8u6zhYfEjb41z+RwcLOCj1nI42VGKne0ggezP27OObwFu8gNVytnH9J3sgHGqdRsHqvbKSo9bw7sgCDQ7JR1lJdVjj5Ufy8e81R2T5eqUD3dPjiE4plG7KCI7Kr56k80BpLFzaLpXg3r7XLGTxeqoUtqVHbwqJoxuZpxVbrwyzYXznoZmyrm2miMEMxZ7DepwFZlT6XdnCtDvaZc2wijWgk2U/SSvJK10myZ+FmFPm0OOoNSNsw9r4bUM4OYeJXnkofK8fqoyTNg6TRz4hyFEg+Askus49GurrIw5wurnH5PEAiKLyO6u5uAdQJ/3HxVhWgWrQwU38IWBqFsN+sbGvocE1CG++REr64j1Wnm7k/LJfIXJutyDL4a7Dj7xKs7Q74zS9uihwDoyKaruDWDHmsF+WVUw3Q/MmFRAp2kZk66uUQeOZZo6Xm2THENA6yhQKk23BTEhDnyCX6/Wprdq++s7dbcmDL19K/J56FEJVSJCsGo90kQufkVS4KX4ZUctFARom843xtkNU3KMjgIbUila7SS+7ClZi1bqZxxWcjdDWAms6TNDl1O0EyzGq1aN20vViH0GjAlp47QFHs1S7gtcYN5lCXogHBzTM0tqxgH054701MviNpw2FV7CF87fS9KDYZ7yWk6UBJhUAN56Buh2A+GOY9BCA6U7ycjk8KBx+65exEqbjw8bmNCO6N4IQjqx2rdnSUWAhjFDqHYGwLCfRk6s5ABvcmJD5YmHOfyE7NMEflMbjNq3jxQTymtLzToDX/bFEJ5NhAAtEXMK55btu54KVDuVDEXsSku1cCwNshNHi9IQiaspzgKZU/ievtpgDeiroboaDAV9qNBa8556sNdi4A1zP0PxMcw1ZCo9dp/FivI+PQu9BcaXI0RiUTzuMq/FMaC9+xj8CiXzdwcQ1ZCjc0XqoBV0n8S4fIj0yYBpu6p4DeH7CC1tCdOfm5PoneTPtZG0PCHD5Wl7eGnzKnRGvwtAHdLY/q8qLs9UIX7f5ynQ6KvKxhoLIMOpavwb6no4bBqdztGwQDAVyHcmbgfzqklZIhu4ImkmmnqZNspsSwPyTsyMVdLAnJTLDwvj0ZTvl8o0jwJ6MFwmTUTsmpzrK2DN7nAXjfsUzq6tBIe9zluAEGfavbpmtX+DBO5jawsn95Jx7624fDrTIeP92DGIi+OHL4vc18D/u628Ur2PVyC9Ces8l0aKhzugQKEBWsuNKf8MZgfuXtWYDeiVFbalM900f16Mv4eB1nH52I/maf7H53l6KPteeHDnzgvixWWthCk2/g5Cf2TTQqrlu3s963zl2FZcUjPhbXB4GekpPZqq+iY4NhFT4kTvm84G0QlQ6QV8ag6X+u4ubAeo+mlj/JPqraxMxFKojg3aHkAc1l99FG7UtFBTOpla3kWzGqJIw2CBSgY179Y3lDpKIZXAZ6KyTOzIjnoIRFMNAu3dWP6rnQuAgWCE91otGGw0gdgrIWUjR39LlGyKms1yzETF7LSAQr+bFqDg581gknL8QpAklp23q9qcWHHnV+x2JC+5yGnzOR/y5XB2hgnzgpMsn5w937LQFuLUbu+YIGeggKrQyjfuGlXbI1uSaU5EGKRxJ4alGFcmFhOJ+xwWZ5+DGaJQtlSZMQNSSppL2HSiU4RgtcO7XBgTRcp2W3m0N2YqDBPrxnfZQH6YKFQo1kDj0xaoEGEHVnILl4IJfY7QjVq3dbi7JE3tCsabvpKtBaFbrGSVdnwLRbJ5yqLMCp2IGGWD22Y+0+Q8yR+sx0FwczEAutiTHF/z4BTuCnHCU/sMsUyBdk4s0bCh56oxi/zVsc6p1lnuRKZd3zfmeBDhu35zm08D7gpZWuS6aw2yIh6g+WlHHoFZWpAeaS3mC4lZ1DEbzmDLQ8ItTBWdW9SOOcM6uuYu/aoInK1fK990kRctTSHP0gDk6FCu8y0iqLWTLZkHBnKOlpeGibzkqN9VPrGC+h/FMd9wUmKYFgubD6UJXKqCKEQSkcnCzqXtRfPq4JMBbsXqGYFUWEttNR+dyY11cta11uy4BA8gufQ8JWc8HdH1DfBEjfGJtQC/OYkFtXZvuoPNRpADribprHWc+bo1UWnyhZatUrfCxPjIRX9zqP49dootMD/KkT6yGPml5icv7oVXv769xaSD28FOMRYf6KNFfMR/CWQW2DXmWmx//HWTOabDH9k9qMK1ELagsSdGtawHMsf3eh2cR5KX3gDfcWYFJHFphAz/A8zzEZxZu46AXWu1vIs3t+PYdP9hq/PVv3HgX7cxcfRTExElrsC9tqKx+VGFZv/mwcwThU7J4fSvTl2U7aYg9xq7OR/d7vvhwa/zBRrXAJpOFace1gVp73Z/mjZ9/VdVuwsuBqB/zg2lDf+qFwQ+5bRBrQ3H+EbhwjEj8hdvHm5q/xp1t3EBiwAixg7Cvej/oyyoEzdTMhFC+b1EL9Ik00Qc96LucfFuvxTNy86STEjNwmbb/CWJRqlL5bLJk3uFpSlURMlEFD3zX/ddOWcfGbFV4s0nGZU8gLj2YlHZuhB2hmzVVrIrUDIwLn2j/ugR6Ubsk+W9IOEojgOLCVVI8CYWWWpcg0NQIhZ7/d393qEojPVLcWZ6XkUeN2hNrsJiX33YRXg6Zg81JE/TJqwsw8hTWzc1HqLWdYSbqM6/oPLolghcvsCOOIRHPcmqTMYHLFYAXkRZkSHGxoLlfehwXjp7Swp2i3xORUpMUfHIM9mhRHg33tFWXWB3EpFj+6TKIED3Ovzhxe/9oj+D0PdW4XIKDIAdSQwLt6VIsoGF/2yumTH3FHm7BNPr0nm2oLOhn56NK4X7DjazObmFTyatUdr0ZuZpMyWdOQsQNb/JDaEmP+nDLQNLMfUic1reSzj0x2lYgJJMWKZFV0He0oNr+FaAnOyB1g8HAYV5w5iFnTFSNheH7qwLSEvvXEET5Vsr1W5sqcrDbBueXmFl7aHqev3enYv3g6CK5x+BfsyzgGBoukw6HOAlllz68gq6a9B9FkJiqBSRu2o+jbsDLWXUBBCWHAjwFwIAAibnKVbKBXiDOgoVqjVYO2DP843LKbpDM8RE7p56CNlM7GEYtKPlg3sYuoy6m6HLn94+ya6necBzaAjcBnEytO8AwU7D1xPaixfiVBXJKa5lX0s6oP6B3NGrVNu3O6NxbZCl9LgqgRtgFPk0ircvn6lftuqw54lAHg/nOqdhYwA4CLi5xK/ye6gRv3RiSeJokw1iJq0wTd+7HOlqPGX5o89ldyJMCh2/Uj/w/3X7NPxXJKVz/RXj5QzokXdOM6NrxN6V2I9JBOSm2vwBH269b6ohBUbUapU/jlym5mCQAVQV+JZF7ZqOfrDeQrypcFR3rIjIt9c41HeoIhqt9Nfv/+3YXFMoFvdpN2ewTSgKaeFE9opk3Edgru59eER3j0PZz+nZaPnI006G92Bl/5z9KtoZyY8Bzy5rM9ZjvzMsFvOWvcPWnBlfxgdUjljq+05yuafMQq6XpZd41Ph7M1XhbXku9hMN42DmiBb47eZRbXLm+DUcx+XJ7+8wBppVFnfNjsq7mNTh9dxcFHC+O6hK540Zjg9bXWM99qrN8uhY5KpDNTU8JOsJVymbaeyXkzzdOfYH9q4nqjO3nGBp8uLLOFA1v8TgNyniqdTGMk5ILHVwZ70XRxZoIvuME4sxEK/hcFLPLN4+kQmUW0x+VoKs3NfUJSiEzsQKQu5MNn9w0ZHvU3C9+j31u/iqGpwOhCsfkr+/HqE3chOVV/HX4nEZvcFz3IcLEj8Ict5sqIqfR/yU7O3CX5XQFdngi9YScfOvNZigle7NjtlTznLQBQyTmEvj8ZjuTS0QedU/Jh7LW6FRsmySLFkuc0Nmra55okvM0xO1RA1QLiHRAds6F5WeGxU8BIIZ+JL4hoLkOevZ0d9WSLk2SunXao1DqhFClX1qCrledfCzQ7xYyHOaqE+WWiupvcsmcavm/qsvXtUONe7wa/n3FVhUTFImDhvUo51lOS6VecnGS8zPdfvY6qS2GOsY41mH7iMswdJ9/ZYYJqz4+ewEr/hWkl/zIvDZFE5T2B/jgpiDE5Bg522tonpprnrdLqmRl3g6utBNgMrXtzBmulRA8VSzNdUYSx8SwszQl5Bl4f5g08LrC+wFWGQ4OG4ro1tkfRnJ2hk1gAYJgHQ2EXgwc3Znlb+cxkFyZGgkgia0zSRGYzr76FQZIYTu8aMqPDAIlGZhgiq0AVhwZN3HziY8ruUXWiMc/NsI/qXxtX6AbUkTmypDwCUTsK/4DKzrdGe7DhJ+8vTP2cFJfLYmPUBGvc0K8zDt0jZA/uPNGHQMABtaPvpML8mVvrb23Hyowu8m/JOWhez9O7NmSLnXT3PWnC9WGMkTf9YSuikNaKBC594Yfc3QHa0zhvSfBvmfoJRt6hqZABzInhxk11Dfzft+WCcjugUHWaZMLu046vDjImbuap/oNm98fsqcWj5N0Wq4cA6CeBRBGf3Cl5iNMqruiDscRkCYz+8sVbU7PAddgwEaoYkN7op/oUUM21jtfoZVkcb2Q8CDuJHhbPqil/pnbSXF5KCBFHy57lkJVQA6cAF4EwDILwnT9wjrxoc7l/ksh7rvLuJBWVlK8beHGllTFtgVfLrLMlBuHkXyUG+IPc8FC4wM0EP8iD0XMU10MusYZBrQ2Oc8BWlqS/OZHxLoSS38S+GLSpJXzZsTAsauJWrtfIIBsVPe7G4JmMBcNlCk/Bj9FU5Y9Kt4IYsoutw0yEU0rnTZ5WybBJRbaiiT8F3mDmDDs/pxaqbUdCaXRUoQoaBHtlDE870JZ1VFKGn04+oHzn6PBJ6l8SEAAxThaBJu6bDnzND5JMRjpt3shohPYJFZdHOIpdnjvhTMG0cxuKbvI5eVP6x/e1Ltw3uptCfwtqJGHK8rnu4ejr/HTvRx6b2lGTlIs3/r46IFjJ5aZT4kpN1Atd0wrLuKQBE/LOYHoHgA+MInn67d+7696cCffB5H7BVgr8AmlI5fo07DUHJPTYnqjyk8tSW/DWsnxyWgL94FylGdSdpU6pFJfNuoNjrPvWlRztTmCKxmbWmVfsBX/RQ9eDwcJK4PgRV3yxkhOw7WV4ENiF4Bq7q51soufc9uPQecoaFaKCICPkMBlcaVlKAU8svuNsoTrjqE8jPS89FYQ2GFGRoRxF2nuzRprr3PVfWpk8gnyMiRHOk08HqTthU3Ky5CKKNP4wmw0/uQu8G+YYf0I15afEbYbYPIq94NYMLbM+wNi2SOJu5PtmmjXtnTXMpT+cRj7a/2IUCIxqXkHegU3tpIORxLBsAQMLZCu+cucsBypxOSdn68G65hLfuYKnB+pugTxiVwJApMW8241+d/JHJ9BN8TOjkxt3wPZn+4sPD3lGXj6EVUP+Zf2+V0CZDg+gNbSDL2/5xDDyTr3U+EWbgWb68GntVSLc55jqgI2MnU1xAjkw5OCgC0gn3Ja4+IHvPRPJcvubh1XZi6ILYASUG9ZeicTRDRsW9sx9viGgR5Ac31Qd0Lf18oYRIHSKvPQ+aYpB2GtW5WGn5c7J8QjSCwhTbKYR0JfbWFmGB7gcQfSmxd9H43oYc0A+m582/9n/8FvNr31J9CukUmYy3B1dWIiczxQchMqt2TPyITpq4eq4EoIy6PpYdd/pJ26NYmM5xVy7EL/vFYFEaedqlyH5Pujf6w7hYtaeaieq1ev+FHYJDzi2E1PKK2VEbY2fAmhGhRFLgj3SFRM3aSQ5Fw8dVP5nK9Mh6ENVGRa/UmT6ZeoKi7pJqzmd0i9rbRz2Y96om63MhuRg8EMXo2dw4/csr83701wRICyf+qL8A1fZtycJO1DbHCJVqZRYx9XPfTKh9cgpFyYyl/yA69OcNp8oleHaYKnUJJ4NQ+UJGCrFk1MDnUsiiHVWuQwVv9kJY1zb/JjcirQCTagUSJZVknh+MIAFk/dYYT7eAd/dg/cm034wfgyAEMMQoo14a5IV2DP3Z32Cu6T8Wq8zLUnPkzwTphpWiwS/WyuySY1Z42jyCKAOAxs7uBcCMANgSrqv75QVApQfSP1UV002nBOlaKEtXqwf3IhbjagnBhiGvK8myz06TD9ENpSr7GqXssLIOeBqIYokukiPbOHqrz2zy3OzrdVwPCd2tlW7/xJqkF7v6HosARuzdPjSxI0TBippUYtuRy4XNyLzNrGHqb8+9kYQS4yvKU5lbEvKtjm17U8zV+iwBeDz+j80l+F41vl7XoT6kXXgrs2LcvADnVbqQuwBJZkSwHuBI6y3+yAQ6e9Kja+9UeS1z+AzjgjtTvMFhgHOtzDlxXKsDBB8LmebdL46Zx95n3WN9EnuBPhlXWbXkIaqpRFTygweWk50CgZitN1zOyIt14+mB4XPwb6ILM4Flie2Mg1stf7+heid92+PXDD7k5xdkYj8eYcODXcRaY3OfLG6I1DrTZYUFR9zE4VH+6jYh9W/fMzzr4Z9RYnkcjgS7J4SF8vk6KPRHov/h0qkot9fQibyG4gWDSEaE+CSFj8lmCYLuWFuWslCxZSSaxPN+CIO2xtIzURblE6M2s6J/+BSI4OMRgFCm9R1TtGkTht4C435hPoU0uVdQCNCeAX4GNg8qWIwcrocEh5eFcX0aD8oL/gFQNAszfQNbA6zbqU/TXA3H4Wvkd8ZwFi8tSZfVTmhA82oucz1PvhAQ1OCfk1IWVk0BAgbaCoyIGK2kwev1vEQR8JqLj5gmbba+5AcVsDu4iI9rB3mSAgftNsicAhaX1pGWS1HJEgsZTO0skM5zQNTWDolvju4RUHqNuqamHWD5ILWjtp7WBcwZK+W20fk5IjEvWywsmsu64jQsViEH1bVqwbR3ms1i7XGXNwnSA9L3rXzu/b+VitsWbIXZ6DYvOQy7J1oBrHDnNhe2pvNlEkELZHhT+4w4aU8XsKNsJ/okXLS9Fp/ZrhdMwgMjj4ubAqDms4BcRZBPRZDaLAktWbfAGJ5qD9qBx2zBONfQn7wEnnhuk0Bhzm1hAPWySV2aMVcZb5/8BYdkqbJq2/QP15fMEcMH5iraek+atJTtpUck+J9niVZi6aWn+9hDU7+c4EfstePnlMQI4jqJwti+YQtrkEIaPSoX5dv5pAYkQFXMh+lZ3RZxK5+sszpS40J4WN9BSaAftyPgH9oyB2RyGG/8CLTJHrLQwtemZen4y0NIZ+gSgzpCAjMDfvKFGLKF6Av8uhYEZFWxz1btmQxk0tbegamGiqvlEElNAosfBTQVrvsFysP6D6RbhZdpst2ORVPFlQy1YY7ZjFbm/NxBC9azr8p3T9tnqglSdTxYUHHTBhs/BaJwc3KBJsqKXMJ/9ef1Bh1mY78OGm1S6EDG28ccAPTeKNWl0dwenfeRuWEcitpauvMc2297rqYpcS0reCdpXOwoHWo1gIdgHDhS86TlLRZ29K40fjM6vIYUCvzwerICak/EVRqX5Q7jydeplbahl8XxUMaTD7pmvdBsXPmcJcnV8yE7dK9yYWVnZiq6n5j05u3dc1VCt3O7itohMzqvyqkZqspVZXAp2vvOOLavri61fWbdm9gTaSF0FxUoFMCBZmHctmlBAUE7p9IbI3oiX9uun7sqT/JPOvJjscfUhwNLK4Mm2V6CBrJjnphxNl9brHIP12owBV2SptDAi6wMGjxiCMf6if43nz0Et3nE5/0HXTTnaCc2rLSdkdgyBcpiUwUOI79DbfuSKB6WsqHoLZjdZwbvVBk3tndJm4bFadVD8pqO2Mp4IsbMulnJwtNBH0Xk3I/TiJL73AyJR/NYCBp4Jtj/ACe4LcU6lEZLoH+QvSqU0JswLu14/Gx9C6b0WlJLZJcm5mz5w63k56l8cNSsgT75qk5aawgIW6npRTCTzcgNVb4RE/koJSgwiHT0gaB2ad+E4whI1Aw59sBBug2ZxLk8+r4M7zrX8tFG5+E/1pNbymkRn0Nj3LIiWkrXsxcgVohQgWGlc+v4TT5AWbgjrs3TocQwA+dfePfDdqSwKe8NjUqHE9ksZMKeMNNc3ME4AorU1yDiuUim7KP/aFNA0VKLMYxG6DU/ybwdA8QKxjH14bQ4F4o+HA4XT2rdHgm52TnyNVRN7EAHyc0HPl8fbJGhzZ406Jp2f44oIASM1iV2Fyr0t6Ii4adJxGc3y0DIo4T3PQGHm5uoJlydmqicIIlDREwMyh3XbdzMhO7WfO8nkoCgwApZNrgGZBSLCgnCbHzd9UMhjeZuhAvJXkPxBK2U+LanXFxENdh7r6lPPbqispLFX/6oF5+Wld4r5S3L2+uQlahQivHxkCMiolPrb8B9Oa5vWpx1bdLXJnIRUE05ID8hFb5zASqzHCv30rNYySBkwS72pSXxEfvv0SHtazvcup7WF+P5Hah8hOmQEmfOOAfa7fi/zwfYXQTZXW3PLdmrGKhYK3i7VmJ05ydhewWyt3YEK3ipTzTgBx7hPQZZRpyTVRPZOk5CzdTEp+OV3aCWSFJCE2nAkJ+G6j6u80fSUSXqJNiUsnQ8vBBPeZlGhxrOLw13yrRncJwjsBL29WCL8v8nprzh89FgFT9H3dqrwyPlrGp2tmtT9JXh72cmYKXtiZHqI2seyJ+riK7N+CE1HlWD/Ia43e50o5FO6BRCExeLX5Psh5RxIqzm65OWg98Ay/fiLvEuDAuNnjM8a8G8Lnu62CylPg1xk3WXPSAZL/bA3zQSIwgZfN3ba7uuecbUc8tcUTmXv5Nzfx1ZPsRYky/voQV14PeJpyrEay7lX0o/O6zvPzUb7kSoZbs7iIyF2nTtbVU+6qTKrXWcl8euF+0oYhcM3IFttD+DBn/sRxr+Qof6vG/pqVK949Pacm82SttforOcfkUy3/u/t84wRqi4srhM11xeKhHM6jW217FHgCWtF6LiORUba08d3rMHo+0yH+yAzieLNRvz2y3HbT83veEDUUnvdbv1mPSgo5+6OPnHqPUWiCLCMTP4GQ5gtwtWN3GkKdsRJyTJrhuxS+oDjWrEiE7pGdIwhIUooAZjHHx0DQwZLDi9Y44CU8SXPhj3cFKGgtMjSitZtuY/0BG1y7ndNcazawaZvX91aKx6Y4x2mwOD/KCwY7lNicco/ytt+TFvNeduxj1TNMj1izZsmVbhmkoPbfnHib3iDKxyL4JulAuObe3y2ncuU1gX5Unao/NDFayuQHjJVSRRZi+6VNFixpHU3/KI5yVgaYQ1UDuLO/n0RXbPmiOl55kCvfu2dUUVddv/tJOXTO/LP9pnBsdiY9TRPvQyxsKXOTTVY18o6KjMSeBpSRVnuTjqX/w41j1VfBEvjVjwN6LSpRuYL3A4Jk41njSO2SyUgiogf5TivLUBSZ3IKHp3U1/H2jYvmYYom4A9Vmy4sKFzA505imujSCahDWeHYHscbgEh9bN0Rn8hQoJ70H9DOJGkyBIMuVQeAGLwXEIldeOybFkiZfPoJZ2EHLAgV6WSMzl6zGUok+yANnYbVe55neh4cHbr8pv9Gf4fpEPpQGmNcfqxlgoqad12Hs/J0Mo13xK1Sg87z053A7D722m2wOsvkzTBYoiDqU+gZ9hASif0dfNufxVF2GGaaICSQSo1S8hEYEj0RZ0CS+mBGz2Md6DFTp3Q4Z8uybmQn8FfTgzvq9J36PyDWPyJTg0/gXahfa+MPnSnjpJA3v6TmCoJ/0NBAMB7WEyx8aIVjn9VzhB/3Uypaa4LGhGxJlzVFe3ZzpMJ5a29SjEH5PO0DiMkk2STCA+JdjPAgi73cD50Dxw1k5r7D0zFh1DMgiaVA8m8YPr5miun7K+sv2i0SmWa+12C41jD3GroKuVypcJI1/zTOHxaXVnVJVAB6AjsDZxQqDhvuP3I9FTKT/c0LaZqGg4trkMoREakx2qbzJ6cqVJerSqxoUFNHwygqtspGmEwEA8KP10+Xb9iCxJ/JejrpS7ZfDtkJLfLBfAuvRCAa8XrPTi3veMdLx8IBOCsgZ0Nh0NYehZbQRoGryyz/37e01GRvmoflVK9Hbi+j9t1xUychDFY6LMzA0aA6W0cOiwCSlIZD+dxDPO1v0LMVbz7bvTtj2eD0GhpLdoOTiAwy1Eqs187o76JJwd2vrCty86/ZAjG3nr+RDX7etqyW+DfouFAH2578iQeBiEKOXtNXQprCrsFviJwg+J7W0c2TZi6XEAfjR7tG7ocRz2IWZhyf+9R1cfgeJIKBKV5ej8UhoSRDvxgLV4UoFTggne3En4g06fVcuWVnSk9C9/Lr1+aCmcFT2wRPGz2rfZKE2ZWhdbPXkjbIp0hwgheOaRQus/S1yfDO0t3UfyALMv54pzV0kejby43kBjs89+AgUoRFQJf51DOoOQ9LGXTV6fKLV73bIjBHyAym2Z5xPrF9cGa7ER0ayGXLS72CA3nq5Ln6mFTq8QYJail23ovfbw7T5BEZFHCNkDscgq/77tbGIFxgZ/60a75MNv2KvZ5Dlc5LwzXediL++acG5mr3vybDmUsglFRMqubJcrIig084ZV+9X0kVkIO3V3TeerAfFa9T4SRutQmAo9gr186wB2BpBcuHPqs9/TIJ0tby+ZT2jNoVxKXcuZbmjnBOdy6tT9BL0YDPkgQfPcd/Ui50ro3pLmJxshbKfPylCrUt0IkUthflcgD+Vv+o9MuL3+5/S0jSJit2jzEg1x35BGlkFYPbaYrglpCQbDnlbJBpZtVjPDFCFi7vP3lcATWYsoCXL2o0NQYA6ePDTmgYQOS9aMwqaKX8jzAHtgP9H+hazvNrZyP8a2yb8RbIO99bJutC4wmQ6H1FWIUOfcx3uxVjN7I9H6PnCZUBL2TbPhzhaDrEMPRRX//iEKzTTIpg/qL6LlVJmOoHA6NN5lwH/z7qY2J97MIKnkIwwHLTW/SH8B9eTQhhwiSMl88tYAqmHmynQUJYa7T2bKdzrPO7/4Hp3PEjDOXtW2d4CT4vVjImNksUn2QHhaXVC7+eNT0IkQm7VICX3mTDpGDrcMDIHpaShQEHETqYZwDn5qMQLngf1Y+fVcmOBj7Sh9D5uicD8oeo6BXbO41Lbhfmo4poFW0WiqrbQGLwBzVw+C4IMxxNx8KPyjK86aH/InLicU8n8bsC2BJ0GQVZ5mUmBxbhRH0xGty2w720jJ4h4s3MA5AS68caNsFWjLIKqns/WTqY1o9c0zQLMvs5zaAV8NCvQFiJI7FQXv/6KGpAplmi1GXzFIJ82gJGAWQOfvjeS8DZoSr8xUiCbrD6C1gD7TwJOzY6p5LEoPr5k3FKl7v4hkQgO8Hcs4TNQoIjGIaM4Au4UDuGdrco1Dd0U/EcIOEyvcjGT/K0v1QwstOxxabVRSXR64FWUvKHgH54E5sKkm3T4pP4CGgsSxUd92jCQgBpoVJrEybYcWZ4JaN2StZWQws+OpvopKo1bkbMcXPSXN+rsOR8xEBmsDNmAanjGHgpisbECKi1s1J77YSMeK9gLoQEtBPTQKLvIgdLh/O/pbOq4o4WJu1MBrQuO3l+x/xDQLTjwVKiM20yqNfwyWk37SRDO1FlisvMXfvHV9/XI6IjXRKnxOuBgkIZrh6cIwIpX6QGGrgdn0aK7Blnbnep3UEbY4qiPWLnwcU73Q8cVLNhF8jtNIJ3D1ztpHVlK3sp7+AUERSmvOfjF4vfD2mI/uaOcFfOlXLvFeKT83ly1lVDJvEjePEmhRao2DIoWp+X5OYJkqWy6F5BbBU1j3aOdAestGbJoqyjczKHWwSp9rRCwrjK3rmwD5CFVDOF5NuMmDe5YDT5xpjEII/1c941YXqxaZl+vTj5kHsgk+5mQm4OCzL6NY7B8hF7/219lG4Q7/cuvvhkosYL83Femmnggscj5yBF6rCSHVYDuok2/AQ4dQ7285A16mVcX5F1rtpWkFgbWG3ZHaM8uKOxKvYPtHqtAUiJuZyEa931aCy0WGUo6bRio/pA5cNbuyrwemEv1Q9hsDVZ9yzZH+4vSKQ19lexRRe+ZkAPwzwCQkiybm1BRJzkrvLWjdR71ZIOvhwsBekgKOMY4K/YG5WZL30TnlSUxYJt9L90IikUojEpjQPUbuCqZXLXz+pWfJc92ShxrytTWyesqprlKOzrwnQqmLdWhsMspGphUrWNp52GkNrGiCiuUrn7a2yQ9WFwgOmm+kESfAzCM0/PrSVF7Rl93FFhG2T4HgB8kCkw14YD9ndCR9578xJrFoghSChteuR9Ry8mFGE7Y+47uDAC1XmUlh26fKIS1KorpN+3hiZTcdEVYM8N8Cl/8I9XhESWnrSlDH5wy2uJctI9SMk0bm0yfP+N09xhPgAHa4kiTWYWGCXHBVVw/Ej5MOxaevIPfpGwiHtSlL4722RtmiWKmCJ8Gbf6OOigc61n7FbabZVpYW/vrreQfy554fdAY0BUaM6TMrCqy7ioz2rbc0VdmVOjTG4s8L4GHu/jJLIYikgGkg9yJNfFR6VwnH8iC1oQBjKT5OFcsqP7sLTowoP6FOqPkgXMNtNLtQC3NqntE/8CdAaYrUKt9PHvulovJ3ZJuWFWHLy4+UaPfs/+8xRe5Axr0KCNp0JCcZZnblwwTOb0YhS11f5ialwz/VSs4V/wrjJHAaJEY08yJxN4ICwBGob8i0DLf8kzdn2/+hMmEd7rZYZXTpHGfgB9GpOIQquY7LqFFsi1CWUFroGwTkhosbjXl0NtYl1xd/WDPZlERan2hR8mYcGH3Tig5GSAVLqLH3nOZnAUWNYkDUS8QrH+bhZSV+FKUz9Fgv1DeY3qxTaCYakS5LWyzKa79F5S02kcflarZDHqRaQKzDYk+Xs5GFGKjE0CztKCrt3gc/3U9u7V9tPuQmgA/J7D5SUoHhAvObWSNMXjuPYu1KOT0M7nhDMPRalycDMFGtM3nTtLY3IcT9UVgMVbXs9kNjuH4F2Yxb7UMESr/mbFGDu0y1DVsEK/6qhPR0sDAiopsy7ADwoBq0ccmxgGijwnkzahfbXuUeGtthpCbjXQTGZvnrgxPUmqXRIwfYjN0llvZF3OB/nAc7Ak2b0Vgx4Z6mBp6xBqPuefuiuU+RBznLyrDwBDcVgBbmz2H++WRuEZn5VC7mvAiIU8xKUcjnyxsSwad2alP2oJV0LI+VDbNeDpgsEL6ll2iSf6T2w/FM51h1V37XnlmQmk7Px8XaIyCeaDXS8/OCb0H0C2YZ9iCyZJc9bPTPyvaG4s6MTXC0ksjoBsa1oYSRUAhNK7S+Pn2MZZmxHXA57u+Nqr5HGTcAGAmN7XgunXn4BHr3vTi9UWIlnMtQFgHbcof5KMaBn7b8aO6bQsf09hHa80G9qIweFyzdADoGlpg1pCWhupm4iQY1LRvbySn7+vME/dMLDW5I3Pa31YRNGCnjYzt3fUlpW24rYKksSGUCOChMLT51xrSPUOl5V/5sImo5ycBVu+JxtK8twt+sWWTjEQcMtr2VyOkISbPLZiHj2XraYBO5UuJ20a8t80KDmWapqiKRWVJ3NjYwgbw7aRO+/E1hkhRHFHakjekeKhw0/3T/hPAYnUlPoIZb53Rbyxpl5pdxTjWHZRzEG6Wf9NJjtatu+XPT4GOIocjreIjCc4fQ2QRa6zSmCu6MhZEMvcbEnoxaPZCo+++9CTHhcfuWvA1gp10U+pEFocaibpmCCzdsfo7dZL0PB3/B3sL+V5EUUY6NfOtT5D2g+72Wdchj0CW/t3MlcwNID1gq651RCsfUv3wzPREOvX6fV0yt+k1wjMaJTXkU2UbAbGeWNMoMys8PeC2O5OJ/BgiS0zDsceZaH4WmmLVjBqP6JPYa5ZbDhDWQKdDv8T3GvQQQUFAuFRmfzYC15yUJMPhTZjjnKyO1Pguy6tWzRQ3OW4IfbsjEp39XGr++9h4XpZI3u7YTj5KWC4o1FsTKenI8+2N+BWDjxk07IzO3v7tyfFPqtEZYjs756ji1AxV5fAvPPuSpQ0aceenDdIBqiXDGnUU7iJJniYw3eIezOQxhUEwOkD97p8LoYwe1layK/881xsCT7/j2XemxInXXIMnddsxEs4BtpgViD9S93wJidaLhHXGRKamHXm72xTf+bkJm/v29kTeGo7nUoD56zK/144jPR8gJpVqt/A3+2vRM2/oPTaUduwHnzI3DaJ90S2wtnGWTQvnGMu2iTqPAYwOBmCL5LPrsIjsdNMuGZwgp6nZbNPTjZm8Gn7YRwsmNqOF5AcH3/LybixmaME4+/wrb81ep23P/5LApvJYySna9LLaK6dViA6OQlBr4SU4Da7cZFpUd7MUHwFoPI+kqbVzUBWZlhCxc5phHCQSJE+6s+2uqTGDrDWMUcDUgS5VWFLOhnEmrywIN6ub6NoE54BRnhk5Bpp7PnNDAt1WezLHPT3+Jer5vHiYmTjvrK1rwC9h5o1ivT13ALEJabfmb7eYaDgBs8g03FrZZUbVtHFnDg7iLc0xpWGcxS7VYNZoD+M+ac52M3/iS12zQ9sD6+tFnnI44W8ib7Sguru6SSn7N7JBdSv4jmWazRpheCVqTFKZte1KcclenA3FLoRhvTWhZCc3ricH3kcabs8GtgXDKjUw1pVUE8mZBA1k1dhnS8FmX4SbH4Dgu5wYniQ4TRvgS3EdBkZc3ecLaqCwkWdFwzIzh3TUHwyfYgcGfyXmh6fH3EDZHAvGVb77DOOt4+q3GO73TJPwr8cIpu4+Rg+xr5faVd/qZkCgWl8zM0iEHj9xtHcB/bql4NSBsmdbjEIa8/xdiEwAFF+lZwO/uK/w6T4dWKSc4Bk1+ekGTw3KhNsNQgyVjhVL4FMh1Jjwa3hk83kmEOiHEANxP7l5XPDVXAW1dI7UWz1k4Uv9ZXDV8oc22GY7lRVbS2eo45dtKEHH1lpOQ0c7YXtmEcW6nhxlNsDks1fB8AsNg9GNzm+wpqwBZglsB6SX2E4gnsnqnDJsT40MVpDrr/drX2Xepdui3wsN7JmekHXP9fmlpWI7vR6Rd1LqRaZJaSXyBKT3Ieja7BPK+SxDYU8Y4LmOJspZrP2hzQQdz7diSCw4L2qJH1muLERwsaCmhYcAQvZZ9LDtEv5h3hAyNOgz1VU3dHyZMKkd2vURh6nG33GJOdMkKjiyNHGrvpbsm64i0lsV5/SYvHpf5TdMa7YpdQQIrz1wd8CcyZvUfM1ScEOh+Rx259hUL555QeeD2Kt/Kd+xI15p3jou0xbIFIEpQiT2z9rHQ0BwNHCrRrpb2Bf9UboMhPaj8nl6fNyGI3izq5rzXDETSx/pnl8hARVQ5bheRKykMpazEhiFWzB7M4c3loybohUXaqsV8vWdSUGcJa3BUXDxGSl8JB/R1BVrgiYCViu4VLKVPJ6i9jDlqtedqrpz2yzduVPylJtS6J4wp8soJPYB65v4Ff1eSaLe1OMevqsEM1Jb3/XADMrLyuGKLNR+H3OP9/mVvoVdi6coPbQUz3Av062jZaEEP5OY1e27ZxufFfXLeuBKTZpkHgZu+zpyHFmSNgzOCPCAQA814gem+6H2NxcqiXC6/AUE3inxv3I72kyVu2kE3dAtFac3Sgls7t0T0LXZU7PQYSV+losO1V0t5DLbOx2WET0NaKvASpyZISN8C+Qe1iQayA7twxfcG1Jm42s3hC1fUlJ2w2bpDIHpoVzbkBGVKzK3QM8AKBffYJAdv24V5CvoqwVpRq3tmdTz0aMWeUaoM0oTTZ8T+PiQI1UQNMguRrtwLrPFVIbK9EVqSvCfAjRufkKE0UvOfl+1eNi3L0eQ8axHtx9IDY3h72VFvsI2nlixqOAtjLD/gISc0nO7ojGBs8AZIwcRg/FwRYc5Se3gcm8vgAd1DB76IO/QJD9XUPHPNWk+Poz8bsrp96MzrzUbHe4TPoZbvlNw0r2Ap1uD9AOXTEYaQDAg/OWBySDV2Io0ea2wfRBwNU18uKOPDHyGpfhtOVTw4bnR0WOJgNKMUbAGCquAt1dNUUgyOUl2Mu/mPu+ogR6Zdq9WJDEL65FpO5urNY8VX1mQ6HQQWADVefHg6V4iZ9Zykf1A2HnWUUluBIp1c6Z4cA5reGOeEKwPHxbHRMZUYT5EjSi9A24VwBohd43alMBW0nPVnN8+qIxVU5z0Khpx6CWH3SrBCVFSmFuH+BzXjjWYegJwLwmEzlHF8xQOeQbbw7g7QhO4WK5b6MMbmAMzLute7SWC9UH7vtHhyZyNzm8KQyWMVaKcDbdVBIR4YxqlHVCKcFzumBpqLHadMRUXJytSHQgO/4D5BFbFIl/7kEK1ZQYgR4pzro1vifq9/wjETNESMMpOLF+lEmLbd9GBj70nYRqxNALqvCQmYIcfLsIywWsEA6uzDrLtdC4l2O8ua/gMz8vifeD65FLHqhSEBBDicSfB8ZBWIyeu4f+a00AmkKz5LOOhsJDBntRAnbuai9/T9r4cEPNWA3f0tBPODRqyNLQZ79YR4ApP2Hje5bWeHX6J944t5O2bRo4u3pjshbL01cXZ6vdtveJ4KAVNVMGavylUsiO3TJdT9O7JjyuA7vzJM8nUUdB+tLEzYuJ40SDZdkIQV0FDsHCe204QUX4jML8EPp5manJ2XsA+Qa8/k0VMyqGY1bOWOGkWrMjeakw7bt1oSYLFg1BjBuvoIf0mPF9+3Ar7PFeV5CBQEm8OruIePWdR78MPzcfNHfqVBNHKWnqGzVfqhoEK1HiL6qYscnG/ecj1R1479a07aSB+4gTkP8n5SVXLBRjxz0pqlzUONi6kOS5p0T6rbsL6Ize1a94cCcUhca/52Ik/OG/J0VzzzyqdtX24TsH8WqgpnupSc/6+j1IX1D+EdtYYZUA8b9GlXwBwi79IFTmMTBLumOdfLt4WsALtiDpZ9NMrM7gWvbUoCAIKlybdhwPkXI8fvm1CUlxddGoKy2qwT14aoYixPV9kWQTu7fV40tRFWdjVlhExxgXyDT0uH2obXwN2msZEO/DRn5mMGfbfNJpMNnaKMZzdiMtoBrfpeebIvAcHv+hfWoXNOMPoTReK8FEM2CaEAYlRER9f6smTDxAYehl7/Wlm+g+3pghUjxwyeHVIP7+pZtotbRAmskzqZJLpy/0qLn5jRAHxq8+yStjIVbJnqQQXlW4a6albO91r34ndEc7puXdbVGGEK/bVVtLy3tOx5F80/P97o54EpuklhQulmhhpcRIDT0ieoj0FwC4bHS3W2y30+01Qo1zcsvTTEbtknIr7aBNXYa2G87vBoQ+pzxO8UD1cJL6mI5/hbhs7SI4mRUoWmwSB/L//VvQxsl7B6HGNM3DulghF6xOFePI4zKRsVHdeof9Wz09BbFUCgYmvdVAB17YWtjMhdSg5FFFfuiMJai4MgCPtvzxgyjrxDAxrNvAmcRALQstwvwOpvwjRuCRiITowbT8Ps6VzOf3Eob/zlGJS7AMeGE/dDr4gu+//6SsXtteZxlpKy0jtfOHzX7Q3jJMFIVNGdn1echHBanQ/k6aOp6HOBS+tQMPw6PT/hbRb+qma7HlVw3puk0NYeGtHyOH/i7lqlu2R0zblZCqiX+NgS2oI5atolooHGnQGhuN0FE/z6iHo9VkkF0Es66l/NEldWTxqnT60C/QE6KKA1AXax6uLdMzM8bwYpbE8+D+4G5ZgqFi6uds0Pd9UyhHXdWWXGd+dGQ7e5b0PpOmHTLllXg4Y6o43Lb0xIyENqQRAeovO5vBeCQCN0b2czjW3NZRhTf8CWeA0xmpIPecNuAYxFQKyp3W6T77pbKPsVpfJIaYla0o5pMctZegUn0fC52KLD8Qwfodv6DReA32+2fJObsrfEDzgscmlF2nJMxnwvti5mrmi/I0WBoMABqg3tV6nQnXeTcEgXvPkOYz3ErU/kcpoKdxCjXKdWk38hHoaDP+Twz1Ktjj9/vsyN7Sq7MViAKCQhOgij6vbKqZATHBQ6JLVxdn5G89onR63+t8bpQzJaIxxh47Mro4fxHFWJU9IZyXPvNMsnCl1gCZSulqDyMx3TeTGfbL1aZcw9FlNEdWbPznSwf99rtEZnelSYCqOnRUz1ZSfi0P0R0c0oh9+k422Hfsv+v62VNpF4hi+vQcdIQK7tJ3t5dXJGyTA0D08ljq7gagEbsj+O1dQ3lAqINqqd6PcrrGDIiawoLv4OZHdLgMljqyd2Bj0jswEbINPX+yRfoh2DaeUfTmvBdi95XUwLDqfWGzzt6VxL7ANsOPYWX2gxYCsTrN9y1GnpJ8MrJItTjh1TDrcf91L7EixVFLoJBRzNNrzBC+KNhh0ukdTZ/v7JXvxCzlRx3Xf4J+Gi4by+x5R6NcosjxSy3Ub+obc9A8rnVCE4H6J5vYrS2KwtGRvP6PsPcphcnbkMrBsIB8HwJlbP6elbhWyLlaczE3UbLBuiBJlwGBYf/aaasj071XxwN6K3J8u4sAH3j9m0s9pwrxA9GkOhsaim52xjr7yQ3yRlXP+gB+jlP4NG5PbbK24EsdgytE7evBaC+2ItE7rpQS/rG51qzJnVs0YWjxEBCvd+MB1JuQjzADHvyBGt1S1G49JdUxCNfzaFDuKNBmvhm27QTSeKnop6T1zLUuaVF7t1aEZ8K5fX3/DOuTm95GRauG3hEMQR4f7LIL4EZ5CAJ62DOcuEtNtQcKUNDY9RS8vLgEWfvmIfE0JePZNhumZSPabyXQThAUDK4fvz/qhcWr6zACj3sQD3nV1Ds26TuYy7oV03MkjemwzB//fE6uqr0HS3c/WbB9dXEAlM0unw5xrO4uZ0YUCigzsSCX+YaKOr0OwdAkDMQIZALZu2hrHhg3WOdACEX95CfzzsiM3iDjLzS7xV2mJxGIOaSDs0xKptZUXCNza9AerQnGFDfhlStmpbVpLf9IFWzVBpm9snPiSR8kGQmFStydQvRXfSjD+zzbA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x9camowfwh9kkTJQmV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_FWIX9AY7PyLGcVerXA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xJqnE4E3V4p4FBi8I.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v0xMe3p.8oz0fNqcvB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mNNNDSJz2G8_Scr5Ok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ExrnVj5W7jeOoi_offU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tkW3jk84MpPTxAaGHS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eQzqQYpydHXhL8YmUaD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EcHWJi_r7jI8QPINA0a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Km2DQbaQIjBTawzW_r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VqM3q6Dpb4zza/psEt6IT0IwhVcutwNxjZz1SF3GyNQgLZKsAnG454XwKZxbRZwB5Zv89mzaiQJ1/gizFp9Tcw9u1FgWuIEhCu+w2BzQ2jJYYsYr8+ffI0V/VbwnfPxQkYmjW+dvj5DNcZOtJ+RllUgP/oVekJAb6MiEYy+g+k1G/kHsmSdGfqMQk6kXrWA5kehBryVSSL6UdZRoGq7p2Ji8QbXAEL+rkcxfT4Xh/5j1f0O4zEoVK4wJTwxBSKHETxOizDwEp6I7LUxZky/yBlFrXBvQ5RpMIK31uUVyi8xqNUbMuXA05XN7oEgs509B6J7Pst/wKDPuGKu+zhkFsmlDf350T6mTM3uPMyciFwO4vavQHCON3WybYIHZ+v1YQu6mCwdtNWhhSFkHOyKbO2vQcEvRWWPZbkUhHWzJ2U/KYl9Njlbnyb6C6vP6SRJWxEQypWHKNZboeu2/8M+coFMelxbPYXm1m8C+qO0hHPYAB289Pcpjm0ej9McS0HprQrOSNFhUgL41ch5RsuKWiocLzeC+WXHt0ZLGFecDeCMYWsimn3AH6GdLhxNQRLX9ERd517+K+nvtDCaxGxfOARIZ0jgBQqh4tYGbBE4xOPUk5CQJ9nakwPUMX3/Vu/+i2MskF3FGbucWzk3VnB/XMjnX3NHCMziGgCQA9Z48aGItDc4EChFMcXGGph+isIqzSGCgNtCQ3D+M/54qL4B5PbvkvsN3WcJ74RRsB8PIzcQbG9OoBZ45XKjJ4keJz8M5pUGxMJnaTy5S17ydpWckjmis9Zy510SlJHDK/ABhx4MHKAzWj5EKMvAE++ZZeXpxEdx+INMnx9fhRuVZiCpKFi0Ab211WBR5nv/eWWxrYBuJbMHTVRMABqFk/Ipr55Kuhsyb5ni0o5Tt7hZgC0ySvqypKh/aqe0KX/Yvv0JfMYD7O62mwSwwK7EPfKDt2jb+ZSaM5UwV1dBWM6cNZQilF3eLRjbcBpto9oUoZ5AjNWM0tKYyr7N1zIi3OiYVnYGERtsU3jLj13q0kLmiSk2W/3EBDQ/hfg9OVNeB1LkXbA1l6VG+JqYthgQFFndyc3/ujXwvnb8LbSv2UjYRHvpul1FbWILVcCcJAjR156knRxzwuN4nlFTheGCGgexuCMcc5yIKFmDh8fTlvLvQwr5EqZYDUho/ktDkuvV4v/13QQqaR5eFzhC8W07dLeKpbz7kdMNV+6DJ4MvdjY/TYXFfnzD9u8Yx22IYvpZC6aRWoBQW2VQLXA6oQ4n9mGKfQZX3Uo5MLAF1FBXQRqUxyIq08qNINqGMDKxPXr2DNBLD5iVPymDf1TY0a91721ixAZr6uPl4Pa54eWFe7TVh2UF9yLagUUHqVoG3UDn6giAOkI6P0Rqzt1BTbJzJ4we5Yv0bxptMV78nCbNceJzhh2wYesZ/RhhGcRwBt3xjX4f7lU23vRFLDDtV97wOLdznYEs28OoKMi5zcSRkzHU1w3p/IRQANoq2kYGSmrAuTvUahB9Xir4TMBf+tHctbGeI1p66uMZPIyOK+1xn7E5k7zJxlkdEHivIzQ3BvlFmCfP0y3WsXx4bd40l608YjQ2SdAz+rVME23K/4j3QPSH0C6spq/lUWfZBTdrRvxG5JytT/04ShOrUJYFgCFQOWqWqaYzKWt9f9JBg0ah5wpP3T0B4vaaFvA16MHj0dG1XDPlzUX+QdOmPBxIQfmBt6ACP0Nz/qFIusqaMGQFD8IrTG9oWGZBT9eiGRrZXDt5HPh9eruQ3heT1Qykcq9ymfsRKqVRBPIC3PvTJgTAwFFJ/kKD/Sl8ZP8L6tylgfT/fNglG7lk65NLcy4LKnbpMQNwfXeeAZHJ8xXD2iwiwmUF2QWnyry2h+IjwJlMMgClml7bRzezVmqDEX2Bt1K5dbnx06xA0xiWA+1PGGPwSFyRaetjjh6N0aQ2uGzflXLufTLnExjl8KvGZ1ru5kw0SgRhmTBMcAJ6HzIWAkRWzZYpfNuFAq1MKrnBO/a1rFbrHDK2aebEbdowNQUpgP1648vkMBXKAIHA0kB6YyWV75oxwbge0mPAdii58+1lNo82YRnTQLzgn0I4xvj2KvuEhPwiI2AqYVL7Ms1yTmp0JzKs72ew7SV+OOPISAQiFYKjpTXXHpbN6XBPlR3gTmTr99bUMA06j/kD6FFMrIye7eF3cm64GLNKV1wOgdJlwmc0LlWiPxnC9mOdOoOAzn5ahUM+48f0+bMjmLEY+mqZvcnL1nGAN4fqJLeeMtQc4+KdaBHg3sTLY7zti3GHdTU7L0JHsam2mnIuE65UnYU7i80/mkJ3+uNEobn/woiTEZv8MDzQAQB9sRX6ufNIq6tyUOUuWLx3NQZyr1tc9bsJvgn+TmMwtfKkWuLuclaGwvQNbcZxWzGXJDObsQrHT2o8PLjPZ08lMtua/lIbUfs1alMUQnOhhEtiT+B/7FQWnXXVOKzEpN/Lf0pzQM884EOqtJNbJdjAB1fpGKEDBeMhy7GZbWVwyusZVNvFXojaToiMUM8ZYmby4xlXDCEnt6QLO1QRAz3DS1rh6JYhDJB+XsPmfIsJkQguD/bwYVgktqD8BVeuvBiYPnvNJrOP9Qm1jmkKvxtpKoMCzDQ9kiBbD2SDrgRPOa9EB+qOw0szQv5LebgKqkCwZ+1iMBM7sbKUo3A1LFfGEHfSivfeXdacJTY0cAi03GxoYVEzbPoNLSHUWxi7iLrPuexJU1boPHceWIwDEKS8vY7liBvizi2BTO54kGcyx/D9Q2CeZPJHshd98Mr5BmoX423vFxKuDXf29j8V13a8Ul9V4deI7+ZkZmwG+M/YUP4xn4S8R0GrB5ur2X4Lek4W1ibHBYcaf7C5bCRBUCvUUjnxtRkcsFj4AFc2Dr4bgytZBLlWF6I2K37iIp8abKA0zNwz2t5erV5KKpwBjYfslgHtR8EEaBAmoITEzx0nLqsrGBS667ixZ+FRwA+O8WnPi8Ezhm+QAGWR/msrbY19PlpPW8m1OuJVN1YbwRdhkmlkQV36OBLrNys3NIixMOFj0ZDWT0B5HQP4cv29Pt6lnPYClLSuSgxh/5ba0b9fY85WpwYgmD+Rl0vu/FkJQGAnb8G+leZQvY91iBt4+Et4ZXDd85WEQjOkGPdrJHydq1jkqRvRLDhalRTkJJ1MG13fjPbRJkA9hnL76vu+C5X7uDQVeoVdOYEDmkzO/p5O1WCDydtJxiuvM/98eUHPH+A3XYJkxFMqLWlWBpvuOFIdd8yVH2+c+GrVKNqpNH2orXpUzJkQ0/gmQUSAnyURaNHGm8leMw3KJTTbwKkY/H7Ni8FX6tiDaPSGOxRw1kaW0VBG5PcY4Ja5cvF3nY3yRQf2EIDKHuopN6CD1bJ2LOHbxkGUL4byQCvGQsqhhT0J3kAInT8ySlS4/L3LDqPjOMnaOtVnGQzhZUEp3jSWluYqxSxkKbjWlHOHhRvCiUdwBnVJQ+R1NbNDPZxkG0cikS73Dj8IQ5jC19plAqXlL6CyMVgnPLpQ2AYYO7VdA6H671w7tf6chEi2/63NpawphaMeejGJRSef1dMjX+wxruHs06VHsrV6iQ+Syxh26u2yRGLuJh6qbjuKjSit8bQzT5E6SHPyjZDpSSB0SzClLWKRyzMuYwtIg03FU7Ec3yUyEiY54R35/jtYmXWlloYJNQ/jJ8SUey9qIoRiGnzNzpe4PAkETnm75CQltlEI0ud2lrfO+pB19TaMsuM+n9Y7FxjkYvGrzXKaC1eg86hSmjSqJIqLmWKVr87sk5NermAiTDTP7Kf+X6D8pZSocPrBkoStXmH21ODJaBXo+/EZb5ilImJI+5CWHzq9szOiDEQkrepWLvOSAyEPIvKgTysQf2OJPArY9dFrQRb+gP32UmItcAuMcXzaUaqiptgH27H+PdLcYr0ye8U8aFad6hzsdKehpic4g1rEzXOwsD36gKfsxqjm960RwbKEG9kUMwLUlAj9yEv0NPHTZ906S8/VrSBhiQMPunwSC/80A5krmeWs9LwNhjTp81EMQXRZonZPax1S/2wLTfNdUs3UP8EruxNIbeKwQsJbYrtL2RAuJrzTXzP6gpb1W8LxxkLe5aIrDcx0LyPjlncsed0r00ghAb0ediBTmkMXp1tcb/6SbFf8rV9Q2iaeSLTFgIp2cdwEvkq2MSip6OH5NpHgWrS/8YYuYtSu/1UO9CbuxdVYGRPKTPv0rXew1iOPnqltjYDvRhV0F62fzTr7mDW55CsjPvHzBXw0LovwQDhc1+dzUWnZj6c3YveUO4d1m1QpkvOaFSkUu/pUzE1oWJvtrxVk3LqSyPvtkXgfePNIsITs0Ay6xHoL+xacDb7f5Zng7yiTagcHxx/Es59sydrnvVn6nRgFI2FHwdAwcZkABFgOBeh2AhkwQDnU4Du2IUzTY5rolepglG0xkOl90mDI9cjZGLUt1su6BqTbvWA8n39ylFrRS70W9Ft19w7+u3Ae4fbtQVjB1XdLzHcDiJLHx4mcGouEUcSVMz6efBjnSNezqVfzwBhJkqgOjVrbTbcZDwPbxdkPBnd7SHpQ3/9XUG2MLtiAYGcxXESCxsAgwvPEW3Bzfi27eCwIGEjogCkRwp6jyTcfq/Ka9Iwn8TkOmXpyQswcXrbeZrcL1qUygTp9wO5PwmLYhWKBKRtYQPRcwtm2bUOlsaC8MfDD8p148l93QPt8gU0UFk/irVADMC/Pc8D+iDWvp+NVUthIHBM1QqHGYIb55SeyCabBviqeEwQzLA9364JQMSalYFEhhJ92WHF4iSiD8Go5cwfINzsCl2cdmxWqror7eKLqhE066tLOrn4cy2OOeyiZ9HiAJUW4w+V7PCmzy8UbnhnwTwXJs4selq4YOiZpLLb37eoGYUD13Wg7S0D/Fyv//yj79ndoMCj3hMCHHe+fTiYpig4jnVp9jmQWBoImgc5uylTZFkqba1Km3DL1I+QgURVbtMTp/H8yyuCkdCmOfBC/BrkU7h3tBbBwJ8zGwI8evOHK0qtsYOfDuxJVsUGbDoIDs/5wwb1O5s+RgLBeJhBWVvB08UhZwDUUWxqqh2QMFO5DMVmg9FsXh9KpW0Ntog1143FL8bMr+nBFq619oTcsOAwYUUeBOkdhyqgMdvfG4kr3bg3EZGpcwAogjox8F+nnOuh42jtNEVfhXUypj+JlmHa/mSEQQQ+okcV5Bi4cdcM8hgqyZVWK0Nr8hMJCp1EtHvVwRTYK9Q3LmdYu4sIHiJMUiy7YSJ3WjnKxDoe8wk6j+rRE55nz/UyqAnK7r+b7F7LS3m9zqr4mSLxAVuGBwaE8gWK/MbjIfiuA5Hb9/Yf4Y/fq7wCEqvGAJume/zwvHn4AtuDi+KqHgPRq4qFHiHEnNf7SbA1Dux7iGu7UAUxXM1FJe3mA+fX11NiFMjit783L8TsAag8QwvdggoIQExuoqqaHNRlYv2A4BF2psvY1xvGNGtEZfVInAaA1eOiJUxHjzLFHBf989wt+BVAXdwuyJXyG8htrRSNxMw+GAOsgOm+lfKxVxuqcGruIwAjKc2K1lWbazjvvxz7qZ0u/12XEynzdjBlvP/b6Nc765T4lmVhsYQlg0K62BpTBlcD9XA6nTTyw2fw66gNjbuHEWDCcx9T22TWx5Ye/hRbrgRKrBnjReMTH5NcJxYj9Bny1HsITJl7m/XvRLm8B1+CDfFGCg8Yk7BzgwYFweXf/wJZxPNCKqQ86lqDjAofXjsOVnwoAPiucB/mK/FDCyTeJdHQgm5Ti9HaRxkRgtM3cBXVrirBXcyRisj7UDGy10+Ui/LZCOBiCQvVco8McOGV86lyHnH4Jkx71FG3EDedcmZD8ZHkzq1c7ruvdzA2ZbkJVK/y9oPXk+c3+0S86SSNn4tM5lvGjWRmkm3+yU07ygQqOdRvyS2Udo1r05aLPjOoNbRSbCOwEpYp/Jyjf0vmrzb3gcCCLJz8PZ423DDWknKbV1r9RNLa5LVw8ju3DjbdYp7HqutrPIqR9JkfXf6gtKVakOkZZQ2sNg9AF+X//XKXWtejjl0UOkKIw2w4lTMRCR15bjiot8V3gKH+k/JFGR5Yp2Ri7BxAiRmZJV8lEL+BxUaLdibBYTYXzSY0cA7K4cfnjLN7j8bDRd1+O0g2g0bdjEsddw2MFMC/jQaIczPUCok9KRqOudwUfxZa49iB3+rqemNjibTNjF7wRq4qmfBUNoojSk8IKwdT95wB8ql2QRxLhbmMEUtjHDuf9sSSoxBhtJyVVxxwFSz5bpce7w+XUITAxS9BDSqVECGkKw0+iBjzSffDN5pUnU/2UV8ssZGVnEvp2uho0J183usbtZs/QQ0AOatquoUJ9YeX3Sr8owzbULL0qG1FwIv6JRxfcZB2wXvxJg2OFB0g05yMf5tup0nSxs2dykKks1e7VF0epdJtu14DrEp10iJzkNecbxCpyCqN6qoCCvMMdGJSi3w55OUdsXHa0YuMJWGLnHgpcboRf7Gd6CcXsmUul8zIQLo4bnnS5foVze9SbwjBW/Sp1uYFerJMn+tvs0AVJszXCeC+gjepp/tcXJebnM1hpLqYDg3NxyNyqDLTCw1gu2aj1vlygTAWupzW2xNX5s4TZRsVB5IQQF2kdRToJrJ0aci+yrcZ0FjvXhV5BFhwQcSskW+konXycjo3ylwnAsQLtQAf4da0GW02BXim8UIt47KcrALYueWa96cierKLUbDHDIvkjgVGpBKyKcp/VQSCxcBOgv+U0232irnWdKhPNm2ii3JXx8C8HrzviSQ0U1/g6dpQAbsehoa2kKBYx8gBrVlpF+hD4WkXjotoVRDsw8ID2XIOVTSChO3/Vvh+kg7lNlHiml8wbcxPzYON49V/JSAVP/Rz2O3NFQOOl4H5SnDvnwB/fhX0wgjcgWBORxjO8I2HVvhANghinvAlh4bmlvGwnWZw6ksXQBQbflTC9AzV/eUES3E6si87qtUv5ogIJNTUTrQSwkJoCa3b7UPoDNwq0Vxh4izyS+tVxpw0wKaLBs+YVcgP489FfvRn02yW4sZWGL2CTjKZr2YL/iNyVFImVpbL+5yU3R+kwfnHSu6zBlWtX+RaEhaNl10uDZBJgHu/Wi50TXQTe816TQVBFdm7twUHxe1HDw4oyri6oeslr7TYQlByj8s1V8KPI4EM20Y82Jjo3n2liwpAIXVI9ttyYyci5pXIyLqtLwK0YHERMn54Q8THcI+H++2DmN+qM62VvKGwaiS413R6gx/qLCVZN0BNUYryNYCk+5Z8zGgMFrEd3tD63ZAisQ6pwhjb/h+U5MCcz1YZBGr7oMC+JwzKc5HVHRZayvQE467Mqy1rREYm8Dt51alb64Lma9nGoyVTqO5s65qHYpAMZc3W+OgPZKvzojkZZyov2EF6WFA5SvoyEN9wtUZAKoRLedKustYCAhKo4SwR317b+ql3w2Cvprfe/d74+A51160vjSECEznILmeZeL0c0DqZHQLOp2yPMYZ6BnOGJtDmvsycmEDszwvoyx96mCOA+gjP5AxWkT7S/ecZWSeNwUHR9ug9hPWTQYSvDrjqKe01DJZDzvjsvBDBVVGHim0vd7gS1DjJvU/cH0fJOPnU7VTErTbQVM4SOHRcy7mMc0dpEB7ngBW7om61mHokP4hp+FyWIge0/5iATEbNrPtE9JFj36Vxv0esZZN49ndNDuqngHhiQeufOvh3cLX8b0gAID8gHgYYEPCyZbFBsRHtB9VA+ymT42xtzOr0N/dTAbvlz7ACJwd6V7+lel99c4tuWsE5g5a4LtEMjpWEY9yEApzbWKJ4GcFXIwFYY2/Z572STedfERWIXB6k7qtUuTQXmCS8P80P3M4afJDPjM8pgJycCvvme4bJ6QYKywHmTu7DJnMEnboRlLBchNqHey/qiXLroMjkUs1h+KHQs7hDQAC4VzdHOKYQmpdJh3nH+ojDJs0ZYBzs6pmq49xw974fTHEWFpIs86Hf1QJQAf0M3OCV3NmHvZW7Ibah8ARZJ4eqeAtKO7Qt2ieSu6aFK9+xHvBhKnsBuf408cNNF3TbUq6c2nFCkINJb8gSyiJ0ih8aykyjOyGVo4Ie3EImdB1OsZgo60dxwd6GN6X/xH8SROZTYZHAtaDU0wXKx3iiAedFRM4pfR0SLagvW2kFGissdceuVNFNQOijnv5a6DpYhJCskq+bBBrdjSghvDiupZ4IlgMI/b0o3JXG6XT2utj+j4N9Rro5Szq3QjKicAi6uRwOS2j14um7z0ZtIMx4IsdtkUB2XgjauLozYypqbkKrfPsyG2YDf7O2zhFJrb36HGz0YT/AcvtPxosixwnGBKRzJ4vi6DV9nBnpVOeM5ZfpFu1Smh9Dvn7eyfjIjORY7G4yislBFcKiG+oytgsUSeO9PkK0dQsEJjDn993nQYH0Vj0ykFNKNjcuoPgv8XsKEhVqrq7aMljYg6GbyrRa5XlUm3X9V7pU7yuJfLzuO9WMIxfTmaM7pDv081fFUhd6s1aGbVm9KQlzcrZAizMuoWOZtlzVhn0TLrcLPw6p+NgNB79oQ1UGLYTc5C14+rrOf5EYUaRSxxV9TkakT1wLi6eoUlU9IlbS1OSfdoA+m7y5/l5WEbGI7JYLORsw5W84jTlE9PeoupN3+hih2XX4xKIMhMw3jmczvwnt/4PmDpPfNiYx/MQS24cgVJH1eDxYcsPYukFDjQD1Ovfjf6mlsn98ArfD6BAfiLhKqpootnzkZbMU/bYXb1lgv7szFcWy/0CbOfo637uOfuc5x7BkhXxdIVpe0phVtzn2peac0c+HgLXVxqMZKM81e0RgrXHWeVT5xK19vWnHwvzlQV9HTevoY0wNJT/NZogdkkQ2BC3PhD2ZVoMypIsePI7fPlCiisV5i14GR86TX3qY1NwIO04LXMsEeBB4VEBACPt3RShu9Q7QiUOaT/a+e5XTkjmQs8cjjIkNebGZTxPDTajyW0cWNdYjDioTtIAIO8vYHAO4X5Zvv6b2Is4kuVQWiZINHN42VGo+wN97SvI5XEGfM5Rhtsa3nnbD9dvZ9A7Dd22zsnP8/Es1rvPuURz8/mQXi75ibRJuzAVNrRnwRrIDrJPfRbvRAu14wL21pLWNn/z3fBQI0W8bEHpOrsQF23MPs6TAyMCfDwvik27aMxAx6AC695lbUaAA5ye98VS7PNnRz3GHUR6FmYNTZbvJ8T2dMshuGU7g9oY4PNhhGiP0Hs8m/9AMw4gtAX4ZDal/XQ/1M+vJKEKwMN9rJF9CWCpDIsaMcj7YkYoGmXuR8DUjFGWSGUHRpzahsou19C8GOgl8+deHtod9F/Ga39MJWBR3tKMF3RXevm+KGmILoAfbUg76y8FJjNkqvCHW8/O1VDR3QSGEO9T7nNFdFXrOaJsPFGEVlhavTeE/u7pUuPRKtm85U6EU0aRtiEkgw64c8/R+NRKIs4iJi0jQugR41mzrG/ovk5NUl3RHUJjYRLDSGa3BIfmju4reReIdy/T/ieK/1a0/qJxccUqmM6x1+4Jz3rzaEjZyGu7eMq+tQKFVAPVEZFOO8mDuSilkJZgAVLN6jQXtXNQKhrSiFn1aD8QtC8Djn9uQoPQxU0VRvPHRY4oLbIxDT6f971KocZmva6p90QOVcUQ1NlCuSfa00XYAeGB/GD3dU+qec74lR7j5hK0030/+v5d5aH0qCiMf0hcR9SCxmC8wsPGAbJU5pc0H6wTiwyUKTZ3PWeJXvHI5wEBKexKhi8OsVRmHDEzrLrKqNzw+zYgRUkW3hHWZ+ni60Mr/zZUN2OZQk6VwFEQmYmUjkA6IaMrW2xN+8ac4Rlo3gYdY15UnZ7ySgk3UyUJnRAlcUvFYNglnMxfyYbqlJ0TKPtO6QBp5mOvEVfYuqqa6GxL4ikVHJEg6a1hHPi5racpywevtGterR02e6MD4MQ2AKXIcAOJEzdPPwFkzo5X75eStSYzNkiM/UspKt0OGcvp98DENG1SsoBJp1T58zZbS6nNIp3RGLkqUCbbTVqXOxju2/rkgzzgNQ5DZ1XIi5dNl+zLIUevyxToJx0uPEZbHWN5TtSBOHTR7/7TkNzQ7LSUbLBGdTBC0o5ZvND1Yuao6YZ5ONPzKxw1W7h8WTG9lw9hjULdu1vUc7FNCgclrr0W4vRjPC7VMbtLIEy+0lkr/MsCOF/Gh5Cr8xv4FliCl2P8eQVIa9MPOCBR6GmDSp1s4WdXiSPDi1QBWmw18L0brk5HMJB9VAOsm+YevdGwCwossIcOG3NPtDEEjXiJSK0tdhFK0qLJMVcT7LrZSUez/ILWP/aF1z99aDrixWHBP7HFuyCyFMK84jFAT2dr1FsVIah7ewBj1y+4wLNixeqDRGR2JGL7iJTaFatGI9E6E2K6TbrkOxZEkzjMQM009I9Tblai7ZtZ6K5kx2YEszx1jvRPhsbT4qYTKrpcsQkAaTKsbVun66oHndH4E7J8QRdPk4k46ahUAW0l+aCv1lUqgaqz6O+PbEFumP4kDstghCITZcsBJWMv2jfIjKgm/IzVEjSSCctpzaOQ3h3peBkRQLhTUF2u4KHRy9Tr20mlxB2u645tT+V8MMU54gPl2Umgf/UcOWMIvQXChvGX0Rh+UuO2vIzEcR7C4mWd1R/PcZ1ldYl8mdQFwc3AdnX8jhfO+wHz2MPLwdzuGEQFOm3kPHg/NQ2u/07WrbHBDbUas+31NcdrWkMxSM4ZFIgISYo9fGCyoAxPeuXwqp6gKQ0PESdPnKtX5AM72MLVu7mkd7y3sLkHD4B2ZSCDGU6U3wXWh4DX8UdPjWoC2g3ewYfBffBDoKUxV819+ptUQPoFWjPcMLoUFD1sS/XWS+pByKjUEkSQ4e9DrmwmkLMWnJW2io0LHXf4V8sA/3O0+fiC/yRPvsPta5NI+4v6a0DAEEm78Wm3HyYOobvv2gS2rMOBKLtE91X8bmhxsn9bzcooaiHZyieEumsnekOIuRROf+kDqOoAXprtsKr5xwgj73GxFzWWo77/4AinkNYCSh+sKAFbI+hCb3eRJX9Ry4xlQbhcxffndqapYJNxszSS5zWXpxY5IYY7iBqzs/ooBNmCQMmEgG9004g1y93xLJ6FDjC5CFWYMnui5dSbhdgiAy6iK3O/EyFApCZOTP2BWFlVtNiLdBtkbMRWfML1/HUCYz9pZ8CzXCeaEv4I2+ATCDr35yQ98O67510gPKp1VspNeOBqkncwToHCGNCqMzotg0gWpz/eJL80frr7GYG6ye9SwBY2qPzTKE73VirTMuzUhioITC78r0mJxbPg1NQYK/avgmpilx+auX05nA7SVNbKx6eiuEF9A9xNIu8lbUXYQ5dmglPJF+1wze7fm9yOyyJXGOxl2+pKV9crZPVv4rGjoAaFjjttbgocTgSc6GibJHc7mc4abkOILhCAbvDmf1R0Y3alsldAar92SPp/CV+6KwqjMfSE4QwUTXlBE1knDLJ8tIuTHFD4tP3MtNCLl7vbMYLaa4UeP2IuHFZ3AVVxT7ZXsKP5I60SP6gLmFqw1FZhoAwBqlDzxP3LyBE/IddXlDCInVxoAtMPN6fzC4Tb9yTqgNQKpRi/gtZ1n3CK9rFYZ26eF72FXEjYKP7JoaICm2DWR4IkcpBU+uqcdKygl/CJ57ZB6+4HZdgltfY6i/QCVmcp7cz5+ZAxRgWkq2ji8nz6aKc/FP2kwhtyjlWhq03wBJCQSWqgCmhWVFSMqUrt29MvDENsQxtg/77DqCqZlngjpYqYPmuINeead7Hh6S/SMdkFIcpsPH331Utv/2//IIaW80yCYfjQ6J+fYM+aFPlpHqWyHeyFcg5GDpzDEYeoabxB319L9ULqv3zkJeVK3heG7ynSOApIht8UtCR6Ek8YWgGq75MkAkxaXF43ojJNYNvQhd/FX9OvkoVybM2BT0A6eAO8ecgUOzthgWbQoW08siV2TX4+9BUzU27Fn7mNH2mnU+g0SZoL3HufqD2OboWe/dmg4W2z7/aI5ZoAPc917hB/cA1o5iL07lJBm2gafnLYRneFWYcLoblF1bJ6crwUvrC0Qlno2WxT/8TgjXbJeY+wcp6wUQ4MoT8kBII3gycrJrE4+W2JKHtdkqESNMB8WfMDeGYF9Q/ZA/QPv4nR83e51KOY3K2JlIbjXmrlEYkLajFOokahJudY3LRZIbduO4AQatujnmAm/31V1DoyE2pu4V/vfksH8mqanIk4+EwGSTzhjKs0w/aKY2L1mxtRsttDqVRG9BFoZcl9arMBHqVpKbBd1/rMoVxWQvVHyNrlTrA0xnqMTuCEOVal1wXu7+5c0pY175hi9cGpZjfZxdfpFpoDUr9PKWpPZRcPsYSSwJh5ebZobRGNesEd4K0KizJdOGebV5VKITG0yZvu0R+ekqQ9a3eKZIoxySPhslm08wW1TlZ6NgIkj/yDxK977XKLjIuJPyXi5HIjQ+p2gOrLe2NixIBO3vY0RJMbeKAu7/6UoiIyaoWEnvTzeZ1I63/HNunybDS9jd0LQT43L63w7gbiZi3ijozTbhHkMNU0lv7+YM18pCORhDCfURK6EEsSv4DcmLR9QP47+apKfK4tvlNvAToeSZvRBAZ4rAcIt4N0UGzNckzbETm/pFJ7HuMEH0EyYJBFGG/0izNv4UU58I6evxOHc3Xk540rQY46OxJ0FPZrYQ4rQRy5n3XjAIJjS5lKDgt32r2rQErDBo6hEf2VBfuMmyMCaAg/9LoQorQJ7YpeM6Bff0Qg3TAjf3FvRTlkrVsbS6DhC1pmBZ7MlSLJqo7cLbAtbF/OMXUkz43vWNBow2FIMLGxeOceP5Rh7EQdlml9uOnOv10ZaDqy7cTdvDds1fwLtVqIOPB9fu9A/89/ouYiBUpLJoYW8j2tXVhcMeJCrDejzoZg0vTKFVlHGuOaizv1VbAYG0A/EElvihNOrs50sP9KcugZF2fxYCvibui/7gyt2nk2DIW5UD5W9HtVt47CgV5Ultp+stVRAtkX40YsTqPpVYO4BycHtKu21q9yw5yCGSqYnXdUev/1tnj8zVaRmamdxHW29tr8YjhnO+YEur53qmHg7NL/D8O5ENMgY6Tiaa0y2VAn1/HUlI3QMYFVb3m3BfIJJKyc+Kv8ZJpupHv+C0k+ey4K5B1NDRSrYRmhPOpg67EDVmRssGrjGdoYupvIheA8CdG90k30pLvWjiRh8aKBETsn6SNWwmk75sUzPvEFy/6kejbMJabXon0uY4QPb16kiOJzs6POrrSIfghbkEv41EqJfIN61QECEcEqmDBs0OCDnWxOMtOw3GOx7UV+9freY283elu/zgAPPYKbSQttYzgUNkTMrSJxvwTqwCLXl68rJxphy3QsN+xDsPFRwvT7uT9fT8ODoSZZHbD6gBAKnQneRSf4eKhe0vwyJrMP9i0wv7QOdfuShYCda2uTDKRsIs+7VIJSAPgTDT1ljchcxe6ESRrKjMO5bawIeh3PgvdFwiMOrJmdy3se2r5jKS1O50KvpDRLsWz7Pi89gQy4qglRpjBW+U7Aj1vHIbYB5co1mccA28qB9NSnu0sOb8i5AAMbo95PRnMfiJCxb2j16hkBp4qkKqO2KH06ktrOYvums3yx4+yEbaKzLubioAwZZJnTzYV6Uck3TZD+THzeL/NWrb8dRRkn3lWVHF6h9yOrW3rDbXi+c/+dO4TcYetSlTsSLJ6MBnRXcPdUJqtbsVYfqWCMTIblMsVRGeVF5nqZn1odSbwa5Z4g6h+6rAnLfOHzj+66ZmKyLpykvJJ7hnZGu4p5wun1kl9WXvkyRcJg+1FMXG51+p2PgscrqNu5bIPk8mQeQXqfjVG1vt3SNVQISGAa28XjDhnbodk8ny7RGJWNBdRm0ANezy4eVXONhnn35+k0WM4mcvL1VhedxH2EF8MZj40F94xRM7L0yjju9MkxTzzlKpGbWFS6L0zTrNN/Gn6F2sSkT2IDWSQOCC+lp7U1+njXBFV5LvpMTYo59kxZEjmIdborFllucnuCW/PXJauCz7jeEuIy7FSqsWSnmLapy8Rnb2lt8AI2EEhJUzzbngFsLskVPaT+Wps2hfpkR4eol5fBtdMg6pBMEYAIY2kW8cyVQKnXP1yH7eg6bopNKcxjsiOdKVdMv+ggUfJCHRf7dSmi57F+uQpQX+t2W9QPKQgxHBKYUa5pkex1OFSgyHZ7YbIfl7Z/nK7cx3XnVH2hjY2J6REEFn8zorbofG+XDT7Fi3hPcYLcy2QwaSaaBB2/vVxzBuMc+awwPYabb3ZZCKJYq2B+UEpJDT26ZxIoBB/rpasrWvi+qZmjX50d9ISsq+6s4SIcZeSe/FshSxgaCDqRNLUhzbOhv0J7n5GW/VpSyzNKDmjw6zRfWvJ3dthvcpL9/JBOtx03gr7xhgkmJd7QoXKEnRyxwgg+Q+De9aKDMr0P9U0nqL19IdauvCbqc9rH0mfGWGvHd0yeY2Gzg+KK/e4VNG8zmuK7cQU3pmU27a+C2L76pHBzp6Vj7vwZykdT7sdjh+SL+kxVZffJYIM10akQtKztvRfXLliKLj1kbw39H2h0nyQsTGtAffdc/lsUY8Zy8EvRx2R/v8wmxlfbQfTVvM6CPccYwIYtNIiQG4sAR0DA8puZtps/7fKGHB+aXIq81UHTVEFAu2wPAWyl98CpildKZXxHwD3fYZJBbKybsHLzh4wy0+lfeYHXFHDoIGNEoeGWjQNdYEP6EaL88Ysjm23BiK/JgA3oqywDfR0QkYLhbz02HSfrc2jQGjH4sKQCA7/wE998oOFPlpaDGZ0Wwxt8zLl9Q6at5B0wdzwlvYVFG9V0ahKW6WjXTEmGgiLZG/II10m7wYa3mt7f2AGjabf0FgWxCE4Kf5CAesWElt6P/Nsdsjvec+bdOdAri6y/HvpF+uAvVszkRFg/KbwCJzDzaZ/QHflW6waQC6Mg0i7F4T1FB9pkZluzgKb5hKX1M7yFVdoYnafZW0lT1ufskEmzgqopxOWD6dqibjOIGXsYmUeVnuvuhJmWrvRJqNt9DqsoJMPuAc8vmZ36ztUybycnLIh/QzNxcbK7naj2Y5vYkxPHSaJF+21nnDtZXO1WPpcHZjg3kdYG7za0Gs06o7Rc1T+nNQTDJt6keKbp3gLc28Bz4YJC+k6uxA8LdQrVjU9gLulDcGtuY/9SBjyVL3V1F6eHje8a6Sz8vOQdn+fxvKZ0rLpjVTJA8PQZX7uZ9D4G5ls7zlzH4q8xtSQz+10Umt5+R18ftOxSXI6f84wsu/oAE182PMr0ir1PsEk+4zcNqwAM3PF6vtsITXJtGK+hkzXVHP9+2MvN0G7ZIXkukRoHgIB4z6c0vyURyrZi/GE6H/5eRsnabMXrTyZ+jMZcuPhiMe/gZn/ONBLjMGEwFTVgpSWxGe2HwmUwca8iR3n6T84CpWB6tEk6Mz7qJffTo6NEU2YUptDEPH75UMdeNLq3XKBZ0HIfh9xrv7KRpz0c5l1wrkYJpdei76/XvXi6uh61EZO423bHnfALbkecylP91qQR2y+SOmGm9uDgzHNrlpLsnMxsNKq5ouHoLAwUowf46YAQCAjqiLhG3d3y+8EdNxCqV+mMINuwYuhNGyTRnGHWXp6Y+QzhiEj5C/w6UWEb7dCj21Q+fktghLY2SrsLH4WEpqg8ON10CrW44I1Bnvck/msSaQ9uqt/uOmMuuW7JIUF6B+iJOx/7CwVV3DsLNhub+IICPkJriitkDKIYP3nRYXwXmUVG4ts2u9O1hdOcl5VTOW11OtgAFYfVJhgK7nz03ErDXH3/jjKZG/+quN3U1Kv6JVHNgjwTv1ImkjU4OKn0l/MOsj3283A8tW4KVZtRaAbxX1B3KIxY462Ec3N05ur2fN2XEYFqM4dy7AbT4twaC8yEZ2ZkmiW4PJeQSIsSJCrztPdQqLdSZWO4BL6uQNM3mUd9lHWNUitylEOfqg8CX/Cp0nwe1WERZFnxvoF2ag4wHM0OFtEUUSKhrnzGOa6XQz8O2V4sBhubW+2HQRDqRnoYQuJhjj/9aBNexLJsv99GsUC2BwydDdRFo9t1eLGhIhN/MPXxWp63EYoxNk/p4f7iKLitSqJV0Wx4zkCqWcsU2jzM+GkvixSCFTPNbJEJJmXRJWhsVDD4twvAXc9HBw047jB1/yip0qpXff7B42IPXnsDiHZu5ikETHi7J9mSGH+EVTxhqTQ23RiGpl7gQvvJxgaWnZ+IoDgVqpDmBmLDoUpjW102+TAoyw6xTSx+4wN/1BU7KXtN7brSdm5kdfJDnBS8hRmtI3zRpVYfmcPegxOXe4k4bYg91sPfYG6l/inKQVhHkb2+TISceOaRa2x7GHQkYVfxybwHdIM6B4UwAVxmR/oBnlzChdRnh8a3RLQnu7bnWxXbMmT6TBpnrCoCuFeCX9ni5Ik7NNAYp+s6wnCPKFvUUigdaJUk+YY3VhGGSGNsxHWGt0Q9zWm7MTHRhqPc+4vx/njNF9eR6YZnT0Uoq+XlgzSywKIuTYNWPPcUf40h15UHtMwHCboGxYaSHzxqm93lOaYJbLSmGao/N49yBwMHMlymzvuDkMKElTn/V8RmBPZyuZkBKqv6LitT3IVGUenPtkHMt5xEXbxhswDMGjRNuTmU71wPPKPUUKAHy0MuAy0RlU7qDX31kzerGVn93epscCOWbFoXM4bcx1gyCfTd6NYKOQBOnRY+3FPWVg7ArbPx5J7duhg7nQtZE2VmoeA3pNgw0/QIeSAwJlCpiMwNtP02KTZGXkzqdmE83rldrrFIlohG+ozg+cljowZRpXFwT8ZiA3NUhdNsAc6hokTRSfeWkMm5mZaNzpZZHvdAo/13eKncbMI8B5HFFXA7kVPWo/2oVPCpcT5/rqiy5zIGQV/SZEm3MsQrxrciaaVCCXtOpl6JwHOjhJnuC55rIFTCGso7cwHUXVwqKGR8oSNL9M/HFGnlne6UH9bKwrxARsJl4wODj958m6O/z6S+7cCMTS2vm2Y/qUX9c7ogNPzncvr7/Uif82MhazsSfzpVw/lBTn+Hbvp3jKD0u6usE8Y1t0MGhYkDoZJL+B3o1B8keIvBQj3dPKv5mpUgyunWlZLKX+sdL0ZF71gNGp0MPXEqBYJPqr1zcRTuLNUgpyA02kt3tHUoh1eYieqV6HAXKAodG77243LP2F9i11h6xkTf2XuAJJ4qR7DBoXmb7mups89x1J5O5759B4UNkL1IrFASAOrgbfD0sde7zAG/npaJlPeAC+4+q38s/GvNRSHRxab3QNdYoyUase489qzN0JnKMf6FNGj9Ku5v+XdZX5je5NjxTmvL+hT94gaSizjyDCJKtOwk34P/jPeVMAur21ERZPLvUkgKiLM8jb0La1+RhF9ANDmBfOzUp62JIlBJbmzeBQGVjbWiKrkLkDzAP3hBZwu6Et+wAhf/LeKRWPDF0SuxzNQ5iJbZCZqSIQPRQCcEoIWHBleS8C6MGb0EVVpQs090M+pLp88dp3/Y61xjW4sFED079lEAxDKUc7aw2P21f/Q9CoPkdsfY0OD5mRXgzCF82PF6aDcAtm98SOWZYFvOjlE0Cwp4g+ejLxREiP0QuprUqh+qeedt8/0KHlqw+C8FkzS5A/kHZ6kMeeBTO/KVhedGcsDp8KUel28zY+HUGQOCJDpPIVWlc0UhGxy6pbeTgC5raJ98SW758IiAxUf9yqnmYPu+2/Ys8jV1/mkFC0Egi3gFgu/MlRxtbEfoiqV+LSqYxBRVE0SyuJE9sz5IwRuXynyQ3/IRJrghTnfOQcL3aNaOXvrmWbIs00hf1QQieQe7RCAHx5MfN0Ctl7G0BWcOuU9m7vWkTDF+BsgYjKwQXvT5PPiJ5VA/ANngV7LEV9OU7ZJoFh30lwhfxnOLygS7IPUTlPE2wNwl22y2sZah1q46X5xcWxc2hrlxnSTVvsDeO6HWlOr9LGZ+FTSCCiuxHWQkIJcM5y6xBP7gM4BvmEtN1+ahvJC/hHIvIfgRqaqC4GNafyc/bSnqR9YJVWeZgjTpkdYsnPI29fJKeQOEDT5r3ZclYwW7JcK37N1Z+qEZ1Jgu1NhcG6GS0G4+LQgkw78/nim/DqH0AOafvwAxpZ7GxlWhyyMmVZwIF460lnI8UReJXYDr9t5tUIr1pMANjg34MoT9ge6EKGGNSL1CZng75b8qKaWxH71CEFL4+S0QNvPcZbXKLmrql+uwItsxf0YPkj+tg78dlQ7Zv/dMImmLpP0VnsOmdopE4xMOHZYfCIn9gg1LUeZ235aUcN3nLYZMYwTzkAYjfoePJxYILMyhWU7eFze4w5yfakJlQZ754Y8T9DileUgo+WSopFlkHVJxq2gJ1e1Mg8qF0evMinU0FwozxvpGgt/WbOY+D7OPBbSIrjU4AvMdwo/w4TQXAs4JfgKVgN+vqoE08aQgZdaoUldUuosH9fBuagboUW6af8iaW5+QjVvmNtyiDqX7+brHQ8VleYLoe573LNw1NOHOgHofVd02DEZtgtMTRUaqpT0XIa6jdb2LcxtfrLnpWovi4atOkiKHonf+AL/9mKsk5aEPLxg8qGuv0Utc6FPdYgxUifeaRXnNvoCIhEV/OgB3C9WTh4D9GjYwgO0yfMb9upc7Wd7EJIj2/QxHMzI0TznGWhrqJF2AtSPq4hcjxZBld+ylBTByxrEY84ogLc1S/z30RTdlhGBBRAzVYr15dBYvaIv8JV1hdf5SEloa7jCHbQv19yfR52xyvxzwyo0vLWgxGEbb2nAUKioKpEuGqTv9atF8n7Nyj+dBXk6MecwhqnCQ4IHRo3W/0ujhB8VisXVNuiOSqjuw8x9crJtJqMYL3SBopstvJ0ysvCaLrVAGqqnEgerJ9XI4PNJ/uePhv5aJAIYPOuZaLmJbgxth1NvT931/JXVYwB1AM0Lk09FPIjqgHEjwFlrPEb5+QfLwl0t97wemRwCL+cU8LTdiYiBrip3jFB/HRzfLA10ldAyc2k7PskmdUNU0QruyH5UCNfySQpQDf0dzndWOTU9Xi+oMlU/CeacSujDNx4NGk+0axwTxn4O1ZbPRFja0Y0qZihHqwisyDfs3NVDcPdTTfv5Ly7PL09uIu8pHzsOmsmMOwsByzHvS9/zhjYhEEKG8RQtZ6NB5eRjUba5+9m3VpNJQUrejfOzr3JWXVuefkXI9i5GuTgkgNf9nTCtUivMzWUn/anR4oCRK13qiRcgOMcTQs955Os+ETQRs/EtgViXLj/l8UDIKZejWesZhlB41V06NcsK+35Y4TI4dFucayuyeiRAdXbgeQdDcqQzAnUt0irPSrJ+PELXdj5gly3ppmVl/adEayHOuAVQtgPIpzoklz6cMpjexlqtelqsg0OljJeyLPxRRTSmPgLyH6etdqydnCjlgpnx9homixNu5vqJhIwfaBJS80pdV1CeL94KWxWUWOPVikGs5z2U5Uchlkx7OFTJjhLHuES7T3/hOahIN8IokQ/lrXXYsHXEXFcBpxzGuUdZZvdavQXtmPR8CT7FTiFJ9/eQxps9bxNFiEtNlncn1XFGuQ7s6mrbIb9/If2WtVVpGy4VcdUkaEVGOd/ngWm9XHwy9uVLzhzAxaB4jgjLO1PfK+qWRSUJNuQbwxhBVOmFbzR1SZLXy9ov/nli6i3I6+otEvrhrq/EYOId8QzInKBosetflsIS4BeMuYaHRoSV4M6jXqsUZ3xie+Z1exReLLLBcjpTHo4aSrCl4pUoM2srHsHxrPJPKqmn8WsOIpIc1tGIs8rcBGeYVmfp0IjABV61OafTM/iP2aaOsA6XE6fW2eqTO/HnYO9jaaYe5zksMdpq9C0V1sNv0j9CClXyd5NHqU+sa0Z7RY7dr9UgW+mGzBqdJsUM3OC71A5KjeaB5sJYSYGu2+pEC95YF522WQCoZ3umyCbTzaxNxu1KmP3HZY+AZB9ywD3D3RxrfxGi/8EWxaBVTzv1KYRrdR+V6Rq//qyXFeLBHV71UmaNR8rpAnlitrB08xZ+R4EATppnbcvwf+Hq94TBbe1PUwbb7Bian3h+MrJMVrPB1iF4fs0bo5+ADSfaJZoSUp3PPFbCCFlB6CCxBV7eRzNdpHpAfwHBssguaNgyAEAGyD0ZztyVNAILMZtF5npOQWGi+aDFVaAsCwJOPM38ugKrTuthTuekKqKQwJ/5kxZUhjxMiC/PoKrHJH4GA3FulMeyPWbImiG2mn/agusu5Mwyd8YFGV8Ibd1EGue758C8M51qC6QSstatNHxmQaBjDMEy/+9p/SScH/edis06vPGpBIfmIo5lpSXnrEhcrR5XkIFOVm07YVqrbcZPS5yf7LPaEAYIxE847tX7G1oTgINQSJdrLZR8zrxwwTOKRFleGbWxUBt9c8PC9TT1cVG4xEvmkbAPo6hdwczENC21szkM4gaMNRk69ViF0f9/8gksObTGpFKwTGuezR10P4sOI6yb7pxWfS8vOPNnpQdcH9dpClcU1YoD0YZPzLxuqimnmtOVIVkfeqGqdMknyn6FFqlLZLOQvcxrnvnL9/YBEPzkFHEAOQlvj8QHI+m2T+7nDzxXljtz5E/aICPGGTqbRAWHHFLJu84WnSfYa72I9/xw2pqHYYzMHk+6tccHD1rPDfl1n/U6iFc+ortOzZR07tz7tZ42u8MkUz7P83ezFOh1GifVJCuiQx4PpfTj0+QEtXqDqZDqLgEy41m6RaUuSRq3IGDLbHW16Trtb2QYa5eOlVEKvHk2ipDOjNHXyCdc2ifMxYNgS8SEsmx3lfe3z3WMgzk4TVaxBvigVjbzMlXNaGGHJeaAjjBO7+JfnTpU8MI5csdHqWN4NjA8sA+dRh8IohQwviAKmNphYfxCA+i1AOZFMArvI93EO7yDLGFthg6tpMWJyguSAyboOTwu8RaUVWZbdN7vyDxNyxkn+3qZjSbIXUNtjdL5/+nULVseU/Ugh4gO3gy4x94T+MUKtyRXK7GN71hL2UoCf/OMAuyVVxfdYOyNtJapLsE16qQzJqXAQlNlwkJy32KbX2Af8rucaftJBn02bo0vtdxZlcAun0q+oe0hIC2lIzFUfsMzy1PQSHKXYEJL7D3swg4boq8x20Mv7fjpGZZjik+b/XGbZ1GuDZ0NreG+746Z7CXcQmUOaKgvS8mAV4uIxwEGtsZ1eXfptE9xznzE5jgVtSLJGqljCr9A4H7wBRt9rrMbKpkacHkma1NbFX/ELi52fWksBDy7iQMqL+LnistgX5hJE6WoDl01WrhZZGCNIuDV7aNAf9amUHChUjUMVSxq/tLqD6fBGIIib5cH0xojpZQMDK3HH9yx+hq0bmaLhDfo/ZdQfIJvaD27wdsXzk+SMoTXuOrz0/sVVLo9JFn5AEiB/mhcgxbEAwNcz/Ye25Rc+IrGHEf+5B0zGFI9Qz9+VV5hSlvet4LLpsofQhzSYN3Hk7X2r5fCAXTJ4bsT+AG/JvPOWNLr72huNKRpoZYGQBjYQYuH7ShDjGvcBZ3SkC0d173PgN/OliZI2/0e2Dz94w2h8UIlHpMF/eUwuyWP4r17sYY8w7Cc8P26of+40YOXWzLsEQC/f2Pi5hj9BfSFnC1vjKz3qcC5P1FC9ga+JNWllJ4CKQagAt1rDcJBaplPo5eEOgTiFyYGOKxqh/+I69gXStrMTdoA1PecBOUOvsNZhYcvsXM3n7nK6/armM6416XZHN96O37k2cp6+glnPeOkRC5DFlPlvO4wPxlLVy22oHF1NZe1CuOS/JA7lgt/0eZxWbkirMa9VcRcEEKES0ILWMvxoj4P6WIoiqXME0r/LMmd3ljXQATKUWNWSMTpl1zPL6NSXy4HkNAlqtF+OxY9BHfaoHMzls2hqud0CvqS5TL8XFwfnvvRzcTAOX79TA7+EQovbo0F+KuikqnimhgvEirmDeqFLewe7dnzNDma56WQyRGxKwP/OfD1RD1MZDsmZkiMXgR2uiFNvzKLgS27AkZcFox+f6pCaf3BK79hl4b37Hi4ZFCmBqBfsYJf2L3EXenBJZqo9VTlMK1lOcSsRrImTOYrJB07dami7zyr/xYQuMawUtboJPEzm9T87zl9eMc+KRQFOXbwwqs20euwAqiHNQDatOfIaSa/HbEZxNu87YkLMIWqT1Ppbe8XEhfLA76ZfyJMjhOv2es0WAthpQ4Kp376APLL89ND+ZcD2tkISVDRW7dAcTgHO9RYvWSP351JRgLM1UjKjnDkhC4G11CLEnjwNxdpRZeZM3jmL81dxIgYDJ4gE2d80X/oudmWKVPzxXK0zJTY0Ucac8G3FD5lTQhBVT8Mmm0hPjSt6kf1MmDIRb4T/pheMHCNfL1kPsdo832SHyRkJ7SPkGlQ+x93AunTyyf57ssdnhNMZ44+B+e/m8vVuZZHWObYMIjq0rpXWXiEUKcKJKdmTOHa7Rq3oE//kLTVBk8WvaCUOi9hxFCGOxhIrseUD34PonMPIMIbSvgc5iRBJOOF3zyLcSOIcHaxBfmOelf5nDNIWMqr4vPPmQQs8Zq9iTxCTu95FzXKNGQQEfLx/JPaQdD6X9vh05zHwBGcykkRkcVPNx8xCDiDhZcxX3McyjZ+44SQ8EehwMkH7wOkaS/AbmQ3+RjD51Hbjjtg/lZcdAi+Gz+iS7411vmZmYFoa08CwAbBRUfjZuJ23wPN5Ax1D/ZKKZ2YxhOYGoLz/TKrHbu9vqrTWlBv4JwZRKMxDg+nnuBByoj9EDNMmKeaoTvchIiPiByV1UNPc9u/QaJnccsyTsTGbgJbefKg56sxKXc1YlgDiwY33ip4yj1UF53c12ZUWRdOEOhrymYMAAGe7k0o87gz7kqCuoCtVi6/p7kRjPcT+zaL/G3bhgEqTeFiwL/DjbQ/CM59Id3j+/KvtRJy+bTEzRX3fhu4AKj8dQAPmhBES12zb776up5006IJ09yE5mvBYEpeXqWWCg2tJne2dY2YESLwc38Ckm05lFLNzutdbcB9iemkakKkCTr5y+zMvDgWrgY8uwrGZD41z7rG+9bLTOg3cMQJi/U9xUcr0S9lSWdKpa1eh56oDo+CHjgrnZ+VkUWnNpxOGt0wM+ArojHtKWjASTV00HVkTuBM7VRLI68pxlY3XbtOjS+3v4luPLR8ZWjF4nezA8/jtHFLZMhX7qroHkRGbPtu1vYvcqiGngty9I0DmGisHjei8Bby4Veku3iYvlXCgybwReO63ZhImkJrztR7AY1jAhDNBK+sqAx5Vn3FQ04m+IJgFSLWDX0zmSBH3WlBGDwyh/BJZhJY4jiOv6SA3m1qXQuo6s4+i6339NVKx6bt7LLRWAN4+KLGxkgX3XJ0SwNyq2e3FI4Rjmhro6t95Y49jocaUXBG1d6ONfoRX1Qm/h61T79ct9dfKjWJ6gVOofVhPHnLoR/QrSwY8dKc75zFLdu36zLLsmvM6kHR7y3hayRywQ1WQ6pWmFSh0Sj0nr1xqD77u+X8A88Ofqv+4e50T4fUYUebFvetCNk8ODcOe+NccsgrwqTEyn+VpLXN/hinO1zvpjjPaW3h9OfbZr7ROuk6mACfqNlnHU9FEIaApt7PnvJM7cl8yygqePuV0totbPvVZnmXzXIqxJ3KUd4Kxrbi9ILc1+388DlfbB9UTM3heIHuMaR9BDc3CLmiqd8SOB2o4DoQGvXpUzLKDz0RoqIQQSy1pyb5WKjFNz2dw5jBaN+/P3skAOvI21H/heY0iPopLdQc6ZEKXm9CFJ3iyR1fkl7qTx33p7T78jygzgs0y0IvXp/B6Umabb2xgrpNCgBf5b3QAxg2L9K+jsjbly4KYF8bQn5eigxGLrIg+JvfVnuzIkJrtHbtVmyjmY/VSam6khakK72uFv42T5/4M1m8O7HPv2zusixMKNB+b2g9DvF5QPeazJsl0+oEB0iUE18UwQq/8GTUiTfoa9QcXJ+kJR8uAExgNQUMs7PMg+t/I0huvcaZnrwnS8FwcnLQeIZtGapHd/hNdFKcoWzAWdfOuuqoEIYeo1BhollqIhJochUZ/XH55mBXYrj6Nzc++QF5wTkQkqmB89pCLuDQFS3QCnLpZ7OLMcYR/0wAuAd1+M9qEj1zTyIwQC/YHXsuqkvF87ZzIAD8E2T85ViXacG06Dp+vwqODAM38PEo6LLkvZ2LJiBLAH9O3g4VNxOgGgnZodcDe+LG/b5cSLzHAGJ7YJJS2a+aE0u2RIWWgxRfWpEluqvyw6ZGIyCGEmZ33rUU0T0lK0+ng3vjmPdyb1qPvaT3GiEKISA7y8Rl5yuq2OeIlZgTTfJ6Bn2241vxKayQWVhUCDryrgkkg7tYJs5ZNmYJiJd0msJjBDV4IKbGBkiYVR6pHZfQKEQzexQD9plruF2efOJctoXpWHE41JjaWgbMNsrEaSmUnUgY+XMEKYIhvOq1p/6ojknbsSOAdMOhzHu4I5NUB/fzCDYartTqSBMOM0TIcIDdakwwG4D+HYFyg/cvmXlZHL9Ew2dQhz7Xb8VO5uOB69jRsD3hYUP7se2tKjBVA08iKSXg89cHTmFCoL72Gb1rSRwj6cBn+T7+SFGs9QW7XM1d4Gf4eICWLdJw/mgfUFNraWZ4YqGuK/WHd3kOP60fMewKLT/TAx/gAXm6sscb5ycMGZyNT5wgjYnazXghKLiiqEBgytYdtNwQh67xk6tBVAjotiTxRsIcLDJLhcN0ys47n11vcHGGPPv37wOaJkrscBPV8cKwh98Q1pVH6Q2hlArsVTpuliLwOgl/Ss8+p/J0mM1CzmFeipoYpMZgA1VvcdQxUw0DdRlHSZSvyMt3ot4GvzIP9RmWTnxJh1/oe4ZKmLEY+yIrodHmiMAqvK0TlukD4N1wGFpcHlYVfaCjWijQMrsyBpLg++AVYcsI4WQGMzq1gcTlR+gvp/YYQk7MzsYeFMhGjssrmg2TQhhrjRK8r3D1Qo1bHeoUyMtXSpGIac06yzq9hcqJHo6p6pLP4I/dLU+C1ZawZhy/hK2aTbSPctToQrHzYVRpGfg8h7KFy7yZt4KbYIf6g820+yxD8p0B9rXU9z9hha6/G9o8wg0OUgSCw8SdalYuk1+H3xmAlywDVlRTc0I8krDt29cMX9mEoekrwmVSXsQ7NQwdUMpOVZg4K7WQeNRtzYf/4c1mJd6DJ713ztwYq+j3LjoTj3eRwYl7cBbsd2yhRT0G/GX3+yqWfE3VaZ0wfcQN6gGfjepFMo8GSMnaDamYyX84tGDpL+oJTQ7AVWBczSlBJTm3sXHV8gAkV0xbhonHKIk4bs2QYPTNwnufG5X1wwnWM+5uzJHyDHV9mJdti5BCHJgCNtcvhKGusNjiK6dT6FWAoHhcL5x+XunHsiQXZ5F8lSIG9mxTuutgQ33d7BCPzPWjq7DTf1jzFVyj42jUK5dZq31MMPhN6GORuh6ck2imjEKLcZyPdQ5VlAa04IyI8c3UmhYQv0bSCkMdPLrgBmyU1uji16740mKCOZ/pu371vkGHyqBt9jp9ItgSRwcjZfnrjr0Huu759NRC36J/yf02qO0z7WBPxS3zT2R2VBLxVvcxXwP8G1m0ATlV3ow+DFh+wJN2rj4bsUs30ed0gQdtkxkvNAYD7nlUXaiHGnY9Qo+MeZCT4Qws3+CzG4EXoeKtuLe5NcnfboNFU4sl/hsJDxRFJwc3UOR5Mjt2t0oOUHvgLXrezpaAy0I86AxakjkSGmgGGYFjWq+H/HLaa0cg3n5bK5yDYiPdcfYhDtXvKGvpdhyAGTknCWNYHETY6tu3cqBOHc9sOEmnBpH5L3OrbjPOhBQP06HWsRdIxgebVh75zAhsSfnoErXA7q5zz3skT1I8GavmR4O1/dUU9Wtj0WBUK9Qf5AiNx8FPgz7bDmPXtPYKjgzjx4HdD8MOxdDTfXHqvIiYFX2kxUcMXgmuxGUseFnuoQkvEI/FmBMrBELXpfl8m5ZPNeykl5P7Q8eRl+K/RRu/fH+Q07xWSry6Lb5odgylJbv6/YRWU414j7nzdFcTBR7xTGVfi3/m+z/syC2yTxbw/J2nz2XZltmpq+SA5HGrqxy5/mwLSf7gTxJEAeZPOawr7sORlXdkJKKItWJ5OSuzpIzCeIdA50QkguWZKALKLKFxGtlqPHAUB89M8wVPbNC9YHkcLu/NZrqQIOpM9IM2r9rmeFzikiWxRosDlFat5QxGIZoSFQHR8qTzkbDDvFevSITrfCEFEAppy5aVubf3+zAyMFWndRC8iBADASTyhnfHkXnuTB4/b1HYoogxsWKRiauKTkgOt6iEjChKAaRFRIKZ7JzqFYg3s5elIrdXNnzxsJxFAwIryQCpcYy80RJencBHOTXIOEHJqjCR/lRl/Z/Kv8L6NP0c1+mdHnr+BQj/mI/2If4A7e66p9ER373rW+cQnD9USz2oSQFDrQwfHjpdVAQnVxTOjT7Afb43TLMsZTTj5urOy/6TS68pOhhk2h+Ng06JJ+m4BwDg0PifedhLOAx8Qsl5AIq04p+JDuFM8X3RFv/841u7xzcBjNECQFLqSKHmD8GR7gE/TxLYJ3ANpo3h/GD1I+ucAx7qhSB7Q6BSA9l11QCm7uOOu23PGljLBl6mbK6C8S/FHp8zC6Wtc9kAvcY2znqiFqO47X+akLj35ELM5E6DeNP73M+Z3q7QBQQ3LzGEa+JglVBro1oEGA3xMSt0ZrSZ2Y3PoCTAW5HGq37+L/iBIpCXV8gShI6wHZrBvHCv84x4vUEi3w0EIFJkbK6hRic+TWPCB+SG7To2UwTCObi+LAAI5rFz238bkG1FoHHhQsJ7jiC31cFXJb4rwSN9QCB/kBnkTy5krlVxcYWeScVfvl5hDIjEvq4DmmhX7wdnyAecDSA2rzPsfp0VLROIj3geaFrW2qSN65R4BEAPfDh62hy9/zUDPbVuufy6H4mIspmkiluA3tXg20m0nmowig7uzZK6h9C6KckaqKOjXxoDIixCNFZ7i83Hl8HwKs6Pyz6v7bv74CsWapWGtlOkjivt3acnQCsLlU7Ji2Z+vGIqYF2pZDnYUHhLqJjUE2Tubkpktesc4henph3SZqTNSi+dBQHxzWdbjvfco9PCNI7LWaGAhojwCSM6xd1eXWwoHxae3wJrRQX8o+QO3JrTfRGuTLvU8M55/otOuMNmuHwKno2IgVxa7jJ2qPCApMjyyv0uIjJYcSf6oWUJBG4Nu1oRoHUdwU3hK0CURtihITfDmYcu7zZmTcCm007c0mYdb/9luSgc9nCp4CCymSaKaEVXVQjHdJJbCKv5QOi6Ut+p8rDz2iplM0jEESwWgu2n29M+Puwjtt3E0J+xTOx31VransXZhgNyWh+1+O+uP4q7n5P8jtnopmFjauwy/809r4sCUhErnH0S1zM+ChbknAGkjPIO8M5ik0kfL29FtNeP2CRmSFMS59FuZ1l8BBKBS57Rc21734hwmQ3M0MWHTPq4ZQBCUtC4MLNqm+v0j5lSz51hi1JcJVvKJug4KTDRUu+JVYA5pcle0sbfu799cUdV+7m8nSoVlkjYpwfqfDkkflAiVhmxlSNES4e4rWs//PxnOZL+yMlgI0EBRGezyNtGZ1JUUWxzJk24PGthciKLhdmK9zp+ujQG+BXzh5ov4xiUQ7j3O60hXD3CvJhRMZ4mhbpihyv+u8KwkWlbGgu+a00khaxI7L4ntlXlvxtjsx08APpAPs236VjnJdcPrsLdX2O20y77Fo5hsQvovqR4YPW5GnKS+yOPQvD6HmOV8kRfL950z2TrBs8J/u6Muq15ir/a7CDWli3OlzETeK9gCOk2YAr2nUxjygn72O3RQ9yNu9CGB7zeZWeBQNhTiwkzsNfdZv9ZTn5pw73LYTvUW0LOjEOxI0WTsd368t+D6bX3GZZad/WS1Ocypw5g9URgRnSORKclzOUvQozrRvyj11QP50UaqMqeBtiE9Oc5rqY6cGYFSzY8216/oOWxNxwK1zgFFxQQM4UHu0MlccnTq1UfHp9o6+wj1EFZW4yXEmS4AL5GH7+2+aw8bnloglqSM3/4hkpYBQM+OIp9qA13nHZaXNjWJM64umqAy7vR21Eb9I2SCOqhqqNIxOmTRX/TzQaMXunluUqb8iTL3M4LIn6N1I7fzOsTHPQ4/6hYJOzxiQm8T6YBGv8CStdJAcg35L/I+B4RNhWpcbJ86L4YOuIpKrW31eSkKfr6hQplTwiU6KbCEkx8MGnHLFNeBhWPfsFR7MS7HzBt+zMe1V9x8Xe/yToBYYFPW2LvyD2qvDY1QO/tWUEqk1FNWEl75oTvzkNOUwoX2yo3qScYMWOt+B9g7u9DjIFUgwDUIjaGlgZ2xmNGlXfN9M15pYcU+vi7vycxj6TM8B/pWzzArcMNJ++Gta4cpR2m4NOb/iYvRQz5GibAxOusQP8E6v19bEOqOC3wGZ2poibsYmtFmcMGe4T/qVNzWcuoPa30mgkodJgkhWgrdZDyMLCiyetO/rTT6vVkn8HxF6FbBuenl/PBpKEad3H8QM2KlkV0GOLfjDjKTh7ORmXdnEF2Ct9U0YvP+y5gN2QLAWjqkUMDvvjN7xyJoxnaaf8WWAkhXxL5hFtqrE3CAYntHpslCX3XkjRcp9fPWYhxlsFzcR+29QNz7l/s3aX4u2vPUDccdbft7NG5gn047yVNskIT7bSv4FbG1fKWvHntM/ApZY541pDTnHYFSOqnwgGGgZC5pgI+dqCBUgXkoUP2B8Pc1kZVl02gfBqodqtbMLYOtfAUpSqqY0AMnE3Ruxzs6QhPz8i8Em5cwsDCWqIyDlBvJXNw89nbNNvPAOuFyxvVp6qI4NGZnTKg/4cil2HKQX9Qhpp/3SveLCiBQR80m7hEEV61ZjsOTFTwn/B0uJj+scV8zSgWi9wo3Em9Xo0w9Szl9UjlNsjW1PeFj1sNBImgI48Mt1/gaMksq54vD7REXCmg9DBFTgCvvfP3uP/X7MJnDrMd33eODRBQpMQM8Ai0NGjaXtZ+9yU2qll5ozKWrp7LgVPKf0oo61oz7u35okSXtsCwhjOg8C65T3afPISHzu0iMm4kGKyedobOY7QWmCXHjFZHpSnahhb/t4lf47SksIIjCfFK/4CexPHhaqevIMteS6vt+vcnlEkJuYu/zESJ8T98YyCp+XCtm0PnCNn7SKT9+8NAy2g/2lrwfXTarJ7zlxlYtS56Xb6EckGL/Y4z5Qp3Wdx0/3Vq9ubRSn3DEOJOO+9ZSic4nuvLy0BfWbMeWMcjagHhR3JJ9e3fP3Uy6pXSZZa229m0SpLJq84MjmTVZP2JEPVpgnhNi8s9S6J/vwv1W7fJzuWiaZYibUuvNoO4kiYBci8UqgSIXyjM2YEXOObREaZxuFQVCg37m4X4H+YDzUTbdWU2gNUufI/hD9yvhEdmM7Gy/G4z0L292hKzSzyrH1Wa1yjvOovIQEdFckLVGMr9dnB/XQx9sPZCTz3ZAe8UC5YsglsFnonrHsrhKmY12deD52pgTuBOH4nLn3KBfHr3EWNA60CHFuRhlfyNYFfUp1WWmC7ZBfqPQGrSPVaJuL9SiUhgwqCnakCnDsBXNS8PXda++iCeIPXNjpK/+TCBrXifn/kWS+xnHsllBPxCo4BWjUibrcs8kghEBCG1zRlT8aDgbK56wiON5egt/hxS65XI3v8ac+FPKUgNfAqYhOadL9e+bmr1143QE6B/AZlBL7C2k6HeUNDj5ufPFAnJX2eyoHJ75L2wcJJ/o0zT4qmkOHqKJSPN9r5Cgbtb4M2vWGp1ISquvyizVoS3SfQKzZSlFjzhFs+YjwVE1V8L9MVJhMFwXK1Ry89s+ENWdjwiipJvS1+pkc3sgVclkDKy/wrlDRtyq5gRaeuR33bSzIk30LsR4IVyTweZ2gCtdHj51DeJ2yCy/nfn7nyEwY3HeFvT2PDQCbk2it4SK6Qv5zlSCmlVC1hCSDrFk08IqzmA/JsHCuuM6Vm+zH3ynLLR2qZJ8NoA9dsHymHOx+O71Ahj/qxrsX8EQjBOO8s25J4Y/oMWnDnFp9okm7k3VS4yCGywjF8ahk40McYrpalKah1A43S7OVFMNxjENydb7+9aev5lqZgyMKtgTYLNevwpl1zeVfbZIblQCGGWXuL2nWWPH7JZ8hHb0DG7O5a4MC7QIZr2K6lQ2ff3gMtQv/i5thREm0WdVQo7lLzyYPtl48+7NCa/JsQtUSDFFpwlZ1P+gJb4OxScQNGi8iZhKtnIljVXjPf05n1KQwxfU30Z4BltsC9XUgPmoziIOXhda5+kU9zfNTVsVGVbZKsh4DbhWeCgJf9wT80F9N1xxr783oo1zwaUwS7THtTFFoeZf2oQweXA63ubTen76uaie4feX7N7x/FJnggvxgxBjH8OTvLeGGgumAhWLNJNkZE4eqhaliO5uTsQcwHAOT/LMAE01nndqqGK3BDjDav+mIwEAkU0m/y9GO4TnNusutpEZF7mgMJZzuv2X9QLmWJBFbRczVUS89ptqv7LIw8r3lg3pQTYKzAapP0AS9UwqwThCtczIwNj61aC5lA7OXFiGZegTmnbE1J4HxIezROgMxNy9sFOTBBh7kb32T8yo5zCwHz73nviqkvfg+0o2qT3JEf/dmVMxkDzF8wn+kDUJOqtcZjmlMlAFCTBG7D/bX6KWVPDxKwM/Iv0p5Xf6YyPwEqwHYQNhZGD/swM9BvSA8KuJM27iBBJ0g+9N7J4duddW1dR5yYk9IIld0cZ4KOi5gVDr5bj7ownWVA6A2hb2/dmahYi4PraRYmF+bGq2IAB5OaFAe3hhLSn4/jc3kOjG2rzEkOq0wTjixtmfyMuqGEO3H+QROByVauiFFaxeDhlzNlt7qmY/nJHsEJCo+EIN8etlwjOXdXTxcIDjiZDXjDOK69g9WwEEPrE+Ispk/YceGGhXP5bTsJ7Bdtfm98C6ijKGOSa3f3OQppxNztsobR9+GdcxH54oD+qJbRJ2Ne6Qx5WhPIWekEZE+bw3W0uuJm0ESqK0UR5UTh6IE+/Ub9a2TggiaMFtUSZB5uEzV1EDpMPDJt6B5WS6AZnCZtNnqNBQPvtQLW0g2Cvxf3n8JyuBViwm/PINyDEfCuddYOMfPvhCBY7murcUAHd+6IYBPOxVLZW1f1gh+IUqeyYBWWPoAeZx5QQ2VhtSqSM9hFL+AAmBSVc+ZbkyvRItKcmQyfPpcf3i7f7L6SUwvPZTZp3CjCWXT0S5dK+6nqyNlgEieBL/VTYwfXL95d34cb8+1LiT15cocatWTpL0qYb6jxkT8JaK3MlXwv54uf6HGgs7bEVk9Q90f2RzIKe9CAkrP1SUHo1KIPfc423irRaOyXs0+hxjf2rms35XCUPcn1T4OxENqjTnd26HA08sbWV5+y1Vouqdgp9/ZGhswmkpfrRT7HM2LuiOUHjCcoMPy+apxKo+rgwluk7thRxCWFfEnkkSqlTToQmz4TXmC8pUK+5kHe4vVyLhcdwyvTfYejfCUmhVd4aTBPRvbX5F6uQYXfdKCUlvT6VKaE/aoZhhY/XgMRtgUuOj64koe9X2bwGvPJJIA6qTMy1PsbnBVomMkLjVL9rL4hFQA/VJD/ddujXCeVZgCnqdpiZM8hjIa9pdj6Q3GSd96oqTCtb1lDEaAnBUkCo8S8puLzrdnPRWdR9zPHZ9ETrKMlO52GbHTqXlBq9a1NuHckEWNAk+QWNus+KtAGoTTFS60fAF7usiiDzh1C6AOYQKBXDmcIzeBeEI+hqK7q0q6JrSARfIlw+ByCOCIo8D0FFuCTWpwdiXKENj8KOpeGEduxlwg04/+9ZDFsdyH07N6jMJudOoxzSPNPuyc9dxhY7U9XAQ1c2GwcI2q2fan7RpBO/UAHX5crMbwTeBk01uUktNTnZIqdvoH8qDHLNuxplPdoU9yyy63yv++LKMCJHKJ4QbxG8NSB8BGd46AklPZWII+so54Rnwk8lXf+ukopfQaiYJksSWmXPvez6xXMc9GBQ4n8AKuFUEsrGVEwxb7o6jrUm+Dh8NgInaq5B7hhcUyGFMOUUj1BHp25ymAT96c4jtcqaaIbSZEqJb/QOXISS5dUVTPmoSSRwTNXoawSHRYQJpiyRDiIwtfYmHRYduCOSdG3P2ebgodiF+fwqbJ4c/0E1BKH/SfjiBaOdY15aRRrfW2cZN4XOMJDnrTDxzi4XA76DDc/466mm2jrYd5yPk4T8ko//cdFUh2jKrKW9OmhvrWLSbFZbG9tPqmisTI7fc2mq2CXdoBWiwIYR6Hx/QjlImZIJdz6l3NiNSojMgkdUzGXd5sXvjhfiNJB4RaEoy/XxmEEVMlbgVyVbP3baq26IoYd0TtmX5QiDfz6WLuIUgrNbwaXiu5zpbBt4pKX0lf3xJ86RGxo8yhxAKyB56yhGGr09cEyEEjyclaOKKwg4fek0k8PILDk01axBtdppnSZirIOS2O2LC0kOL1hioPaTCYeKixlta6TeFxmBvrvsbjXO0ncEPyeYtRun9GHlBbONVuX+S3jxLvMGgttMPGbfRMNMydONUzw5H+9Xhe9Gih3/LlD10OyxdXuU38TyTXJTyDgvCW+A1sEeAinQjCJL8JVH9jQl1Mywr+bGVwTIZ5yAk04feLbqV0LyKL7HcTuUTu0iIuuZsJ7SqfXkdcgVM6IrEzAeAbfO0G0FyndyaUBXAcIiaC/+9CpzK2pZZZ4FhVXUTauJ0erT3LS/QVnMFab0ZoQ2tLxKSU8oAeGxAZPObgFpNmhRq2cQ+BkjehRpI/s0VS1Ciy6iABU/grGMZCQLdrIirIMk8etGx0qtkPy0R3IlVtOBvvdvM7k8xI8DsMc5TwFyfW72/TU5RhfvVCrBZYUh6ys0Uf5EqkwDEB+qRQMQx5udeUUxLbm1VLv+OcVIkZZb13U2NakjKRDoRt4bTioIbl7dirObk9NKZLVPSGg4bxTC8Qhr9gH+4n9Bl/PqwOL6BDvsctdvu9KCirFdlh3Ekc3QeSBMHObwtxo51Id+WQenikDzv48cSQQc7+UN5psg/I6eStryaTjU0Yd4qfpEjK0Cz/ysNt3iSuWZKt3h6e2JeqgVy3MVrLBXIfOakob9eCkqkvO68per+ikR6W4UvDt03JduY9az7NB5v9w7/KSQ41706Pw0t8hOmh2RLBVzi8CdrsYp+i8uBYUXQFmC2k7n8rQU0psSv8aOVlQ/eDAAP5zbTGm/pdkNVbLzn53/SSIxFuKrbjJ4YEA5AO4MH0EVSKrTcg4IR8gk3s7/UtYTR46S3zAVvfCLWBcznYft4IFH7ntT/s9r0doDGTaqzPyFV7AebBb/FDdO9kpL6lozSFZaOz9VydHzJsjczBVFLoVlA7sL0hwD8x0YGKTOf9JdzWTYrlmyaTVxMaIs4sK6vKgv6SzO9wLcegRr5+QddbRZYVKU2YIy3UXNXfi9+bS/wX/oW7aaY4DUn/quwMRbzhePIIb9qaua5FWxbRLw5PfHfe78mQ49EaYbwxbJnng3V3ONH9VX2QOh+v90sDRtjuC+BB4bgOxxUEIMVUsRa6CHj+1zC+Dn1kQHjRuvAioBDS36e8UvGmAFN/bJNajbsunFNKN7NoqwaSFXgGCojKTa339mSfnbx0s4IRKD3kaPhwTRyoHIPaL5tkZPrw57hnmwYi/uP4jqV+IP4cTn8DVWO9esC2NargZARjdYEFJzjY9V7ONewd1Im92B5w+LXUQ8ewvMGKCGdZird88GSVGAZGRy9Zz/iC1UyoRLbqQEE7j+ChlaOq5Ii9iI99+Csb256QJAt/T0QeAHrad6ctMXRbYdTEnBb4f7M0PjdF3qJlVsnPLi+6pMW8Rg8wIIClRQO8q/M/7xzL9PJhjfTXGxgLYzzh6fgncrPGZg3j4pEBoW6hCC2nQ0chvMBfW7QvXmwFUQ2PVZGBXHE1+P6dXVc2lWRDfmejtvhc89DaNbsm9GdibEquwarXpJXoeE59uVhVYK/6ktDW4kCcSabgZOM1vWidD84dymAx6QPCIvMNJ/57azmxq8IPKr2dXnYFaDsn/3ucZBe9t0hG/dkVwMyGD6KKLHhSLGQ5SexUfH3xCKCXmPU/i1i/+o0NX+X+marjB7exj83/Tqj8whRD/Ccbzb1dmBP9hQrAIO7Qq9+Cm5GEUiWVo0WW+pncCeM+Zic552l3YB0TW849a6EGxZE5/jfhTzbR4WYb3SlGp23YS4dVVedSmO2BXZjijXxz7Zi66uJf7JgtFkxg9aM0iHJl9JwZx0QO+Fvd5h3L1ibkF+z42psPDe0hSH/zeXc+dL/8SJgzKR0A9yWoShViaxrNcRSJaOfyV21iNL6Qm85zHsZRSqpa3hitKQbPhdTN+gkf4hPjQX9N0XwTzDhPVCm0GgVgl61iashIWvqPX6JtuPH9LruI/48auy4XAqeuOhfA5pzHFNnP7TDG8ymmMIRY8Ru/zLLmaSOlcw4KHbGQQ3BIQL3o91ewGuoxBOsWwiXBdptXeX4Yscc5BldOWD5x4hVP6ZuJ1dp6egk8U1Yny5QZULs7LY9FBOsjPmTUof28B9/50byDsfADQBVDPPZrBxdBvT99ep4o9+OcbGf97cIIkcXj46j999+Ih+Z35FHm4TbwYrgQsDDfvpLrJltrccj4Au2/3oLxoxBgAfx5vbtY/9U137A5evPW+jfqo896MiWr/8mUQM/HgIBdAhJZdBBwb4YbZaEl+7RBVbXKxotRFdRnkt4oHZbzerxHQaQRiCiEWW1nyU27VuX/FkpImCOcvtFg0Pb5LMfAa3YOXCDmHE7NSZ76Hi8alPnTrzY6sXXOAwjkzB8Hpf0F8yOQDg0MXLo6BGJaTYwe4xGV+Nzm+G8EI89A4XVSVXU8LIfvuLIQNF14fugVJDTicLd6Jdv1d7O/3GaiqYM3c1UysXHMXqyNtI5zJI3tQyZTuA8MHt0jKUaM3CnBMJkwWi3cjmOJEzLDsWCX+QhG6Oa0yD7PJwkjvDlsCVFXj5hlV15/MS74l/OQ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7GBGRmCTnCSh6D1s7h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GnJtuG7lnMayNiDQtjy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SB3WlvUQwEeJWxjan8J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kdkcuOajEg960Lup8Xo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mwU.oSrU.doQTs9ynD3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eSRcbYiXiGZPyoF56u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X4y.U..b.rpSOYa_B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b1SlHlCwQxaSitr0otY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HCk2wks9mU6vtUcIUS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kxRxCCNoaPPqi2AfJ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8kHPZZtkeLLZb/7Ewo56VAd5TeI9FPIwN6WDLhFMhv/MH65fe5xlYOhVA0OJPsN7TDCFSd/ZKNLZEDdlVL03C/cOVCOWBaUw0RByX52Qo1xyrFWTY/y1KQ0L4TsMj/rlrnqIXZFp6LaMeQBV/JqX2dEabJvAwzLB+b22U++wR00WFPOVBufS+BQ0QScivr8lRsvzrmb88uV3WrCepk/78r6hFXkMvc4Dr1AWTuz2zHS9ePJxzF701KavrHbc+I0GvvwQBadmIlzMvIku3TI9Km4/kpNSdBpa6JaxvZaLC/hHjaUgjMLICn3UTcjkFcMh21luhJv5C4DDD4Rgx1K+nKqWEj3mIKLdA4eePiqlHUsYM5oG58bH2XSZC6oIIoKt6gdQ/+KTH5h8FarmA40MOUzwjUs0Mc3p/+6BoMuyE1D3CVHB5VgBwDV6pmAAzEjHw12wYxktaw/WpyfVxnAEKr2vZEElVY1PEA09+Ul5OWXZWuRmohSfpEmrUOl1QE0Q7XjQYaY29JhlUKL9qeH6CN2grce7H5hrVJX0DWQBx9qy1cppiZL3/QjMJT7gSpQNW3Sqif8ebx0SsmYHtZw392bl/3aZ0GtHnOFHUbtWW4REd+UpBy7mrnAD4kne0hjMqn0PKF3IAmn0NZlAIOL7FlUKSDdzp9omhR/4yQ2GcKMZhj+mXgHyzNiXPYb2Q83yVM14+g9rLprSPGWDDrisRE3pLgdcY3GXUiK+75xWXGQeO8k525mSq/jkar2oLet5BvQvHW+dGr55qoFL+RptGzhHYBXG5qInTDhbQPmxyUpbgOYKJVe5hm4N+oxzdW/U/Jd18o02nEaCNCbVWfoBwnH7GEX2CZK9DvwUpcd0vHz/nqLw1XC2dPY4zZ5H1zBAaN9ZgiFwB/2tkC57dkvfwDTpYzU4rSw1Vmh+FMI/A7FJI6XFM+1D9/9cMRkrxG8o9V19ePbrEBDGDwKD9nHZSV5/WOOqbQkZsVsoL+jN1cmDs87zqOJ3YAlEh+5GzADc5BxykKVZknreZtfDCDnUzUDd3Sr5rhGphqzEDq/mEdCrpBijp3fsZwFwm9EJDnvaDUu4WZjRrX2+K0KCmpXx4kOJxgQk13gTh2EwwQqRtKcCxccqxbz2XvCCBtEkM0d1eWWC9ytuJfchBPtMJOBvXsx+SLvReJp82Eefa4hwWTXJ2Wj97EEiJxvv/QJYrb94bh/Op5r/JFizx7LGCutUOEqmNyOkNBVfM4XthgthYqeV5gfS0z2S/cF91eB8N9xmtDqvskYa+yzPbwHlV0zI/i2SJshZvYLGyOe9P6fN1TFE0De0xMT74fN/iFClryj8TDKg6EO5EoBMWnXDKz2ZbOs/5UMi3Egz2d49/jeSFnQGLBaZJRWIndnROphyyQ9XsG812lguAdyYS/eVAjq0RMV6SjknsXc1jqxdfFRKSbGkoJ1hnVXjrAdDAST2qv8BzHSh5eo7nXTff/0BTLOEpvjNVOVS+yoByZtjWBpn2MYOJP8CqOqz9Kzgv61AQ6NHJRP138+6Oo4+fXKVtmAEMoe3/T375KBaEZbEe2FfYRntI4ude8hfVgGNXD5UOn3lGkw7F1k4Rmc+dXAPk6CdCVnMTHZbAoZ2I5QIFQzZq8d1UbM48iOQFXD2wH85a2fF2IqEGsZ6wJrsbpBVpuYxhQAV9yhmGn2yLwl5EXJ5+M6W9rq2bxy2Xpg4LJEbfbKTv2MTHUWIhX9iydgi3x/r+0BAnsH+QG5nHXKdGkhm0DlqQGyvZwOiN5w2fKrYM6NI0zOkiBHN50cgTlyUwKfKT61lq9RRDQRwRrImLSMKR78n/t+WpqLYLetKEBr0F5Cny8e/9m7Wpl++I0IVWcEdG+RGst9VQzdnYAFLm7GMKoQerOtmbDGgzhnWSCgKgnvEvyYifEJpPK/Kr5chBOP4/ADd6bZNlIZNIkPBtdHLW9VJBaFQJ1hjaWtwDe+xLZdzc6GU3YeNmT1dfPRCqezd0jFC3FvP1934I85QN8qIVBoTa6eTVfoQgzVXAWZskZXhzfMHgMaI4NVs8durnrmjTD327Q8g5NGMp+4VH//Ev57vprcqSi/jTJisF2G4RNe0qEAaikusqUamMyEFQyOOss4gRjoo0qzfxDFZNh0eJU5i+6duS4HCueO0LDyCKfjkvxZKFPOpOa9XkU0qiI4edUMAW2l6lCMmrmdA17zwvT/a5+FtfKNnv2LA3AhWSSDEHWOpeo1pMe3I7KFspgsCZ9U3gc0O41yiktB3eGqZMPZkBidM+5a7B3C7pwaJE7cBNM6ofUNx/WdfTGBZMrJ5ZR3QqpRww7FvhgRXKHrnXx6FGJR06MJr9KKRy6QEFUP7myi9TSBP5fRkWfhzVg1vdV5z9nQQ9v4n+2BHk6LMYRUS0In8x6sM2/ZWmtfLCXVTj1nJcnmD4trxgmuKoI3nqTieZo6rqmV+lKSHbH4OrBdwb8wflC+TXFoTn/eshJG2Yzev46myg0fdYhnq43nDu5+Nb4Oj53a80kAN52IJSTVrOJ1y6o2OmDIZ9pPv1dmOmDCo6aKtgkJAZpjehWz5dQ/jScoKVXKmCqTdYqhJaFIv5WgKcVmTSL0A/0Sj2hJO/jWbxjTen7JDN/qc32CVzsO7aGWoSNnnSOO+/nkZsCQ1jt/foDBc7kbd+nTyoRvjsK25+By1VMZSbgVZvhzNItY4g41qlo+iy3Uyc9opqn+wyyUhDDP74dw+kJ20UyjuJqI0D/HIGtH1aSA/XfVvo5Pn/LaPl9bsefxuZmP7mbE0PssRIL5dwhNM4rrfFtz6YVc3Cwr9uTp0YQvwoLl5bRcOjtzyCR4YizWBEE84WRh6HrOivy9rEv3PiAovxj14HIhFhHjy9RGGMxdVMRVe5KnUSP2tvZBlQtyecWVpUp8KtGAsmmijB1S5GwcISd25uGcJFNPoQR7vcIs2hfHJKq25nb1M4n4ROWCVxMSUj1+ZTAi46gV+yEpa8k97pwIS3VBFYFMw19OTupKir+sXwQg34KUtLjHhm01N9P6pN71vu3Mkp1vdJqOufV8EzeFLFqRF/dZfkfsySMmP2nPr+6G5GGWubt94ungoFTffutlZqirAvGhD8VgBjGa7WdTO4+ntz9RCHltho2iNH/6dXPR1VSniHAXy5yTrwEbsVM4ynk28ze61fVoPwETd4IUnK+DODMiVl7wadpNd20djQRAYyVwStY5B/aNOpcd/YafGFEzVwrFoPxoTmv8oNtL7BAQwERlpnsiiVE70gwXEdvIewawlVKbchEyMJi84AC/TOph/32rGfTPK2hgrXfLFe5MS6O4BoSx5E3lu6bAK3MJx1c8eoUY4OgjOvQ5f5Lm1andQWNF03L59VNNjdHtC5VB0lcfCrIngcn1IAmlOZnOUwZvseNT3duhpsJw0tSTzvAw5J2DS0m4cPgVdF5z7dgkuGorA3+xpHOVVsw6KnDGO171IIpf3kK+uc52UanwjM2CDI5BRNfgbuwsT0NhU0nGKctWJoSfBTWFruVOyGEMRkQykV43VqISoBMMVdpliLhZqkjqw/Jdt4thh3AdMCCigsJZCEDYWICnprr9rmdEGXjEZYiwKgLVd2p8XRIeWPzGIpqvViBZSG9MeKWW3iOOelgpFe5sU2Nf9XxcSuZ0j96r/KsyFcSH7CVc596OdoO8Rj4olhyAM4BdAcW9d1hTEB1+KvXDiwrjp/9jyHcX8+LC5V/lCEY+9LuhhBQFGFlhD8QlR9JlVWjzj4OCudQqJ97TD2kybvXN4hS2BW7jTmMDQwvDCH+bdp6BRh2KIGDXFhYqP9oFxJ9RoP5q7GBqHq+F3n1L7xiqTPWqfUkgPrA/fnDS5XZa44zqwY6R5TqM1pbda6HeS8pvqpVbKYnuCIAZ+CRyKW4aXoxFhJf2vlV4fdrjnZQqJ9uqg7rH/rhRa07EW0OPOzH71h7uKjUj5NP0kP+wtK/Ar2z3KJ9fSAN+ztMnNHBA03vUE/HKV1PWyKfdFSo/3WXv1q6Zv6TiGHnHGQU1cpZGsIfRsXzKtFj5MAZT40K5agwK5sS2TuDYJBQs7Alsk68j0po1IWRqXFPbn6j74FqaM0LcCA9I9ECQfEEnFCs3VOApYagQ5JlTGPlppptTv0NCrNfIMzcz+vbsZY1Von+V6lOEs3nndmHQGufaZf1YO3i1+NW71yZ3y4q4J5L1N3+JSKqMph0/49QU5KlFLhNtlbeNHP9vtqkpZ+c0fiLCUf4rpqmE7sVQY3onfSyVQHY0mcF5nTBOx2z6vBH2wsU7NTWU0pVLwLOXsYpwWIVpQ4GXHxB1TVO0YhQYprXiBp6c6lBfS/zYIqLxQf97MGG81/QA751lb2AZ2FsCeVMwU/p9YyTk670OfgHkg8kMpO8bpCHkCuo5HPWKDFLw99bYzZdqRUbX4R+Fd5fY0CW0g6euzVUmkeYcvRVFLVXqYBAsVrNJW1hot3s/1FtmM9W+Q+c/xMe0mOB8c5kEHAJbGT8yGvCrMnY83lHxD3DvFw9IlWdvRvbE58u0UVyHhPiNURYJnMsIYzuXHJlynlZ7vPPcFlSoV3AuIj2eortFSSjy7lxqAXQ/1VHcjV83l15t103/FFeRRLn8vbYQ4v4n9ansaxElVdKmzqT4HVEbxcXDwTeTC+8CpFO3keO4pV4HPIztTuUBuwKzV/gT4o7fQLDFmAfydHMAFxP+pneIgHuf7iLyYCMCOcGLvDPRqiAamrMKAgnYV4n9v9NAsGwSM25XEbujkHLXTvHpy9d7J4G1SE9j3FnTHhghkM/ZAHGMp/CPH9xlPQVMRVByCl7bPJfmy3hQiBz8gS+TVQFc4MklunHbPCnNtc7QrZz88lijPNGtAcz1keapOSR/nF6dhLhD5ETyxZpjQR9t+0cmbm4JOLdFWpLMbAAU6LFPfFCH52OUzUsc8vt/k+oOqboNmu/ghKKaTnxPBebZv98RSldDzAGNtkPXx9hp2kQpqjBnU1et4RzhYBGilW7X76tW8SQGKIQhKtisBjtADivwR+tBUkeMZtFHe2LyL+Zc2tGtO20YtajW4zdYMLzwLNlDJhnTGjtiDn0ccAGpcANtL3/eaggvU068YuoUpA2MKEGeZ3HaXFHi6xvFf47BVdfb/bTv64S0h4/3yY0V/wwPM0IomS1VE/DLc3j9rPr+3JJmp7Dh/66DUq/lAhCeUxCUHrTBQNaiovh8canXYFW8RdJtgNxNfboaHaJbMFuaH6FuuRYobsOHX+MqeRtEjC5iC5PmsSE0XVLJG+7SjWthXEqA07r9xfFE2qDlHVxDRjowk+CbG5RscfbLCbVRp+eHiREEjA2yRRSTLn48zhFbjym/FsyG/W/+edLqc+fw4A+jCRZwbEgCS5YYdCfp9wrK6wlGcx4XGBFL/0s95j6BnmiFyhrKFpyCc6egp8XXOZbd83Qx8E2YLtNYn/+a2cYWsg19+FnwzqGATb4QwY+fWOvYxQIdJoohC7wjQKV9ZoV4PAf2oHCT+HR6tjAZXOexDDLWpZIM/8bYsqOmhhqW87vtYbZduS+Lr4fCBMNETw0fZ0c3A/szSlRQg/gdNNqOGA02CtizvE20Xa6ziIuV0RHRxspjlnOjDg+OWAZ30pCqTeEIfAJW1ZKIjDtIdx1J37sCqj5CI8gPPfFgjuH3hukXgSU1acVgRYydi9bIzxpKhm7w6trqYBVOUeD4HqBhxUtFeM3gEJ1S2z0DjS3xCVrTdFmARKy3dj57FU7ufIoxEwF/1R0PeplOp/LLPZoQfGShdsV0lfSptXYlAifg9bCHqR1fsvv6bITHRDuRt/8gA+uIO4F0+EPAExFHzraQNOS7oeROuE6QQeHuiCZJ19LLYHadAnTe3d1RjmtRvo7AjTkKP8U/tS05DcHpgHB+ZfxI0fL2Ey8qz7liF/rK9LsTi+FaktMlihbhfpFJq+Vl7BuLXCudZH2TLdDQSEyyxDK4KqJlic+m2Y7Kla5Wpym4MRCY6W3Gdtmu2sihdHVxjK4EwhOOqSf0HM9oTwtIJYPRLiIsekWgeD/41K9VJ1tYp/fubwSap0NmiZMMZa8rB064GxnaWHEsLEW33QIjRF0dffzvCFNwLpqASvCd4aLtdcNHS998Jmy72Hv9ITLa+kD7yxA3mCKDydo1xbjDvAzZEOH7eiuEsAR5GBDv3GGDYait+JJxJ0YGw1M2iBF0xRN5VI83cww+lApriBDCigIVLG5SZUU2GvVc1+T3xL8XXY/jeBP5bReDq0UTAQrlasQradVfrcaXrFvJBfwmdB5wi3hvCRGdMBUyiUISJ8tlH6xUz3TqzCeBYnlV8uzz5jtU282VhHb4NaaXgGRa89uG5i1ZO/5CVxbU5Y5ZId7WPIAqQ7umRdVEVoXveRNp0gXun0Ik5UT0oDVU3Yn/JivDrJO73VXfXGv7TL1Z3WUyn8Y3hJ4d2XvNcg6uGNBpLGf09rF5U5u1i1vaPfW8/F/03W0GTCAVnD0xrWu1x7sc7UBepoTIm2IGSngMbXyV1bkYT2Ullzw9+zOlmNrAISes7UWb+yK5XUqj6Yy4WmXqyPfgwDe2H2LnSGkXdjLGdle8kYiEDYd0ztAV4yUeuK6U5HfwB/Onljz+Q8Lx2EFoJSehOJRl8Nq/MBFC5gm1T1DP0xf1/iny5hNuxfZ4Pe8OQPQ5QLZfMHh36enXdFe18MtgsMf6qNP2vRsecVyNVJjTHTvpt5ouedgCCwNpoJb05/xefNf+iPQfGwwWPceXXaUC5qkxuiZtkzF6xJg/I2fNwBn2o2KkOBaoVlzdiElQ4RVLN5pEVKoT6xdv96Cd6LSGkXXMYZi/+AYUumOn+bv+y3plyVAg9rZfoTC1Xme4PyF+wIpCP+eemhOYyetbhEL03u2WT0JOmrzO1lY6h3z7ehfsFF8dbPs0S6sr20xZnYiULMjZjCSbh1fABtAR55zw9YR0cAJASSCq5WLzscBsjMotJHTiyLdrZjAronVZ57d31ageg0GRVp9JjN3/zNXoRlZFsJp36wEvF+boHNjwlA+v64gfK87kiYtYwKB4b3OfSre3K5wTuCz3KXCQQkrxnoXhb+VgD9hnRIe7iV0l8/Fa5JiYglRcxcKEvF0bqU0N5qnNjph7c+58p/piIJPH9/xoDGtptIiofS8Cvk8N3ke/ZjtYvonqkHkzU6FhAeaM+EpYrPBMTmeq7jLf/IuvQ7/j6xGLTzoqNupDQGJdv8vf32Zwh0y49R3xAYpzQqTYvmDcW1959HRKKJAChm+3Dgn2eRInRd6G8tzbETJxvJVRKbVZz/rv6brZhoLv+3Gqouh9vduswqPzfPF5PSS3W1So8omr7ewyq9HTGLR/L5iBuwKIpzBhh9EmduB/WLyOQ410Yx4pOFA9noHYuammpmMo3d8ofJSBbLEzt217Wy8DgrO9gfUbljXYo/trbqoKE4OXltug4w/hLOwuJtynL75W0UC7TniCHKh3SVqi3OG+YB6GQdA+otw+KE0H+qWn86y7FcCHZMnNTcVJoVlYSxwWETxPGFrUnXuBQO5iWqP05uJfQ6IAWh9Oorc1781O1yY80zbIbgttIVV6WrkUKshINzQmBE51WOL0r/D9pwM7wZmMp43Jjc9gLrfH3/Z/a2adoLpG4RUgRMkMpPyj/17gbhEzdVTXd6oLgkyLsqhrNEQ085VpMKFSTHHA+wm1TSLp3SS/p6GmRGIWzLz4+8w5JpzDBcVP4jZIA2aHUB/uSJtsLMOwU85B2/70Sq/wrYfHwDU3USUMGdldb6SalH4uXpzWU9vDdkAYxXJU2DqNoAZsAD2HlXDaXB4aTHNA38W9C0zjeI6HYqtoX9+0mEySoliy2xEAXHzLkteSXFZ0e+KNGCeUkLhDX3dveJ2KyoYQnwiVRjJA2WreN5GXwCjpX5UiyA1Tpf60ZJXSrlDDReNK8wFWskQyQ9apP/DMuXyDQhtz/WPqo1MQEZIt2MmIEWSG9VDitzD36TljsRl2S4Xs3Nrv2LDVKM4wg6TyQ7Q7TGSzQj4+nB63oumlDavM/EVkfK7plUTcNyAI8ZaRMPbzZJG4cn2Y+EmaU/axh0Ylj+xjOicdGlNx/hiiOS7r45ZVQgnmaDZTYp7OtF4p6S65umk8LmYVW9awxE1zupXpnj712AyBmWXHq75WDX3HKyQHHFDG6IiRpzNXRhhjko7DRLZDwZ+Sg4O/VX0ka08zyeFVXcJoB+GPj905pLJBy6LFxHeyncncNAsv9YPaPvBtj5wogThPId2EiDNMyf2mEfuo1NA8tWee5sTff9n9JyHch8Io6esCvNC6xjLoRGXc4GAq1qFhF53PiccRU1mYr6H/6uPOzDy+B459jlS31BhlRkorxdhaX0UXsNWiEPn6hJOaTAneglf2uakbx8kj8TJ+fzaNNCG8dvGjJh5OQYESTLCLjn7V/NBgJIf0K5e2k84+/AvlAbX52ot91GgZxiAB1ADaCo9eMI3OgF6FbyXztqvx+Wv8QBchE+p3A+uSGG0Egyhna5BYyBjsf87Kv2VFrcnZ/DLZLe+TuwEZLSBV4LjGKdt9ja+NBKJ6nDnsD8RTdpTGj2hwtbj4Y6QUJZefN9VIRtmujwZeczLPRMeBGwNDOVCrgNRGzp7oZ0GpGJmyBOCFZeoJAdDP7b3j/qQt6s9Wz4qXHPh44goazhL0bL37vEBSA+bfrSUHxV3GOP2o5elS6spXkmWadYJVSDGyHdvSS8xOQFJWO+VYdFWvUu3D+L/GCk6AHeUYihFXPyCCAqnDclVj5yojR3n5/tYN7iB+ci65P5gTqRWE2UGay4kpUQ3Ejp2pu4KUb0duxVI1pxODb5Sv7ye1yiCveeScjDtCNGu0/gEtR6IPYfncGjxWEpPA/wDH0AMH5h21qQ8HNUEkog9Y2V9O3FnKF48JVLc09997FfPN2ERfkO6gQcKdxPziar0CaNmkOwz3OhIWvtjMgKQ+6dJvS/pqN8zuHeyEEIX39xZdXtvMa4RGOgIv/S9/Ye4sQQWY9Omst1vuexmdT2ojDq5u+Rm4y4ouDuoMNspy4LsP6q+HYRccyrglR2k908egfRRp03dMXvPfGvF/7rp25l8NubDnHcehDl2uIkYIg48kTG0X7PqKEHO/lqv/xQvfH4vY2s8TndMY5G6/R3kLnyyPokiN6pLb6g066JioQJtnvN0VUK/GLLadS0Ka48cUi9OlAC9txRPPovdCCg5hvH0hc/nVCse+xU8QXzGtMDwf9RNI+By+rHNfi6Co97xCapLJDEfkBaX6yowh5oTuWd5rkXMvXswqiORh7Oq7PVn7Eu98d9uljluIOEx0wKqeyAOBloayJ0KB/oM68rps1KauMd3OhDj4WTg3aqAvwsukC3Tsag5qlKUyJ2pwWuxzHpwxO+/i68/OJetrKPAi00ArKM7JKsqyIOR4CbCtYB1oVd4oVDfH+Oafk83f3KsCk7K2ELtHbXAFzTQDHeqKzmzCERE6T8gg4ay11ASJCXWfFgpmJvg90dD6IrVZ/mdYotBcTryFcYsMPlLs95aBm9wPExF+SMoOmrP8wbHHx4z7+rgkV95rubirV2ulVPNgxdybQAQsRgVc26BzjvkpTbum8VziatRj3q3Fv+8AJNGrQEHAACzgT/+Wqa+n02e4uzJVXW395G2fhp4bRlnOb64P8afOzA7c4JkYgcZAcn2XdL61iYQeUtCHHg/HC0NlJ6upFfUg7qX8zfNrujQTUCBjzvKkmDIYcwNe1P/VEiY+eQ+HIETRt4bWYXXnAvcPnKz3/a43wbnCsuZr4QyQs7bkT+ZOA2kSE/kqLIMHn0EQ1/QbwqJizifhXtqn3xOu0YgiJBEvglcItPWSMS+7xp27ut6KNE7OGfNgOnJgp1GZbAvEkh72LV5j9ErIgFzehP+h8l914v3w1GktdH1RnTBZH1Wi0C9d0FEbCSDWsj0kH7XGdVcNLR6R+cviw56xp370CfZB0wMHb1gP5S8s5xqSIHaAYMTu/oNqNgpBkE3vRSP++clLJPhfsIeTQ0l9u1HYjiEJs9sOOo7GRhYouIxjUE90VySrrXqdv0XTn01BtvJEHSNZiimN4LSoI1LWvDe1iuhguSDgOT3OWCY53zvy3vv9WGr/e5/xQMWnbIUQhkvC2EXqoQ1LUfyMPC3ggE+zaAcGczDXW5GH+RnM6torpwkr/w6XgD7u3eDlQmudgvgqPb74zokrlGrJJo1mV7vKKddNU6dp8r5eWo6b7rtHrKgQw+09hX526UFKzSDRsrbzrUjmKZlaoCqUk6HKBdvaUF7/26mqxWNIjv1wocHkQY1lL2T8uTEAQ+Rrq60Xq3xKe20ArvA471kUpgXWGif5dz9hP89iI+AIX3sbicE87SeExKBNPA10WOg13gbhzHYS+jTrbm+kB1wzjkMbF0ynbQTc1G8OJ3bKP1mtegEwwdc9ziM4ONCZXmMBht4VyBXtpbNl9eGsP3gpu8mP1ElgVH4upOVsJKzmTorkAVR2OAIm4A+A8pUibhBFYIkiLdrf8b1kUEkTtbY6jFlbiJ5su7AfDvy6I9bgpIIV2lGEb9TrOkt9kZNxVypuzhTIpDi9tIAJIxlcboPC37wLyAKtCq/6JTfop8pHtAhApeA9j8R4C7o+cgLBvYZ6AiLpWcT/+Ig9LFcfDRvNtb5RJv+wSJ6WD/FTaoDdfp994VCyQA5LLtluTwtzSi4Shx3RyQCDX99wBo6lDDJR26F3AtPPCsP8/m5nLOqxJVqKO/RhVuF0oXaxn98h9piF4QG//r/5TgzY81GVwQ0gVlune6qYJKcMyrRtAdJHSIK4/Ubt0zpiDcs0hZ/skMNuvCbOThPvBNVieRaiKTNuWs3mCLdPILP0zYbTGfyzIEI4BozqFVlV7tqpAP6UhjL7m3wu5jbpS3OE0jSHFxspTJuFl13ROXCWp1lT9Uqn+q6XBK8+hsbQeQttOZEA7cBWRB10mAlLrReuxdWEW7DyWKcHr1DZhhOq9kwITJRpOLtmBCvp/2XDYVhOf1VRkP8nAC/LOr4nP5gDXcqW7Rx28aIqMjwaCbW5YUE4kGRF3uBvgyUCgLU7pN9Yd+nxQ6QVT3nXys8n6ESn+Vo9V3lkezWFBhSuhmdsnP3eSm8ascpJ5Oeu3LXk1Vfim8tfpkkgkYcvfbP0P1kZdUo8wXPLC0XWcblMe4iqH8uIwxIMD3KXO8IsbjqbinNpe32TVpBDmFU3Eim7dl4fH+7Wky9NIFArz+JmrG3XvpI5tMCIndUSQCCIE53E54ZhNUD/dDoiT/qHxay8TPTWxEvl+nwPvKY0UK5Zl0xXDsWbFD/t8UrmUBKqVM43wrMmWypaSIAThDv7zL42yg5UEwaWtNQseQr/WWJqvZvbiVGrJM5UmQVDNMTfAUW8XWGlEcmeWdmnClMeXEQm7qjzbfmYcxzQJ915M8XnqSpbxlm9WjKtwwXp8YJn9cJ1mZbnAaHE9bjLhpJb0dglkxC1Mt47oqLfocPhv1OuivQN+1fIJFv0EbCCAZesB/cwkaBon7dBWlrQfu9CGEAy6OIdz+Qdzfp6+jp8EItmwDQVQcl9M2YEccX/5RWue+/6vHBShDbFTnIv4E3bX4eYdmUMbVpMDhmCf80yJ3FASQrvUTMmS4yPlPFcLemxctPK8zR7pG10Oqn/30UEYnWIkrCFdYBfCiOmTKl29SosI8FkLdCJBw+zqEsH2S9HQS9oa4dzlhQ6TWQAmTlOwejKPhhHwob2gFPbP4Qedf9AjgdJp0UuovH4zxeA8FWVe4sqVWbEb+4M9NSOVCVw18yTTvO5YW10XEIO7c843vOpkbMT5fWbJ0JzTHt+X+Pg13ZIRiJ35k7olnK5XfPKUj7jPN0LF06cR226bbg1mNMIMSggQbBNGWr8Gk/cyDbF3ezjCb690pvpvHVRLDM+b2L3vRFS2TQcI/OKviXRU0CzpuA3m/k8uZ/snnbYmhIMMgEoYec0IQ2uFbA8FkSMPWj6SGF8L6RM5sqx5LY1bDB9kjqd1ipnyYqoWyu+31Zj4opOch3wxKKv7NERe5jNfnBQgggFMWiPsPE15DoNMF7piz/wV/1sqImENUOUjpdTZyrV4U94nOZDl+z5kNL8vTBagr0m/mFDSvRGW6JpMZFk1pLlsyl2RzlSmJmJXnbvA9yjFLR4ZnCLQBqxv9Agh9Yu6bo0QDMXuRA9cSLHtVEXKVbIRhWEsnHRVJWLD5gmPuPnWzzIkb4O/tbJpDpXiy11ySvVm6v95TEiXXVsmz4XaNEZu9qfuEzW/7y9jstPRMnjWAzXIpYYBdpTyLcI7PagICTu95N3pZ3lKtWhRnn3IQHqLgfHhqfn4/GLxJwZC3mTRkGEXAJR6xHpvOwahMG+kz1jCuLFDKKX2XC/O5fqE+5t4UYVCuRmfr4G1SfYIXEMJbDCdgo2OeZ2EoOy5lkqPQdVyGeaTa4MgbLjI6ki14aTFIN9q8xeKm7z6qTl5LpVbnVQwfQpvD0gL0RIfwT5wJHTSKs6YAvWHeUH5OvVYHUkbqiDUOgMBJ50DmvGl42Z1YADmmSU4/LNOF46C76SMrZF9kN7hq7aXARhMuTon4tn68oHL7Ax/9eSwVw8UeFGl8RQvqdOjeMvoYotm9o+3BfJ8d3jiQZYiBz0JzCW0a7Ccraz1Gc8imYKxpvKV/f0Oaai+eUCiyX5w4UKTAMB1NmxFfR9zifqYYyJCidJPVdpOvEFQmKj0Svqi/EhwBr7WaBQTJJ9UIbTqWxYXgZIm/70IhD+BK51j7BpLOs0DxE10o7+xxBnFCfzRjzz1gQS/rBF6PB2c1KBML4ublNXN9OC8NX+yQlxVuoCp6IJMCeHMHLhCmKDPPYat6HsgUiXnkeplmBnVpHSmX7cvKuakFQm54oHxcSit8KE3rAOVQhrd3WQcNwwqjoPPcAZB32bIvl+H2G5MzLiFxFXhv+Trz5GWJK0aOXB6HDPPUjECRvaGQNCYor1jmahMpsBx+MPgWMi7Iuc7yTrEA7ONaOBxTY47fsEotdlgVp7v/03pwOMowFrSrwshZAxjQBdtgEiYiiW/+YObEXq9mdgEH5VdOpyhlCFTlz1K/9nR47Pj1M0ZWvn/N4lwh3tKoN7wgU6sQPH7dD6CjN1e/pm3jD7iSqxGRPLnthLUpZHPJdEWFizi+DlQsPMLGuK+qO3w2oPAK8RuE951uzysC/loQtWXq3/FWbrdyHSimqFZRWugQOty7gEam5UYqiJdm5dAv1bdsNmFD558wHq5v0Y6RjKRGkGwS02CFIxY1EeKP5r2eFDChCBCT4Ctmg8myzNo7BL8mEQnmAGCBDbXHLQNtqGfzi42nBE6swysC218MHJ9QIL9yOmbs2gd9gzW3UsTs1z+4jfjpWAAat8N6Ouo7XP60fWrioSb3GjPKtgLi+BVdDlvTNpG3JaGf4bYJtspfb+Z/5HOuK7rA34F9h+cxHaN0nsBcqXm3UAw+Tvyk2tui9hC2MgTrK3PfUxCIc77Zoud9boQxEykv6mXH0FskJ5j+tQWnuVY8h4uQsM0j8Chw39zKdTUThLYw8nbqLP8OUW2/uulvyhCYC6T6divVe/fdkZpMW7ai0wYeow6OM/KOzlmbnVF6QCC2074VqIS/B70nS3T2+kboqbUOjtZLxcXn8qb5qlrt/e87TNRbYjs7xWdOsqUe++86wU8ZALCBsXekmBr1FRaiyeWNXlnGsOytEO58oZktdU+6256pvCQrnVyGbvXsOjxAa8G7DN0o9UDtPfAjsIUagmhy0rGAVjcwKaNxk8voScQlIfDlWRBk3PXE/GFH9ZZGKTcP+dUgDu9K2Jn45lGQqjjXdkxp/CJY6KjNNSmUMw6YSv/dCmShIp60heaMXKq1AGYQHp+aIXqBTagma+bhgydRRpr7Eu+p/RqbXJCIepuY40fdJyKukiqEuEV9aoSuYcCpMq6fW8Zg/a9sYHycxshPfxuk5rh53Zc1gBNx+kIYJz+7TNQszPlqHiwS2iqGNrQ8dofM9yZw3pVGlWMyUSvBOLIlyFQVrhoU3QHR47L8e36G9Z+CNgTd+ctdTO/72Jga6ZYK6Xfukx5nY9P8Nvoib5qZUPp4IKKI5HKEfYdQqygJ5sXmq7iO1OR/BTA5oiokwCQQj8Olaxbus90ngEGYxenCftaNG7JDkgGen0M3iKPxPwwnqq4YcmooZC4bqV5m97+4MeCiWuXVsht3+pvFVC2Bv6XApq1qbXiD6oAapCM7f6UWrSkBYEjvgJpIZkgb2otH1v8u4osvv4nzBG6xYt9iSsYW8Ta7L0AE6MSx9wbqOjXk3YBmmMxQmPAhe68WpnlpvQu/+vSg9d3KBXv6JYhEtJFiFMxERGJO4Ce9PMteW6lUKojqjgRKAmQl+PkaT13Lx2P05378kj8qceRooiLIbs5+ZdaytRGjjAeX+vBmj0/BhtqOnxPvWWBzV1lpim7Alh6SxNm3RJMiRohhMfddC11nzko8LzvwekfJjjeK7m6dPYFZ9YY1adVo5teawsf+ot0pD/jZHqeEpB8MzS3j/XRHfSsHa/fUVjck8LKzIt+9mTkeWTI0OqO+F4u1vGvET7wVFqGT6zxL/8ucq3ZM8oeI4bK3NAmGKy8UsXLrAW6Pp511zWM2aE8JioDwbiNxBFwjpleLFG6VZNTuhHCbYwH4EF3Mpe1fw1a/0qkNEAiYFnK9/9/qNVjPdNC32rcycYP6U9pWCfo0PAeH52nQqh0tPAswLjxW+s8vAeSXetxgGRZ4dqtXtExX2mGpL7udgSWPWEV3ljckO1b7k78jwkvqLTYZh6njer+uCuTBBhllkzZ38VpWmr2wFvzyiEAsKXjKteFUr4GjHLjiwBlsw8daOQj3m7AvBDiM4IfkWQ58omZyEsz9LGs/kyp9lYt58wC+g4pNovxmQ8mU8qfNgCyGGYXOVmex6Fso3fAltGjBvMPUgcbnK1o+CYQEEMOg3aErSe0xzWpaC2kvgewZ7SdIcA42TQLMg91CyGZsMEh/Onaa95fjeh4KwPr5fdxL4J8xdwpI3Gj/0zE3bW4AGKurP/Q0X+kL7N9CIfw+0M3NjKce3DwuXxzMWpIfXDpueJjDVVKISrVz44AbW1SV0NGDokyS2GPxm6oYWr9+nwBqDTWjjEcLAVZn8Wk6MW0MvWFGSCtv9XvIMXAqMbeTOjudvPyJ05fpvs9Mxo31KvcGm+YlCWFP/8uVXJ54VlWecumX1H47d88uYkiP/9pDBNIAbFuEBxsr9kJ+Wc1Zo56oiAea+qgF1syWhi4uxI7I8974DnHoRk0P700stQkRn44NY9Yrqx2qCAZl9mqjQ8pr1EvR1KKe1emffYRrqASqdoDeAHvw9dYaNbjcWeBbGrJj1mEpmpyzInMR/E5AiooQEXzCJGki37cQvydvvMcskI+q9M5y++hx05Tbs/aeQzcOrPoGPJtkriIHIvSCkZt1WWQeBjXSGJ3xErveXc3KpIZ+tWCYMlsbDRqXf2qqDAwswkjmwPgZ9Movpd1Z6YrsLfjOtlJ7NCiIeALc6gIL+eSoKFnd+LmYtB/mNjl6uIDXwOToAMTatlTjKKgpHSxrX2j3+vaHM1GJ30BY9fuV4Su+wuFNCLX/Rn5pRrnWRMJhkgc400NWW50IlkDytL54S4g3gvson14ps8QCfmKWMQ5sOhW/Wf5AEBa9A8xfhBcIp5iWPjdbINcdCRYmID1CBSpNgrDBMi43zLey/H6J/P68Z9VOHMcFCDUlD0gC0MebzDUh+/0aHnEZxSck14oJdyxG4XON6/v5XNNnJgUPs3CzxS0VB7ilPVTp6IUR3+1a09mcGOFL6dKPIJCUDF7qQLy44LRr5d84P06jvkKYqnrhmjO3wJwAEzDZZyY7vBck818vbWh3GR7DR92EhLEWpP3H0djx76LivkdXlciYCVw9Fv4nokF7KTjII5tbmjPN1bDUghAruH+KhLoMsjSNO3/mL3RNSzUjWrqAzxtuoNAGG1X5yVdW4ubMzD/bAwm0qfLTM/QPxkWkXK23hFcK4//zfq8MVxtRlHiIs3KEvcbI5NBLhKvwXNa8rWNeT3K7BfQ+13Cw0ABcl5pfySxwbZTpbOTk1oOOHkP0cXB5hMfAnTVXbMgA+kaNoTXVN6pB2LB69mvrJXyEv5EJS/jUGc84GbHlL1kHx287pfG0aLY+qY+06rSlXW4UaurTloqVK3s7erfrIKcv+hhYZQTbyrH7R19a6kU2tGQIQsxP6rpoj/gDB+2iHvj0lpOv4uDc0/Xm9SqYFNRa4kDp7bMkMAgjVHOmnMij04FkBs2+GbIcrWYFARdywZoZYLN0CccArPQgkcyA3Aihfv+KXMGNvfcMO0j99NyIj4QmIDWnP0HpzaiRtLFdefc9Jl0M9H/G6vcD+SZagUcXuXeuD22gmTsu6rIFqu96xIntu+v6XIfhKc8IozDGBPmG4HbDJpjb8mHEJQ68NdC6QQyDkDfygNvgIj1nRUPpNS/3iQ8hsg1Lgq1CVZoqtxg45cRrIlJv91V7iAXlf/Zz807UikOrVpdUQLpVwRxYvoIGnAUjzbsY6ddPBXWoOvN4KbsiolrpsJHmdWDCdL/O58yxd4EmNZaOmbVEXTArjvSIiiuNNFpBhcFGIS+4NeAXnlYkDxeEOnrL6VN1uEBc6V/KWi4M2kHZI2m+MtvMc5dAwT7PrQaAPY7f3bwNXbE/cj9BibXfEnMF2BSNs6XuMJmAGlayYJ3lLB5OXZNApAmFFaQYIi0+S9qGTlNrM2pdQVfzZ6I5ZPg8Dmzfad07DmVhUH17k2zdfwDd7brrzgISQOU4OWGsaiBFs1YvsfCGdr5hfYgH/bOtdixh1zq6DjJx1zoiA7D9O8xM5AvgrNrFO2xdWDomOYpKc/hPnPbwB0fMXyjyFECjKgp6JC8ovOzdCRDQUnh3cQHSsmiJles6kQZNLaMbd/pEjo6IKrbu3R3SRnBb3I1XTpiGDbIar3BGcr7yWleM/O7RuP0fzMdxBRYzAB68o1Ymei2jVGhpEfaTBieqiD4TV8z9wx8nNQYulLTRSBL+RyduwES7C1Fw5U8RQI5EO+BGhQXfB5O5Q6Zppp/jJ1CkOoP9K2i25gtthjXxAirTYUGTsv0eNfDr/Ky60BME9or39o01IiVMFnKqci38U+HbQrH7yIUnNfgeMF23bKeu4k3S+B9/BTS7UF3jxitTjkNQWcJ+3OmN/tbL9Fv9HdtqbRnom2GiXv7x55KaIytk1xaodEzqPh8ugPrH3puzSYToSvzYirfhqy97eEcz/Epv3xyd39YrMpynHOVA9sYu9LuOHJYpBxEgNmjpYa1doTFBLHv6meHwE3Mg7KNjQrfSqip9HI1bSQDIcBQHUALEdZ4v0nJBMr/zSevzY4rBTzFJK/RPuXQGYMTQxQhPG3GTNHv+Xn5kcX0DTEC7thtoLbZUlCpiymWjRe/PgKHglwhhBJynbz+39/JZrbP0k3U5YljdRORdCg+1c9Rg8d3zlaPcZDF42felYiWGlBt1roB1Jetx/CCdgqWl5MzjJWGi+y0vJt180nQqbjJHA5oc4sG1TVyyG8Pc0D042c1vozt9YD/zrMd/OcOPT5132RyfM+KOqG5YJ1UhLqpx12lkgdvXU+tpS+sq1NamKyoewop4UWPfjYL58Uv4ziE0yS+vGTABwMLyg1e4R5Gr59jLxkYA9NXbIA6Xhj8GbzM93bBAoWef1Mji/LRJY1W0rOu5x3GfEUH101Bf5re4Qp+cT14dCgk8b6TG2J0R6l45v+daKFNPQMPgN7vowJjT12bbxO9plSc/U1vsbLnNoh3pT8NAbWjHPdJhgRVot/tKr85oEuYQ2Cjj7efb6kJavzK9B4dEbSd7HMGMUxxZ50JyT2lPOD5P3ZdbKgzpvtHdroLA64wAS8B71rKTlKsZodZLOBfW1ynJnt4jyZFv3o+JfJpPzTIAsKMZTWMDp4ZE/ByIhXnRDWbPEvo99cBaYu7ERBxUn8NRnCg+Q5FVdd+seUv93RebetEvGOnBeJHKuHcXTcPErwtiooWmhnLQOqwJd7LurE4Q8wlzxZIEa/O2o+OrkYKAn+gpz7adK4af1/O+OdhEPXn+qcD5wKXzwYZddcSc2EqBaLE8mzCoK7toTSSSH553qb+fXIZAtXwRnaIZat6/CGenlc1le7fv4rVhtJIiBmvCfq8RabewaTw+Gj/ghJ3VNwkFL2zli3EsxhJoFsPCaUOOjLC5XCil2D1msBI+gefR0uB9o+NCN38hrBLi3z5dHlV81LvV8IocFG5yFSnqCJ0+tA+/8C+g/Agcbg0oRtHwY/2Zi7Emx6Pvj/5SbZf/VY8+4iVknKFEmExjyMT1GBxIJLDlXQYmeXtEMoaQ51xSaXV1okY3Gu3eVABkpoFclfFPqVYom6Mw40cvI03Ib4ezyHagUJcSxh92AjUpSyT5zoKb7LD/lDuOSG2hSWU156THshKRziQxgx4Bz8BZkr46rPmyMNuqLj/P2Hf2/59HD33ItLfc1G513JOvZzI+0VBuf3pZLvFJRqR+JmnJ5lYe5VzlWTc7LJPak2o0HD/z7jS3VGB7P01jbpsDUJI8h1UgAP26UA1BTX661h6nyirCOc4WpVt6XuwhJAGx/PjHzM8kICD2szpLaEsg4LxGrzl8MHbApJXNouf03VUc5Lr1k7uzNmHNyxoh2pyZ0bAPJVcnwmVw5mcf5ptBlH7sO6ZcJe2EfMTs+74IlB+k7u+PbUlg65P+Xb1ZvfhTL+B8XXYP6WzCX8Eq38i+d4ATYALgw4uAzTEf9Xcwlmlmc5VquJUp76SGynbak2NIWcyZM/EvYZ/xat5+IFWxsQUyBtWEI15nsMxlFTVTBnzoEqD7qO2jb40NEUqvQtSG5mVzXQNrRxlihOXjn6wQbrSZixjnjnS6gzXlTCN2uw7DnkI3i4EqUephXUrLFqDUaLbOGteSmfDnVrEMKgdmISBkEg38tfTf8btUqxh6WtrXz3yI3oJvIGCCKmfzHvqAvhgyey73jdpL5tas0r/b7oSltRgNL4crdtjtTWdQ1rIZXG7UZwctkXL5OU8jgMtmD55oQMf2ytwjgQIyeyexsTN0aoClbvMEnMlkjBIxfc1QKWcSLuqloWch+GSwbm3a7dR47zZIhkHK+Athsda1sGumYCqaivgSgukTFLntNIgYMKpoNQ9wYCHZ7VR/C8uugmZyvuFS77QRzdxlZy7zfsTaTQEu7DYen6O1YV7n2nVyaUX4mHXXOWThzngdUasTCvT8gWm6y021pi4Mzxk0q2rGzUnkgBK6ITgjBneRq5yOjWyK9TwqGQtpy0KNnUd+CByE9DbUscsyJWbhFhqy+2p3F5Jj1iObmE+vvliClifcp5tHMr/JZh74c+dS6GxtVUdMFJQaRd5urWQDCLivKArcxMPUd/1vzW+itplsUbmRriDNgu9kanUwJ2jlGC93GNx337DB5XPWjI337LyaYcNvkEQR6BdR/n8h8e6FoRIW5/73CIEX02Z5c4/7BaG7qL5gavnqGAq1Y5KNuL75CSet0mf8pi5kCstvb1ZPXakm58ltWzwiGQ+bjtr/onTw4kz141RIg4hfk7ryFpjXYRE+rJB6hGGyzI7vWc2NHmFUMrEya3wqPTrZcBCaW+SQu+so+gzVwcrkub8MLtPha4ZEsWDlJUll8x1YGewP5wTkUCo7qcRO3Eqhv9PXykFpJFhC9KjDYbJImDIZwtZCVRxje110bXkDBElM+Oq+xMG8vGncUfzegHZDT/Gg0poM3dDS0E5UUMrrsKpEovwtTFmwPmwBcaU0s05xOvhMc3yWd9dCHR8argeleH/3GPDYChav88nErGz8NS/g29HHbunIDlptKHHTJhLrpU+A86VXFE3rMuARHXrkH5cJdKM7KMQ41k7SfwYYA4JjFFBLOIV2t0sZUJJ+FslTTcTbURUk23pail/CRqJV+uQ+mBKwU1Q0MOv3WlgOouNytMtj3WON7EemMTOZjguA4KubfOsDWKAFjtoySDNND3fdMRHioxZ/I9915/gC7aPYA/H7r9a2E7JA57zhbc/IDSsxorGt4DAib9G83hPqE7suW6unscq6VHeDJo/vsGt5M7mOc4LAOcTX1cMRjmEBarMFexB2NyOWhPeFc68QxFjDkIivjQzA/mkfDFSYzzxVNKzVa1A2k74jaefPrpTPCesDdEajC4038PUkOx9FT6bFBELGeUSgsdy/Oe0JRUUdDcKb+2g7TPB9k+bYhR/VRhihaHObjquB+U/Aw9AcJtkvh2Lo7ZY5F2EidqS9i7Pl5Dv3qDIimF2uUNuRl4t6P1WiHJldNmT2wVgbgsaWO0zqNGqBs12qreJm1YfbtsW1nKFpRg9RnR4eAQyiXuUFn4ObUFrgZgrM8zm5p9oDkUWAIdH1Ws1D7q2twpJBMYuklNeW3SXfUBIrpD7kk7bePlEiFP4PYpoud1Aiw7byULK5sOXqSSNbjZT77P8ofdxi2AMoPb2BArlAfKEYEG8d3crFrm+4S8rGfCDpshoy5keKQQh9f0nzUX1y7YevawtCi9HgikVfZLubysTRcn04EUyrH+pbfN+HcFT0k8loYFPNvi3XkAKQRTo9whCRFc0cMRVaDl7NS42CEO9KAi9NHBYAYeASQ0u0qr2P8QSSxhxtotQLotLYWfPP1TkczfeHbznA8O7uF7lNw1vYL9eHnYNz2Dq3RIOQIl2f3FaJPPPMdHQnsf/x6NHQYH/wq6W3KtqS95TB2voAxd+N2fDF79a4fTwbI3lQ5omE3X/N5NE2y8RQev90HpYKziAhVJP48BUHXZmjAY7GjmSrMlb05K2qPDrnYkNli6olm9v1HVwcE7k+qts4edDuMcWoBdprsV6kSMxRSLqUccZWHqr+9p63eX+hOUqL2/hJAK2DRlbhhrZEMeJEVihnHkoOq1iKIQV44Tfj0/vlVL2rlXkQd+oi/sz6DTomXfMU9a/37xFrCZI+2hdQJnQ4Kwh9SorglSB7hWUp9YTNDpIs1QFzWPSN931rGbRbnvtiiEa3X1EzVpG5L4IF9crTfCB21cUN/YVVbCEHuE8CpXubAHME8705hWqIzO/S07+pDKGw5FHyPcKJ2reV6nkIvDYEVUsrrvNsz1gKBqNWTHzIZeq2wqWtDpE/f8L+WHCrzIPLdlPcy75I1O3JcK4Zi6P4MRLtjsSrKHym8EXZq6dzhd5DQPapsxnLX8e+TgPYdUAi0aZU+Nep8FCoXGxYFNyUKuvj7CfOjPBl+pSFiPKH4obpNGD3dtLd/hebiZmlLnSzbHLwM3qS72H0+1rJzUZUoctOKeSFIZad7JozdSfYnbicHBCjRLk2VBE/q8CuRjMAKz0RcD3FhXQ2S83Y7P4e+MMGgeWbjzuoh5F46xHGQXtr+px1Knzcht/z9AssXP9kioN6XXdJ5gcBhfEnlUdJw3IET7Zc0nAVZ27qrJGZPERNaVWSu+/6J//DwZsUQFXG4ObbypizPv9F07wTVSW1S3/6BMhmjUrBxKPArs+FkJi7+kxm3Nt+YbH6YZjHcmIp3LGlYRFh6My7MMxbk3xig2ArKpIgE9CURILxY31gQgnzHkGkpvPAbTQamtZM26J5tkhONhIGzo217tPlbf3x5ceFj8MB+WNma9f6Wm0MHYvZtot0+c0wODCZSJ3PMn7feUSCMoUrkJ4DhiUT2gsoVAPCzmwbvABMmxJc/kgVwrWkYlb8ZjMzDTInFw82OUnLIS6MUVOx6MCk/BXeZQgFJQGCRYanmYdwcmWuhjFUi35oDBwCEo0oibMTnRZ6eewRxehbdi+H+/L2Q2qL4lwzPVSGvEdxI4evKvTVmtSdwBODNpTreYHHAMkGP4R2O7qYj6ZB5DwDvBuWT6LAHiGUvhMgjDblZiw1KwbJSc3uz8DJGyykt2qNCWwiUso3OmiKoPflesCelo3w+a25DL7vi1nExjlcl6+poIlXlISBf22yzaMfaBbxc6+Y3mjIfvSJT0yJrUUcH4Kjdmx3ARwOkljpGZV5cyKBsEzdWKAn40yZVptOfNVJpnI4iSiU0PTVefoxCBMqOc+mkCVgMAb4/ryTZIGNHVTpsPShQhYlvfc6lGvIIJmCEUhoxVh/7hsM7Rk/IuxSPAZxXmw3ES4TAQO7xoGfkbUfm1ZJL742+jGHA5A1Fn32wwn0Pl3PhoWtrcUyQR4wBCDvLvjut+YZl9jMQM3RnArGOMcSuFfBrhE/sQvXaT5tqTV3JdXzBGxf2emdq9qru3zX2PQ7l3ljem8AD1dSnc5bSxJNMGXAwWdQaryStyIZC6/SqzS+jdKO0MgCcdAsgfjGQzSGoRq4Oj6v8Fn4fvtR46EpDeC5DId4HALQT8wfy+2N1NHcrOm/CrgDNNDwkL++dXP4z7PvYYkJNBCh0anZPE9mK9LRn/uzs0kGkm2Bxhm7I/kyZLv4q+azmZJPQM+epARJEtdpVnGNjPUfs5NcDuTD56ZxjDh37uGlqOZilN8PpVwTtRXI0gomGj5UvwrA/+AHTuY0+WpWkV55AH1tNcnu0EX8QfxijXdI1xy+rZ1WUFHJrPp9wyy/EUJQydyIgmARDrWWMc3yGoIKhNK3le1Q74VzxadUN3vwbtSXmy3/b8xROPI8j9Cvuz8g6UJNyFsR9FCbzkhSntMBq9uXsknj0v5gZynsuWoSkGjJSImqe6IvEdpcF0GgTeHbT4mhkBQj6EQl8AilDWXmjVIXUFMACiGQKZVk9gwwoiEqAzMgr1nwAVoBfjbyHB5kS1AzYqa1ZVDIiQ6YMWgdUbiWBCHMQGGnjWY1ESd9KdnYco9yTt/P/euSm2/hBV+qBtAU7H2QaWB9yqrXYoGPF4bApvqsWu56r8+9Gdcg4jfdLvSCqcHhh5kDhazTxWAMLqBrWMKVyo6XSr6+sWt0QK8Wysffcw8eBvhzrBuW7FN31QxW7WSyvetIgb3PWJrtslZUz4WeXohhJMgRfzFT8pRo8ZIDXEQLsA3oZf8+0WZWAdWtl3/ewJ/qbxJuB1O+3EIFY0f3fjmBrPu+EAtB+C0151TngxVaknzOgOiUVwz5xEVhUWTDIAhInetrZmQ3q9BRZds5jENArTLTiq3+yBbYDcIBDOjhiCNFR9gbJ2tdJ4OFq3LxeNZJve/WwTNGCf4mz5CtHbnslek2yaOliOdRgGy8mREhpKgeMGTTZ8x0tgY0ScZ7tAgAIr2stD5CnRcLHQcIwoZempz6T2Ip3haHNjjLtdqdmBwWR3W0FQEdez+JyJNOCmQwEg/kPHmtIOSVu+rhTtqOTKTiuB/QMCaKIDkcPNQC95PTY2hg+opZl0Ue9PnRkjyNUVDg7AAdHHagpF3hPKyoLsQbO43IOnSCQLKlQj6fQVHoR6q6pe9E8rYsFQuY9zJJSNwA4P1HKXCgRDFoEg2Ovc1Ch70I8MevSRjznYxPjs2lujRmBrh7KxxY0srufxpRIL08Zys2bLyABti50jkOYwj4UDiLIGXg5Q0Tymuspw0+TS1pjMbcYUXGwGYxyto5kd87xJgAWWeqT7ROypIzvpG7kHdZmR6w5gDk4dH8s9HErzdwUQ4VxowFgyYhKPu47EBhKtPfAnzwrKbr5iJuOq80VNoIJm0PVI+b/2U3sRiHlMHK9tRj8AFdZz0lap1+ZA8YtPzWiInAQPdYMFB6TGIybX12wmd/S2QIg3fiSHdOpbYa/SPPFlyH2hdeGNI3NxVjpUEdC0Ym2cTn8dXGuQaGwfXk8KYyAxRL8DpwWjHnXJ4vFswNeTPT45ee78sOY6Gd1HI3mAUtlde2OT+RVKyzysvi95Q3r8l/XJttrbV/LwYjhKIXWeU+1FQ4OCxasn6aMcP5THEAqaaXdFRMAGe8qe73WocNi65Wem9zAmnhrguyZprXIO0zhoD//5mhkMYAs8hKBRhNweGUQGz+uev/xEV3PTX81PNqdhTBLq+5Wkl2TUEF8ge5bdG/pA1y4m93VCyokdB37pXaSb6tCvEOVr/svjLYkVQPmjtHxI2f5uxKezKq5lYus1TB1g50tniJjqgswEkpyqWLesBI60FCuShlyu7jICsvR7tb5ss4m8Z1ToqE6juD+1e318HwenzlIqCc0E+iNaI5MS8HGE9LblU3kJLNAj73QC6NdXhkIhXDXKxP8YqCnfxbro3kmNcEC+kdUvJXtWEYJsiyo4PMJae+shdmu/DIsDkh0bm2j9EBnFXFdfeODQoLVqiZEUmcOC2uKiCwrwLOtc4xHv6+7EM2qQfZ2d3TYesSoY5cM0NSuStOSTmQS4fG4mAZDCKux+prdDAr0oxgyzoMvAllR83r50dWsQlcURXaTNYs3OmxAifhK5es1OpX7T43aDT7J4C/V/NlCRs23hByQrqCKxyxYpLc5bEndmOsZ65XTJ1A6iqBOCgUCD90jU3jtsW591r9Kg7WGbCwEbeCWCWHmCusaOx8w3IS+P9QUqXvbKe3uZsZcd8EzNALdkkIiNC/OiXzlS74l2hGvcaWvtx7Zevclzvgoh3tY9TETNPYLxJATf5XcvWU6XpM+Dh/g9hKHRmHgFfzWuZMB3jMVajjRtaw9A4Vz4zYCQLn8a06rOavl2+GyYNQh/YdIYjnCghXah7VR2oFDBEcQbfook/oc9R7SeXUzv1fKniyOZFNG0IQdB7l6JiPs4ftfkrmn87YW3R9n0cuPMnBDw09tipWS4sOO6F5FSF6N/Ma4hrbwqNfQZ85auJBHTr4vgN8y+QTlAWogz8AjKlunj+xv+DA5fyeYgr51t19MT76Pp6Vo6+uEZ9poNNXKjeG4s1Zl3GZ+P5PEoDYgSy+FoPCiMWLhFmJoeVm686fnDQdMQcDaenUCSRi79pGCaaBhxNzkYoMFPqFXP6iiWSWQsfOcKqViVVpXm+421zsmJCtUYCzUYGjZRxKpDL5izAZyUl6o71b5oc+PBPn2A0eyUL8HMhcMIEuJGeKJAE4GO+C7V4ZdwomkFzNKiEVIYw2Lm85mUHgToDoHhvrx+1eGvlupvssrSRzUZFVqK7z4s1cMuPkPY/Lf7yJGqHM/olVtqLuZNzG2t+PuZGH5hdXIOxA4y3ua9LnKCNLpMHGJHLB8Cv1rvbRWbsQSZ0UNByBbk/guIhy1IBHzmnxcOweOuwVowu9VJDadDmeYS/4cYhDMb2kcVnZYXj+QTlMR8KU0VEGOYWxwbl71T9EgUW/rC61eY9iGZHBU0t/JmXwF7QN7Ipp2gnU7dVKCZ3h1EaD+PxPzrUt4tdycAKP3BZc9ZYoJ2seTpCufdkeGyH6XXLm3CAk9c8YNWc3rIOCsQscM7bjhjB84Vsgkso8TUW8ACouJQJ49lrDYMWfRYkooRUh6C83pF8Q+MNcxr550xNVapDz6dOSfclYCDiFPlwmnIM/oUAkoLqETBIgOkeU/TXt4ux1UlHP168DqVlAG9CdAnH97b4QPIVWwHAFiNL8qycXpRtdtUzciLDi2VMcLCq3cdagITim7zi5BSfgbaq2M9mYHqhvRnQ2HqQt7acpEq+ggGNBwDZGxzOpWnppc9SFoCLrWlwXRiGJsFqEwvM3Zsw11SwNsfJHI1vVvJzvMxvp9l9yUDExNeI7d9vsQ250rnNTEeaKYCzfGFiyW/DxfFDbJSTPalm4u3Mxht/0SvWUHrizmLZKlDvVZlBpBw60wGqM/FzOuaD1e+FM0IfnC0ExOIZPITxmPocuVZtjOdZqAg25j1iVKN8ji1zQbiJoN+Y7xEOtA8lRtLWXZreG8QRl/OdH7BMFU5B7pKrqh/8+4EeIzEFWOyt2o18KWdnbkKz+Mv7EnbSb8prNS/w80lSmzZgnpP4RiTAhID29X33QQCSl4xaRqn+m7yCiqdz7xYsaCT+gNRIZO3vspSyNHH333GID6yZvdb3pPRl6Frj+Ee74dSN+DYiJ++SoX5ruUYxKdFY5fewQtTUq4gR9f7SxS9IRfnZfGf2awhk2IZ8WYgoaPrp1dVKiqSvA9wf9ZlEckfrFwhH8eygazqEimq4x15cUcHMwKdMhcHN6kmf4oThf8yHY5X/QF8WcNQhhKyFEoI7y+FAUQ0Ivdouv/Ast8kE+AXyPkv9Y9KOU+7BNZefGEMX0TsQhS/HO4Fx4feik0UoaMynaBEPcptlKNK3WeOPTPMgTEbZ4EG1Zd8gwD8yCeRecxuAawMGbiutN7ygK/uTopZ9UOmtCw6JTXTLwVcnwI5AG61uVtis9m20bAvHAxRuWtiyfD7mbUq4OjrnAc87vV7NB0JjJfWF1aZnpdEdvs8LRIW2NA3CBjd27I1kRjAiYBGa0yNhrTB/nWESB18WIZ/SJjhnIRjlEcWdn2yqoXeI4EulGYZV5/drleBslY9jlfs/c0VPBZRKxiYNf2vIlKf33DZc1CwrbWbVKqAJJRBwuBpgcEF96qSrNXrYujbUJVPPgs+ueVqLhzCJW/X+Cz5RHx28GddiUuPCNc7s7iyevoDh/bgkdYTnC7Jzy01VNNHAw6uF/R5NRFw98yZ+akOnL6U91gvl5p4Yhu/Xqxmr/qXnZASdNH7cTdi/XnljlfKiga2u1qTyr60ChBH+5Svte4Yg8KmEBJV6jfiC6nfpiIpWsqqxOC+u9tn1KZpP20OM+mysBqTZpxxwW4rvxo+P4Z3IqaclhvEIblPbq3DvOKHFGOZJRCMFngpVX7Q9avzE6pZch+nYewpYxla7L7p9jAZw6flggcpIGe2ht6017MloTdkr4f810j7XZ1UPRyIT2iY77eLrLVYp0LK9G89mobMNldfFAJF6U2is/JBDSmtcRa8JnkGnnu4s051ffY5aIGObmr23LoVlSRfDu5J6ZNrrLZBa5q0doTSaK2kD3LMMDpLh0fbOvhHxBroxZDPJFCGYpcxeKpNcbRtjPYFIZoUbZHhFAc+sQv1j/2ai2V2aF9H8M2vdJ/1vI7snxXUx7ElgNN+02FOae/OdWxK+KijHGWR0schhkEukgXYuOYIiye3pnd38pNoOaWzSslhxANdSKGIHG3bTWdZDZrxvt3m4wguv5VpgHf5MagLqEmZw5OCHHtWhKfqbqEUcss7VMyPUQLDFu14PKEJUXVCd6lqt6v33L4zt/xd/YsTiouU40FTzgRiEn888E49ajbItimfJQFV3m23ESvsg5K2103bYSL/D/0YoFUs+SuD+d7tAcTfqf2a0L06kIIZX57kM96cys/3rk75s7Hcm7tA6kxC+ed+bIBcCvZJ63j5hvgqnsHcJS/iY2bAwCBot7dJIIE3nAmyuOA7VD3KZH8ACT3ELVeyHDN2mACW7FnCMvC1yPlvxw0KevIjgWrEvcjUlo3tgS6De8htKmlvcArajnyjSTdhxPP05AKfKPgbkUJ8FlL9Es2RPIpPU/GBoyp1MfpQ1EgdB4R6firMSfmoH/YEE9dr93QIfsK9W0brDIrCTtAuegiUISCWMDJSERlbeqvprm0KwZQgvACKmUCUwq9HKaLzX04ZEfZpsk6XLCmD6CgVgjUgQkYD7A5OKyH2EUgqMJtJGAZoA5JRvYUaUOz+LhzDs93zi37bABu7NzfbxjsLz0Ti9+D7iTMQAGJ+F+u7YQRtP52SfSvp1qh/+8IpgwBp/wdOotN8JdNxGNpJt5YE76VztDCISMQDLQ1xlc4dKDVArLngU2aIDvyX0punuZF161JY/5eXszYiBSApJD5PPSQq5Uj2/D4RbqPo7ODnjVC2piRtcg8nAr/nHIHT+gtYGQwYkLUBCMi8yUl3wUWGL552S7OwFcDkvPyrfLawpDUnfY199Lu/KLKLQTBwMKkjB1xktCaw8n2Lx62PA7f6q/qjTfqQ9HyRYb+rGV67jLAKuwsU1rLolTpS8NezWRMALcWb94la7GE5zurcNFKo/LSiAPFuiOA/fDS1QS/PBvkWsaS0IlUo+epxdvN9bThuUvHYLbw9bBVpG9T3ruXFrhqrgpXXgQAG2L9vm2lcDRlBJhoi+AqhsjbfabRublFLjRl2/9I0vY1qAKHWz7oh7ZpU3p1waWr+X6ECAPXGcQnIRG5C9tD2qG5LWZlF0uoek1BKPkuqLDlCNRzhSqWrQ5PZDrI/RxUSQldqNdlmXXHSjP224gKEyagWr543X2YWmYHkDq8hEgcSIa3YhID4+mw7AbVCNzcayaMliAjXxApiJiv34l10HeesXICD8tXpRUN0tTSVG3DWm1jtuY4ZSf9jwfgtL7T2whw26KEiMH0D1K39bqrtzeiSv2ZfZ+qa8sDT1fYqvgALxp1QtGoyL3ZkQOvFsMZFtLCB7sW/UJFQ1aLiEFUR7ViTXaNiYWxxpxek9m/El2eFNWJs5PDyr4DYPXZ/DxgNxaBIxZ/VVuVJFrqkiiCh1HpQuNq1yDjPDT5Nzayryq4N2ztwMhLCMIv5vFJZBD3f6fxvG0uuU/nj6kfkfhp6IJrCa45mpULMoPKd3CYgstVRMVC9Wyt5m7HlSmNRAtOAF7GL6KdqWZreDLjdZ4vJX4PViaf0mK4TgbRYIc+3quuriFsD+LyeWDjhVs41X5VkONgcjC01PizsWxGLmgVnkjLUSsI4tzcx0mIqbo8IrR5ZUd0ZBlqwuO1Mjig+ctUV9ZTDF6EDhN/donLMtPgJN6XzMnAW65zYIEIJjiJzg8L/8C223ry4VMX84VF785I6jnxnMMAPbkHhytlBo1wzDb3Ka7epoHgyF+IgwA3qyjefxXw3orBAkBPt2vIsehLNc8VXrUETjxFCfk5pW48EJk9Ic0k+wfU5SQwlhNXpd7gm8NTe+U74WQBtWUJGzPZSPsRRer7TOFMXZC7dQzEQkvvTLfQ0MnLQgyMbxlHeJEGhkEur0oxDVUafu67lolz1sRKCK+G9pM6V52K9Q8dAv/n/m3SVa5b1mzR5EqFqXEazqjA0k3tjipW8ejeej0aZSE++MmvUFPVN2v8EHE3NZxSgNohgDtOZbb8Xy/jQ47IU4WfrVF6Z1wR1XnYrR8zL5gHlI2bgwtR7ZMD11ocyG39HqikcrdFOgUTV/5mmEs1kU76DwsVu3nY4OvlVLp4Q7p89Oce520x10C6rXKOxfXjY43IX8PqA/kwukJMsWQ4n1srpcMhH0TIdCwTRQ/0WPeXMVe15Nka7QrFeEIctKKcdy81T2ORyCk0EqZlmF68bUW+E5phQEClLKh2zFD3YX0LJ2A8AffCq0Mvh2u2vsW/wixF+mQTVleKSUJLe+YPhku889QspRC8ffxdUxUUAJrm8YsuMWUodfce7NL/y+XVRn+TfMkSdsjJd8kKt9U6jjC4QqLBY00fED1Wp859GVL5e3qT8Sn2PtUQ6BBbm0yALHJmTo2n0oqA12SPE6pB4dM8GQ74YNkjDvgGHNv4MV8DCFPnPjRHzRB1YU82aTxX1oxKACapy2dUKPdAov5KRezqDCVQTqBE0VVVEa4aCNi8oWn6fXIQJvdTmDLAKzsDpO1bu4zh3JA+LO4c3LL6sZEalodxpXszYNDvNpcMoRh+QfdNB9VO+3WttUwikCsVxY5pcVkCiv8Ht8iVJeku3LUl2K7R0nLSjLFgBJnBHAG/ID+sNVhfAhIqWaslacbcuIaEufEmjxJGkzaf49xfvHMKexTd2LzkjQgJJrpe796V9JjawAW6y4Dje6KSvPoSgZwb9MyJu3+cbN+51zzq+P3veDhEpn5e+mMsH6Sg/bGfYcsCq0LETpO/tiYJLHweCUxlZGzPlqNGzATNqNFcej+xopUFtDWNFaZHia6+TSGhIUZU7W/QDCAy6MXMbxNaH01abTBohxSlZkNrcZp+RnjEj95miBhMH6foRs7N4vY1IkMcuNKg6bmqqM3meOUM9FVsOZF0B+ZHcL4sY+I4vtOiR8P0jfo4jF3Ak6D15U4crCzMNfU/91Qz5Am3QIsf5aWAjhiBMQBAVK8P27apVw+WhDEir1rKolIl6FxuEHtyhp6zt+cj/gmrdQTtJAgFwdKPfNk6KDy9KWWN7oqLFISSZUUsxsz1ztjibXJQ+wnhQkvGzF2npas8CD8kgzUzri3xYUOaaFPrF8mVAByqyQZathXsW9dDACa/j+KP3qbQ/SVDEp4nDYOCVIPyPOArpmRENbW+FnYgNZpwNbNcvPhC0h8vByp/zf/8qv6mvWWlqEGnxiOUwMjIpKZZSodU6GrO4NJ9YSLnKQq6wlLu7w50EakdIjXMoP/NW7ErVwfBIT0qbZ8e4Q1x+QGvMUx7WDBAs3ZAw/iGWA1M8nQUoIELZSmFSypaBLxBfvlMm9wFk2cx8Opb7FNdIO721MlI9ltiWvPuQIDVtc5wFkZAjrlz2st2ilcarCOfOP+wOXXD4y2NTeqUwYFugFO8TmqQEYMD6nvGUND2K3owLNkIJAUSW/PjFyy+TzM8ozlSaTtvwsQy7GvB2CL85c2DjatKWUWzDGoPsmiCOuUuW+9x8Q1spFBKNtVHH0YvbmGmJYYs/pPEKA0NYkafBUmnuf37I7ElwedJ1zTfhmHxnSJH+nXIFh/AebQWLiRMcjYQ64kQ6JfksXkdMxBGHTupcAx8R6uU83m+y012uhPHWjNwkEPF2pLjkec72y/HE1XJjrYihTx8QOgqr1i4pV7JRr18+oG1Adg0LNgL6VNzV42aZkvQKf4IK2NrinE8d+z1uashnIy+CplPl2FO+E8YwU0Ya4n79t3X8SqDrfJV6hIoKl3OEvlQv2H8gzlhRdOd4+ZVUWd0TNgf0iZtQHscuVlc8zgiZFTcUNA1CmQGfqMDNpng4bbHq6L+qc4+CabdHN/XIvUAVYyMxZ3NTtciUgIYsiE60CKjH4YsIPbILPxLgeq9FZjg6hFOPZEZiHqHTDIZn0wU4+lI7t6Vb/ZG8Hi4PDOe/VBABAAZUpCjhgnOJzGhhJFKdEbipk5T5gVZrdBVv9SsXyzMJepNAqIV5M7zRPVwAWGBG97YuGDmn7Y/AT+eqM7dVLKFTPPSZbmt0RpAryTVpqYXfhjWCX3FQJG0rOq/ajmGX+DDfTwnKq8yg8B8He8JZ3WjpTIJ4rkv1jtNPDIGUt2uIBN5VNxb6dcOUUIWA+BwZwbWFZArmW7OxV40+jul8NeABa1FgJwZ0d3D/EjgdTrNwJQKUXu+0CwCF1pUa08vr9OhWKnmBj8vLk4W8mJyiOcUPm33zqDrsVmPx8vR3mpil0ZEec71bfEo2Zm9lzP9R8tBdR9Ff+ddYZeaP23BbZ2DgdkydFwyUsow+mutgEkxnIJC+YC8Y5rhsje7Ez4A9oybZIL8OTLT/4xNU3GVO9PPae/3naBFDvuat+oeXCEWbbmjnmRSYTwBZXd4PdS7D9kT4sm8SSfsmtM9z7ZQEeRSjn5nihzeAAu6LAzReLukBtzzHdSWMwKZ1xZc73SXendx9o/XVnVx4URjbrTbYSn/hx/KofwIHZPB/e6IQI4mfVLJEHtRGaLlDY+rU8/vcy+/sLRY1aC6MVt5dUND2R/XK7HkBICwbfh30Xup3rCp6YVgiuJLPMpGPoJEBDPhMEyyG33czdEwFJdiEYBzclCAgqnaapAzw4znarV0ZULc8k7Ur3CC/MK50yGCdVZRYnHenJrMVyNHnN3yG9cc+KIjCWig2JpS5VQym0p2pbn+UBTMZV5c0k3ByzTa6ZMxU3MMesm/IYw+LrQwCaZ07TnQaurFwL9xTUS+FLLPBhmNN5gQtOMCugzQui6zNy+6xFKRM+AAKB07sQmGmw8HpeNaq/aoX7TS239vMuPXb01md0AKmttrQv4WEB/DLxEODqlsDMZXiyZZW1Iav05mWz/3Cljyo9bGazD+rurGxBM/6XO5yw+UlyJKNYLNlLFFUfgeH3Rvtxl6I49GJYHkuyzLOlXyQfqGX0/gc/i5DvFuSSShe8DXSPouUPS9SdJ0V5y8n6uNSJSqrJVSCFkHM9r4tKIZ9aSODRoi3itHQhReuxDnI1rjAthr2TgVmE7Uh2VSM2nA5GEieJ+GRJS2X7jUtcTGKcjC8Qg+s3948Z9yefGP/dLHUsvv3nAuziNyStVsJLxY30O7oppRCNzitQQRn1AV0DiYYn/1DRLwVFa1SDAdyt/xAvRCiheThEL7n4A1C2jQcSAxJxor4cxZHuQFoPwCTjfjPrQrS3VrW5ooc73AkwD9AWoeuE3f9/KhKOTgRygrm8uZRP58uvh1eqpn65kOz+ccjE7x5tElpOSbIp0CJNwIawBvPQaASKfjNbVfRyTxapLb5Z6ozSy4rB5e32UQmhO7zr9sWZCBYtX2xn7G1q7OXoFT48we98OhiITeO82W0plKanqSEYkT3Ld0up5+htPAg+RY1hylBLce8raD15LFjiFQKjFuw/+ND0eV8MmMqOiOaX0ZKBr8giZQwvOwuthlRN8EYs4+GgNCExZYG+ZvlUei1wD7EyaQWIAPlafjE088i6Px57DQPtf9a+1xy9rVSy/qdC55ZCndNmIRNz0oEaz05FglJx/1oLDA79c9bsv0UXzHuxyJN2KVd4cTxrn3AvBTyvglEG6zdsIKRJxEVJs/Lm4HsY+TuMSclhNuUy4nvNSsdLBwvc+UpVOwS7Rlv0ELJM0JnZAgu47+Mk9/QpW9X/qqz0styez1lnhAlMrRWPz+aoamXLhydTgU+9l3JudH8mPtxWepR3cY1+r2Ko8NHjsHdHbdtx8nG8E+3QRKS6vwgZ6AaES3vzTCY3sj4V+225NXpKIxrQmHkPz2mKUzXRRqUsd5VvNmaqsl3Acn2c7H3vRam3aOAt4o+CG4k1+uUK+NAauyLGET9jDnPSAo1Awj+taC/PyojM0DKZx98QgptekW7dS4HnWlCFCRHM8R605VaPljnV9u1y6JAF9egAt0ZK9d7PNy4FIgi0Q8ga1CI70iG/nxxuQC+7KC8IfO4A10MV3dosksImNoFUXYOqlN4hSaWNrVqyhjqCcaaZEAjyKvuEwZrTJdnMYH4E8JNhjYI+2/8DK+faHxAxskmJ7TeckrRSqycKW5nhUvDdlNo5JVcLqfSQqrqqe9OoV63Umr2FIjt4fByZY2IWf2QNuMVrtgDC0qMCAfLX847UFk2W16SyXyd3wzJ51UFaB4LeOASY6lBBpwi6Y7eZ72hxjungITU1kDK2U2Cxh7WcBeBBvHIsieEApWEFA+sGQwutsMQ8GGpxip9zyvUVs1WcmSDW7T+mVYeRMSIkFNwLdWUctRmf1SHXK6GQ3CRtw45charzTyac+cP/oymSZE0FL9fCrtsvE8trIS5TfcYkiwpVOY/FyE7eCDN9hKICEN5mVtuM1h5/1iElSiI3C25t16f8MpgTEfi5Gh4ceDiwhZWKVvYpUrWQAcgbKj8EOHJ21DYX+thaVpZIEz+Gn/77or/txOsKRUhygmFYJ5qiP6eBJt3eqo3iIZcGh/IZDZ2qwAxbL4BBDZcBcpwQEClfYdRROoitfuEeha8z+VNpT3s7qeLlgWGjFOkfB7YQg6w4zpE9EHDHOc8Ehurxpi2Uhy2Fw2mLmnKe5RKGTP7AZArBRHpvGEmtWUJDxv0t/AQrtfHmZxNPvY3Ihq+iBD2X1ZUtapAWFK0q8s6CjP1WPnctrzK/DAJx58LP4e8Ld0Ee2mZJceHu5ZXJyUwiccwSA+D6bIeQ23i7TPeGXGTh7d5V0EpsyLr23LZUIwPnZsvkP5d157xVIR3+gpN0j7XAsg/SPlW1toS/zEb3iYyFHB0gl0MzBEtxOVRn4+ZX+PYbyP4ZisCM4sHZuwgxzedsKR93NyLgKUATty/qMj9yyG4BEfW0bxACt3Qi8H1Ua0BynQYJ+Aeu1xZXrYiLwklmnzh6A43eVTZLc8VUQKDratZ1Sc6ADPbEGpmA41EMRZY7TTqO0ZTY8v+m6T6nwJbdeXKZgtZ9kE2xNXo3p1yUuYCtC1ToalR8KI1eoj5u+7mOC3WmA/FBUFakVelU7EpvZ+3Rl3gNg35chSyCbKg5Uds/yzzsZcxGWSAZbg+gEDq5T9ELZEw+fLYIZv4BtXQCGZzT5fxBDqLbsDeX0Yf3RnY0a/77WGgFsRwGnqaEp/kCzmOcCsnXQVgkQCZCUVbowS7IGqEMmb6/LGOd+8phaMU71+BtkUBLq+OISKa6AqmUqwUieH9AREHHy/Azhe4RPFn0NwqTp26LYuyRVjd923khh3f2CSzD/+ejjubH4U5mUc344Po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w4XPkOWt60VKy9Djal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wULGghMl0g5UwSi1k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JiiPQ0qyKUbgIxciD8k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FpR0hxBUW5zYOG.6vD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_0xA5Mg_GZ1g4rXY8bK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qBfEkY31OewwLeLgz_U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IY6fZYSPnn_KjGCIzT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amvvITBLOe.klhLKuq0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YcyD1pBmNlotjuA4X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uMLsDNHyBZVis8sjcv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eIgXhmsngosWprCD7B3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JwhwnYyagxTG6C1FJw8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5YjsoiOBuehBYE_c6x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6RZriQ3wO0EROA8AoLd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ekk9szi6GEi.nh_GPny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7HbeYjX9XJ0x6y3IKfh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lHTBJfBuVDUtTgjqL98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WF6BjiqsyGMfv5uF16H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6A99ptWf4e_lpyqlXwV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MRvDjko8SLqQRKn5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Sg1lVAx18Ikoo8072zk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H_g3EbeH7.ERG1P507B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HDFXl9kgM8bjpfRm.Zs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8I8MVwzdOdX5VVO0CZN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j8ybgfadAJXtrgdU.x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XLgigyzMjSvQtHPXLdw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UK2eN9B4o0Tk3NozoWi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1JAPPkPmX0I8L4n.j1X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NkK72bqxSOtKKbIhH9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38tZvG4EMXy2Tpk4oT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T5pfdkbUOnkYudNyNyLWTdO329Fgmbo5A4RIDT9h9LeoFbbclESC61DGvLg/AQmW4KVVZDApKFL51Ia/XAyW4c5NTiwP7Uk+2mykSLcaAPfooXnlnka+mn6Ryv8SG93zUg6Uw7PHNOPy5XDpQinAFBnz0SVXJiFLiR731H6PFhSVD1PXtgNhIJ27zEi1h/NLYwVQ7RCnUk1UNQXcxJw/VERl6oeyfxwwUoJA04jdqKUIpg/tqkP/oj0bL1VUR3yrqrpOwoe8fYtiLfdU/RXE2z9Sztjt6iIk3Al+g7aCNMaWhuOHOJob5zias4VB5q4Nu4XVs8b0fhJGwlMOX/Enz6ICPVwaLWw31dnYhEqVfsRa0A5CzyfeAYp+V2OdbZXAPzbtMTx5dLYwBOATmy9xDL+MUy1w5OwnU2HF7ArG0LjgDD4TljiVbAxrtET6MGgYQd2Dv2nEC4nzYeQVw6KkNDU8lEkpxfaurucxztKubixDsntyo6NvmSyhV8wbRRRG2IfclxuAv66K6dfZcPMv6vwVu1na2IqkI2ttBDQYlZuEAx7pcfNakf4rPERhHPL5u9Yl/SEUmToGguYl9Pd3cL6ituE9Z0ggnCQwfdo4hA4yJJMSS2q4RCzYLzdKvDYLBnIivV1WPGpCpssUp5WvOJF1r+0Eh4jbzVRjxmlwCXQozmmLrjWCRtnmLRZWBwoC812mBT92wWnmjtIQ78TgOpdx8wjaDVG66DtsA4+CWTR+s2KHVESjKgLyjEUb84K1TiAmHcYu/aoPmq5lwn0hTWaFfPixOBXKAjuogvMECnMLHeLmdoLcBgQuqcDjn6PzEDvnjW+VUOddgSQlkY3OLDln7Blh4pnhFOYrzrTMQZWU3WVDTZJYIdrU/Em26aSSYPAKdBrgc02KPxxPo7Dvu+3aqFalCLZ4e6Q97atSkGPw958Ej+2AXtW+2SYmtRZustBfv+6VOkGu3W9ikiFc1+GkiSsqSN+EbcThm18i/vlNc09xCkv3geVCoee0IU7mr8qN7ep0haFbBe9LkfobCAllxIqsSFAUozKZP09i/jBTrgAabb19U+FrnkyjTD44yAYKVTBrrtdMSgeGcOu28IjmEnr9u+RA+18J/cDJDNn+RTKjn292/gv1WAnVfj/BLLm+EgHHI3GaAxc6nQXrgzLVM9OJsVt9wPkzfVG0wyRsdyga+55/vpJWkvy57jk0FDN4Oxgcf7txc+5iHV7SCw8wddBUcdigxggQY/hlNanCs+OljwurFavkzxla4BGP+LsD6/UCiQoKyUpYx1unth5Kke5GIG+5p7nDxmC6Nng221X49dRT038VpwIM071VTQWR3RgGsLMG3GmykY0DInG5ING/64qgsNWk5g4ykKbRx47L3dt5jRen+3XM8TIzAWbjCRv+4YyQ8PHBcOmN+ga9jzP9O5Y6FTkV4bmn/5CccrcEOioyOBzwobXwK5dL78izsu0rbDEx5KKBpjuMNhZE7E0y1pGufrC5Q6tA+0eKPXWFXk3Qa69uKp6guZ5JfQ1igwi4QgI5E481ifpt8h2qwXQwqgWYvh5AcrWmPArgxtBbYeTyuQPiv3bP83OSx9B+KymxkUk+rpFkASyi5l6c2Up0nNIe63CQcLJNL7+f81cIJvT8vPgRei49REoqJBGSGvs3coTu0MvbEMVTGON8yK83KB+r30xMdCs9RetREiC82JGnKsDtEgXxu9MlYHN6HbgxMeJF+5gV/tYiWM40yqvPSDX9l5thNaK7bZpxompj5X6anEf9+gFTUrEnGb1v7KOs6UFPp73IqNGCl/J9DdoYlTQqbNxhdRtl0hPLBceZOWfvCbjG/J/fURcThabLKeXBhsKv/gGQqPCUaAB8bIcLXf4N/mmRqus90UiAu4VXTybp8gmVXUUhVrizEt85XNGQi7LL4Dlo3aY6k2kBBqYTirsnEvqqwt7BqnpoYLN8QlONMzMHAKBXA7eHpBCghfDO+XKxpyB7ct8MMRRMdMhvvJStA5WKOaeDmOy0O7/LLXPPWWsPN7ctRe0wJ71Fudr29OnLN7qdSQTdafzt1pA15qux5JT9Xlg0Hn3SfFWERNbUHz9X5wMZjX0LxCcc6obUJ+fEiIIdTR2A1zCjEZQNZdZ91ZXblEQXkFKFsdt8Q4Vdloo8FBLFnNAMJBE1muaKp0bYyVu1SosYfHt/repFdwgM4fqiJW+4JUsYUNxmAzLalRMgeXayEVpN1uQ766tgNGdAc2Ox8MmYdrv7gb5Brrwtc+/cPNK265pA6jjoqgor5JfRWXla2xEpAnM2m6pGRnMiI0qPwmd8O2Vdrh1t2ugC0DrR2EHlofAy9v2/aXISkDp2Gvx/uI1X8K3KvN4Rtbjm+FQOg75nYBMvMPAA5wx+wjGGXE0CgNuN5Rjhlc5f9ApACoh/LJXaIhfe9iWrjTppF21q20udHFEHsDpmoESrHQGAOkjZ3qyMBgpXKsNFqLM/f+H3EPKbgzbjc8i1SA9MuhWn3q8O+rsOrz0SmUvxmMaGH2MJmw6llrLD44sKaqcZm/efl4Eg1dVOJcoOFO6jT/e3yVCqvdmoSnErpG6ZZ1/lz4Bczibfvbmoss8ZQdaqJPygbbWHs4FcvfTfe5qfNTIJujdYbq0eilNJFZgmCkSzkcqxoetxhuS6He3rfjrB1Y7N1BVs7G6GVlw1UoGn9eTGWmryoTCHrCh8dQBkWGgAhMu6RhjyXu4+w7bXRUTdm5kvCncJ4RJ/AE9NbO93kKVbTw+zmE0urWoagUkV2Wyl/6msbLuIgpa9wPuVejvQH/SWBCYaWCm6WszQ4JbMzUNqqgx0xJi8kE03xep/VbAxHB2LUzdZz6uMAtWZ9lXdpAGDpGmINXlE990rcXjSpC0FUjhgGOsYzFUtIJ+5+nX6asTlhg8sN7x1MUxt3QLhc0NPa9KEZc3H1WxEmun30LriZbSijnHCZq88whjeR3c2QJX/ygJ1B0t7qrWWzuITLFX7HGaeen3TLlFbVaUDq2rntkZw/YiI2Sa3ytyvYQrBmQb2gRUikp3TdVbDfoYGteni6PvQQSB4kyum9FSsgCY5ixcyackT6trLjXpaLNcVNHyyRXijPaMRT29Q62XHhi60gCQYElzwbI7cdhejtwpOqtE4OFfnbHtGUuFoKClyC4MnNKiZkeES9ije/5VAEXL8eIMCihX1zWYcC3vy7te7+gQYqoMNatzwjBVHjiGByqKVTcFCVtESmdwUKgVLv0WtAMlREBakD8q/Rzf6z5Hpw/oX1O635l/MJtfqmKjDu2qgHCQ3eOrPfjEZUG8vAYMeUT7zJoNSpsGBSwXmORfLLUxIx7sah6tlbr8hqAmAFFfvDIhIlRpmRNrnhp4cO4Wrno8yl8NIYnBHjO1LqEKFQNn7eNVTESb2DPM+tGygQexK/MWYDVVUZiKEbvJPAhBpomxYNorm6UpdoxoxtWwcLnm7ipMxuWFCiEIsxz3ducExEYpap4Leudh15J+P8Hvqq9FqgNqJpo9RmmxbdfqfR0Ahe8G5Xm+Z4AqKmP+aNSlU/Lltuk7Z8bKBa+fsItzEWiNjO6v+Zi/b0MQQX6Rlt8sf9SxLpFO5fKkEugO3Y3AwVmWYfLbNnbDqoffNVbpKLbqgIisP74UcJTqxOmrffiN3umJbHPXEob1Zn9CFDPCoXF6yXRX1DgwbgaBDv6sodOYYsDGDb3Z2M+4vPlNJawqLNIPZ2wfG3bXHAZeBC9BQzjWmwcj17poEaPaf8gTc2mPKr/ypOPA59bcXNlnmw+lbal79FPWct4VboRL4LavJA4UnsMpad8JYKOVDu63wGp8oYyEbtJ8ALnl7IBwx33mJN8zGlYcd06O7b2eponwms1PL3b/mA39ZWp76uMw4WUSzDnCjIhpyAL2Q+76d9n+UrYn/j8GLq59+QCEr7iqjvYhbYXGUrDSL0qPGZlmM31DfGyPNdy9+Tsv8K2EMrqHdQcKql2a0JfF+v3s5BPxH8B7ndtm4YG2c9M+i9aUcDvc1o+MonbEMyrR/XtvVKEt5cMli+NNERmqskju1vaUiIKjoWjClarb+x/XpcXOK2KwM4WEqkCO2ptSzWQIdjUHyn/AKrOHXkuvs/Dn+PyvDi+YfPpuNMqkHMM41c/IUX+gH4yS2lYkY13pZZLK4U1SDpJP6EQNksVfWFvoDBOsVdDNhXpKtth75ZjQ5O51yhjkynzu+7nmKeVXTIbQ/hRj4NOm8qnN2CjHiuccLuU0/PM1h7f0+8NVnrmSoaLOQkP9kLHDnmvet2IRQWoAH+N3MDtQ//i7iv5ot8EkA1Htw0VQqGGKteqNsh8D0+ELU7BVS6ed1zD1DuFMxi1+RY6CV6Jca24kHCxu3m+QCS+T3t95mBIGSxxte7/y7+kEVFNepWdbcscyEO0g2h4CzXJth9cdZOzQx6TIEVqkWjEuOqtJdMmbhzSiwt30SZKZP8p21ToEmQRITEvn4p9RWNvXo70xeoA7S+TiMr5k7oFFVEIoe88NSZwKD+F8AJz84WZ0npXijQrRCKeCTFgEXP1vnyfrkKjLeewzVXnVOusk4dD+LGBKteoXPFr93YuqIVYzsvzRTmfi4dyV6IAqjYY9CQOtrwsOBdo2jMsxQLnNWgM0AdHZt21bklgoWnHn0wNckjJeE1Ig1I+yU0EUJcQngaZI/bN2kJveRLRo/ukRr8X7DTC2+Mu2sBp82ua0dc7+vndpudrvYMcitYy5xz8GgUVzEoJST7Cyam3+kuoYDVvLmhY7hIbREUcw1uZ6zw0j1aYZ3U7i5zZVCmwp2y7lywHv7eJBEVNveg75z+V3zYVVsSlhgfl18Uplmn5d1NUtQyrjyU5C+It5ZDxrBB/NmxiaGbtp7b9Fg+GibanuaMQGZ1FJNl9MvZRsiIkRiKP2dYcKuub2MLEOLp2aqycvyu1YqPSKWU0kc+wVt0Y2eLyGVS/z8DrhjnHzBQx3lBFc6U/IkNkbFGtQwuoPCPLaBvGNGLW8T4raJnTX/HQ7vtrA074PVa8GrndXUtK7bhUD5yOYLCczMcpIusY1Rle0mo69e3Msk60KkdsLdmxwq0rPP8s0r7dpPo/LY/Xcyz4L+9rHDy7urfPMR3Obr0wraJA8vkg6BZWXnRlTxZrQdI4YCluMMHW0EKglIzCOv8rYQkesd/Dpyx4ACzgfFWdXqo3NLuZTPv3lARQrvqUoxc1UTzsHAzjVD4dXsAfRMor5f820OWJhKIQ1dEasLWyekX0dvdRJ9/NVysC9c6NGs/bQSgMZ41SMSIkKf5SKWYgVWKlIBF3r3isSTWwX4GJpoml/3Hr1/HVOO4tzwNdAQxvzJq2rwC7RZCT+qpK4QPmQsNqkCQJlpEj1OGRJrxVxLs3uvpZECVVBJkClN928Ic7aQzkPv8jwC55oZzDGjwof8rZvIOW7uwpazkzf/Dt7+c5Dl2jl2bP926g0Jo/QZPkliKrbZ6OFPcE/Qb8D4zxbTRbgjKrjKlNxb1T3mpibifHcqmrPhvdBPDA6p1AhU/VYlUT/DJ9TeQ6IwIcF5Ayd7vJt7EnEakpy3CHgct5vHH4W//jteVmWmi+QnFPSgubt3kJOdQgTYZv5sz+MJYLaXgNA41ZzJBENbp8pAdPVLyTEPBah9K6HbPVSTcN6qTyCONcKgMfaRp5LbkKzgVekvR+CjAc1hX+HQBA2ScK2hRV+4aa+mYzlPGa45aD35qerJ/qDdy3fvtiZKwmzNITq1q0TphoDXwq59G/T9Q69/yiQQYnsweAj8I/c4bNtlIa6Ummy3vg4wziKH9yilE/HDFyfwqc0hpg/CYirmzUCzmkrpOcROY/2ygvh2aGF1ET4nj/vsFYe8YON5dSgw34TktHFmSSinLymaWMo4SnXDCcbI8gzMf32ZyXwiDPa6wxlrA/PumGEOdr8Ub22oVx9+TuNaT6poRdzTOEgdJH5FR8JICo7GQKh8Hhtf2w/pGSWK5x0DUV/pkz8e0xs+p6OWciBDZvul1LpPoJVGyg5b+qGPq12NeY8ui1Plhbxo0znO1wThLy/K3qMojBgwAqXfUW/UJU7ghqXrsWJnD4MsdtzDwj8sVio0++vLQOSc6ZPcV6XgvQ+reVIo2+8OHIhO/qiQYu7ChTLOU9ZLJ20xcNux0T6D8Vg3xjdcAI7bD3Jo4ACzaInlIxikHwSYfoZGh3aNmxmrx/8c6Bkabpd8NTUO0DxVJsc+ouu3OcizhazF8WX/4c0I2IhcNoBaxevn8Diy0WJv3YeIPmhMN/3HZBbnrJNoO8RnzX+ndVmS9VENl2fIde3QwD6SlJC5r8dmQl3GgAMZoVwD2E5IKXngcqyMPDPcE6E7jBz859bPBFSIgvpL5UJ21hvNj+4EOw5Z0RjRMV37z35KMU9QaIFfzeAD25jWeXOviZmtJ1+gQHgeg5A2CgZZwUkyux/keYQv34eX7CGwJfOiA73ThLla/qNe9VHo1eATEgakfA2ipKG0uhBvrxxmbWCMbd2286OwXoPPNH8Nfls27G2hmr5fqhIg7k5y/f9o1oMcwq/I7USemPnVzNBk5h6MlVz/wCYdPg4kvTBwP4rGI80ZbLQ2Vt44RjwTP760+EYxgbFOqYpc9v8w7W8O9qi/mM3n47gHgbxm+I50HIXI9Ue5sBXfH32ObbIVOVM28XV7+3xfxhYq5/OoHD85sR2Z4Ud2StnJmleuaVk8l0g47CKm1HKJPshWb9lTogXh9hkm8wNZg8TFI03ESN5pMfFaMXB2Bth7H6Pr0BDK4k9wvlPTsztBs1YZ2+ZUvLru2BAHW0/UemFP1xMXAwJvsAS7a5CWphdw+en0P8nnZT3pqrdoYKTmpqudOPtVehAnSmr+18r5i86w5V99MprS0I+BdS+SoD4Ljv/F50sOghdbUP1ZY7VHgAb1KMH5SQgRCMl5xVn66divvuVxGpiG272zBG4clKOQuCeQmcyQP2DccKd6QeibjNXg8JbBMB5/lSk1Ga0Xe7mATKo3vZ7sY/h0SFgJOwK1gADSTZNwRGKGhXq3KmTa9T5KaIP1K2sUAerWZC5oeH2bqt+w5BMKNxpiS2GHwZVfoyg5buyDMvWh8FOqsnTUXTmWb1Co5bX4vfVmwJW1GLQBoPLG4L+ecIx07iJsJ/k2+a/+I+ZBFEW2bQwn81mgxknkFb6BcjSgk0n+9wMchKnELjTvQ3uTfZoz1Ol9RK9TP6e6Zi7MCscmcYovpiXWAmiS7XNMsIgkJkOZyU6EvV+OIP/ubZhQjKo/6w3L7HVCjkfPsnthiE+HtW5wZ1I2w29bU2uMvp4tmuVSgErixIrEeA8/9ls+UzJs+tZvkMbGeaQ681JAeUmz+NmJCbGYGeRDOzbRBgkryF/jat0jkKr0DUj9iuzqceGs9gCr9P5wj222vMQkGa/4nVXKEICec4k8VlzUxGyh04zXRo+4eGICj7qxQFUvuGoOOrW4n54AN6C68+6lrJIVVoK81ZZwsuocaBOJR/VhXbRaqN6uGJ6nXzUPji8YpMXKr6kdmCqqEd/mdREzqkfdE280vc9E1qqStLpZWyhcgsCe6q/IjRResAwasM91Zq+4/41TJ7OHAO7AeYU6XXbGGuYxkOdSOlYph4Xfxpn+f140FYzlQILhglZzPYm+/ahrOY3KTHJGB8J/8s4BoEpum4onP26BeMI7UWCD+GwxCMBRA7GVXL74TWmcS402hwQcJDpAy3IyOgp5SgrtDQfW72l3yyswWG/ei+sttrgv8oFUjqkJSF2u0gemJNCMfoZTzDz9XhgTz6V6nYZ2S+bckbiKCio3cb+RKTFVtlzSQqQWZLs8fRwHd/3YDdpYbMZYKo0U03GFCz4ZF07z81glcgb+ewuTRelnPPxOqcInrCSBQ5xwK++DOYYRDFyFGHLAcroheFJbAQLVkAopw6mG1VhydABsThh/IOuuZiw73d674FDOKID6drzpG0S0Zjvy7BwZUm2XoamMgfWz4292EYk6afp+RGRY4qilrsR9Hmvm8slhbOlRsJitfaKtpoZoYN6AY3yyv/TInEYUMQ16dqLoUfT5+JlZW0RWPmNHf40Q8QEYAA0Q4kR4WAzLLN1Q0BTKAkQN7stKbryH8ybNxxrVOtNhGtix3nx6tJVPNNfEfdSnsQo8zNsc8pi/9V7QNOPeJIS1wWqhqfvsYWZgC4owRS9KBAPascp5KKp02oaDJN/nDXy+E/Cst9SfHAH6GQoO2bM+rR1VlkVth2r7zL/temHoTDbPAw61wz+OrJ3NbtFWQs0KJq9sGtK5dMj43rSnP00Cqs5sitpJDvWuQ7j9W22zDzBeSBudlQ1rMtYv2lwyb2UgVKr40Q9EZNqNnjB7OW9Igs6puZtBV0OyeVMiZ2JBSOwTFlN6iWvVtxw1BvkpF0Kx4FLOWkbhbGWtOtbjoKCpAi8XrA/+2XQBe15hfkZZ2mng4TalBX2eZvblrew0fYShtkFP5wR7GYMzrp2ZgxiDXqRjllz4wyJedQ4rDvT4jp1/krmJQWSNDiMCztSlanc+TZBKcq0qNacLYw3Tv7mHc6aMZGxe0C+XGV0VKcEo6lp0p+yH0duhwNGn0gvk+34Lkv5sxSt4YhGqmV6d+ktxLGn+I+sZw1+zklzAVxtVVTYVXsovcPzPXHPSetOf1NT8m7/B/Cmmla/GeY48MaPBC4Ddr8WHjWnx7bYQkfw2DjyR4RvEy3Qt/ZVju/AaAaUg8ILxopb30bZqK3X2t9Q8k8DdJ9XMi3J4JP0jnrjeTFBUeCseomsfuzQP1dn9njqhUP0P+8xHDS/49lhTKVWf+tewFardCIo3nyZXw+zClmXQ5ykoK53jn68SfJSxqk86hmnfO6evaZDz1fH4h8md4liskpLJi4bwp2UHs3G8IFPjC2IUeMiUmDoRMe6AN0aqmXT969fwxLXzmPJOLIgc7oCj3A31Y//V8ug8DRdt+CGMoRLGElYEO3XXQHp+IUsAiMOypp8nOkJ3Yj8JQAq8NpQJpcx9+l6o0839GUrCa4x+sW5HWRIdIIeQ+DPTnW0HWPfcGHr8E5BPPIDugaINEnUro8VOCBBmhJj3Ket2bL6x7sBWvoMsBAIrugvJfFOK4CcCvxzaFv0iang7sCFlMgzdnfHysf4N/MlSb+iYvLoMDoBzJOa/aUmp1dkF7sobhZfjfjDeZkTuPRJiSBPi2FI9YHfIoAgMwpP56C9Y/K/gPVeaWI8U0dQxJ2Xj+6zwrc3K7ZfR8nj9as/St+L/9/+crm1DgV9wAigxHIXNceQmh/fVPOcRyM2jufmi4j8Wp4HwJ73HjHZroN5yMViJ0raHoEABgUu0DawAqDj9wt83PZwXN7AC+53f5ldql59BrUEViY31o1DUtrC9u0/kGOXjIev2oVRpyZ/zLCVe8a/UvLM+tzC/Bb5lEQriJTO66Xx1MmehtoukcrwH7sevCrwwXNEeTxHlvcG3ieYRBAvk8sEsnTDm6RORdfgBdlsNkADA2kwHXQ8L4ai4tmIYzGIWPYoQagEvRH0XPJilBpbZreuPJOHbM8r0+nNyCExBA0obmRp7In18TVtiMk3sVRAiA0okqoyt7nWYYuO5TQmLGkr39SiW6XxzM4h7LOgcADJl89C7gtxRmPL344MVSMqbG6ClJ/1HOJvnNsvZlQMBDeMSHtuwptvrRMiN+eQexhy81Q9MsOS2wwoz+wwr42oJhRBsb2zrNsMJH/19lfWbqQlWX7YdteWP/x8UJKC1xkl4FbA7zkUKbFtbfr36nuNoZ4+3tGOjh8Aejxd28OpdfqF7QqzYo8tW7cB47OgVW+sHxIIBggSywvNLmO2jYvStVKTt3B6iFefXUReXNalxjotfti0mL4K96/TMHB+DcCuf6J9YmxbJ/y4xKFuyDingCogR2xpgXO2orQYP9eljaxy9iHnuCCHvm8+LXXYar6ErFSWNlAR79ZlmZpxxvzEEZAJab26aUR60edBLC6YsFDdQeIUoE8tiudHwOFyZn5kCn4pAe4Lzwruc+GIxiEEs0FKb2hADgDTBvZ/03pcl+TI4VyN0T9pjs3+Afc//IziH8DPIRQOZKojp2eeyV7sf87nVWMGHN0CEpGRHD4Xz+7judxB66VYNl2sKa5ULzVcexmqx1s2xZEO7ca3E6SVA4Zbf8hlrey9I1HiwfZ+hOtm1YHAsCmkji4sBHcm6kMULXXuFoqk1AXgUV12sqMkr9a6U7YAFVtB32Y5yZrvAX7t4jUekgsKCWqb6nLDZBa+9qG5BKzDN2ka92ykCdMpaGB2yNC/j2olBYOi306PSjWgzPRBJQdCf4GxmGWdh6irRneiQc8kdGkFmaso9HeS23sdu+R3mX8LwcKyL1/cTdogG1pK2+vicQTq6NokZSAU//2fo5Qzx0e3utxuNogYN2s+CeVkxtS09/V4J1XATtQRCpvw1cJOxL/tAk4OKxgSpGL6OMRQGxtDKENCI2Obdh3UlwTv/No0of697t9Ja2qn/8hkxobkEFChrvjifPjx+ji8sMCfIp3xZ8YApWK+pxngOfbY2Ph0UIeezqKAYqgOcX36MKWhky+LkrTVtdlC7STiOYHItxIRmvLwhVuImLUBqPqb9x0uEftK4olTOy9l6d0m3+qMBYEKOFUJeiNTdyPFdoGRwJkWPjGu4Msj4Uyo/pA7XauJQmjaLANJ88rXUTdwaAst6kdqLB+0tPZUAiQwGFBEIBy/7SwZao9GHOIwJ7bXFzL3jJyZVO/VRWhz6gES6lj8yiLZ2KjjlbMEWRWy8whINfKEUhL/eeF/n1DHCbhKs2uHUBQ1+BVTSwtSDvGK0r82iYRkbtJo8+Kzm5zFe9ECtj/MbV9CIYgcpUjmq/KffsDFIUTv7FTMZZF3fXRD3uYTkHL7DGqTByX3HS3KRgOlOvGWEOZr1DBqATZCCUEI2m0n8vEdl3zPNI84f+nunyClyxrBElHZicpDmXQmht+W0yYTaIH7zgcN0IpWu9DqSY36THjaFrmicutqOrAdxkOSc4jrJQ37ZYN53avrAuyoU9OBcav7jug/3R7r4u6y5JEKHQCkC0+6/jX0cFT9ygRWUEiv1Cv1/74nmZfX4EN8ACHjHA3S/S+FaDZ/eR2xLCPan28x0g1eapMBrP2lMQYEPB7CtSYP0xpdOLs/cohL2qxqGM0QzT/CZ65Hb0EJw0I4G/4u/lMp46nCcoYPMbHefwXnAfojP3ha5yA9uGNjbsK7FicdE8nQK7LPDEFr3e6pNTt1hvHOMokJhpGobZ6cWFh+3tr1D0gcWt0JH57SjhIp347+u7SM8wfR9UdBGtLZ+DBZP8DkPahir9EPzPFlUqjsGmh4TIUDfqHCzTBD1PW8o4KchO4ntclgiEED0CdLpZEGzy3UEgJOCSUTwZjg4LIJZAcgKi48FybjdsRkNj0C+UnZ4sJnr/z8Fq7y544861wKs4YVIuaG8Ch9m/8zrJ+B+8sTWT9KGdfVda/Mj8diXWLhFEgUpHMW08Rw+Cx2HTfiACcPI+Yhv1X4mzVswxniq9LyD7vULorvvixHscSfD8wLDkoZtz4AkMCm2ZocCkiGqbFpCLI1fxo9R6KRFYi5lzIGHwGs1OaLd8/kw3wTmJYxWVcEtMXfsgIIYBNZcNoPc9/EE3Z//sSv5ln767oIOj3w/IRKehzEGJG89c8oiSYLN5tsdDHPuSx8BmhoeFGg74lEEDI1bBqRmBCCh9gksZJgcfaGVOfuWvPeWDEIIbnHizsfo/lv2eOAgNppgLFNFxdWXrEnrTZxTEPQnmBICGc8Oj/5As97ZfWsIrhlFxKv9vxPbxEuooVz2OUyjIqBZM0gQ1Ek/ZUfhWwkswKmstP3oAvbnGd1PooLxBboy7vDWRilhNT8lAakin/nNaWPwjatdaIB5mJg1iclIq2CeRCaESggfZRhGBa1UmhYEUmcKIBmjjnnAjMlhzLZzmfKs4g+FYWwzttUEpDk0l8eo5ZsqTvKRI0SNnjkvYOuukNM7t45ks1McYRNsOnupULSXvasD07ZoLTFisVbPemkYhxHyRtcxC5rsk2MuC/pgFnEteJ+Uu6HWPZhoCf3F6pvAiDQUZIp037my402+RG767CIYfRcKR4LO/txuu1nbBtWVPWtlswQ1PuEUiXSirag7+VHnV7z8Ot9GcSwxHiPbGxyIVtPLNPNutQLRNzCHtYTxFHxNKCgiXKnz/Ew6x8GLbpx0bZ9PVrklO7GAHUkyRLpMt9+yMZzdTXeApy5uBtSZz0khOboXGg47AnxqSCls07bkLlRnikwKpeGiAJraiCDtqn1NyTWp8Eq6SsZ5KlUhDHtobOtjwRhUxJBBDO9CvreU1NcGZKDK2DDbk9z/K+XgejhsV1bVfSUjiWHr70ZWcobcMPDrwrsS4Mc7bSO3ku7WwINbGkHtI8UcrzoJ6Vr78NcCqM4OqqS94Nw/yy8S+pY6+X8u6/nDeXGvgkXQV/QJsx+qSkL3wX2VTcYo6cdbTzU6mtKB8nYxr7FGg88nYvpUM+V0iyjMn6Phczuv3zTVU2eoecr20Wjq4+el9W47G5oo64UWjJ4XmDwQSaqltUTGuhl9Co6vEAxDLl7aVymoagrznhInISa9oJ+56orRnsQrFbCuNNLKQ38SJ1JvNteDS4ENxTcwsBcpTwJbnIoXMUDqt+ZZS8G9TB7+aynnRRoP4zrzfCacd+zsjFUAYJKjIlmAnE2MMRru4RC5aNFh08zJBsTWkWf6v0mRW7ICnyTvaSvLjI/Y9TMk5pWW6t1jnrFVJrqsMN/2/TQ5MNbMEWcmpePk8RLdkWAlaEAeFrkTXHlQ3z9KLkwYu/gpLgmJFq6yWgF2jOj4ogoI6FydfIwhtu+zNS2Meqz1NFqHX2hSM8Ljnip6EGAWvuJafb0Ibw+Qy6vueK2aUXENMH7AT+D6Qjoj3z5Jl2BQvjuu9CJfyHcUBFGh5Z8qCOLTGDlT7PbI48aFaOpQ9kCQWeWbGRkrR3cKL9z4AiA1F//R1tEAnX2YSzQr4LM3uvvwCC5s/tvvyicViHCx3TcpvBipkZNDAMGXvlrhwwIsd2xHw1Ac0EfqDvN82dKoCSGeAho6zThyVFCvxSTOiFU3iZJRm7j9Uf+AAMQFL2ikFjBHK2w+Loqi4bN58k0LdMIpeQ3ksLnLhcAp25E4oTdxA7IeXx6MZbjkUNd5D9wj9XAmtbJSvX24bV4nOlS2BQj5LSHtm3WyMW0guk49GAmqgEpHBI2p1GUUrfPMMsUP9Q63oF4JUqsXnmCrXvbTAom9EHHLwuAnJtDv6G5qKf094AB8iZj5K8Wc+N+N98sA4NHEY2YpBii7lUboxOH6GSCbDciOSmsqWBXsfhcgwiqUpVuZUqFXw27wwsWvuKJ6x394o6II9PHUmh/Ew/m39WDY3xJ3lyLTnPdT+oZ3xMrlROU5fLNLIwUl3FT+aeGPMj9b68RoqC7rZJhEQvfq9q0ZVg/V23qgGej9Sd/oIvO94hmdG3P53KQfk5iNWar8iOUs+6sU0gOSnYQ4Gb0wX3hJyT1RyY9SUbLO3m2bRXosDrDx8NWHYWJ3mAcsvnhTicV4QwpooZDMjqrhDpa9Nmi//uqNVVxQCLqr3sQpmrlSuPSggZDb7OzVybQ/U2UzCijcd16Jju4AND1CAtsMtm39nRMCv1C0s6h3J2yg1HOZ8/zf5oDL+MLLi2AkzX0uv2+27rivJbb4A/xitz4XxCv3yo2LPh3zxUzu7xowjstlPrK0vVv1gaLiSiQWg9QE4lB3T9hDHVmaySFf0l2NV3NYQvJpaW6xAy3NhPNhjft4R0psh/ztxhMH0sFu6I5y5lNeLQ6Ul2R9b9HjVhzJ/ZlQ24D4UPm+QH5qaU0tDyN3nRknmfNcEjMH3QrUCLTXI2121efNWBf0GW0qy6i9ucSKvUQnDpSJXCIPoduvyidSP03X/2IO8derIVOzfjuOjATsuvE1/8TaGK/536UQ9r+aYVvNOi2490fLJHDkKxaT380ZYpWa6nhTxT7xXuWeDkMT0o6ceHisKqybCXAoyeackMr/bDxxU43hWZeDFKwFKfm7F6e4Qwg69F5g239Z85QEWUkqcemOjTxCGtMcbOauqybR6Xjs1/I3dtBromo2P2U2n5sc/t5jumuGgmSzIP4ZRHEokAxu8spBrf70VJ/GGHIaQ7BPn8Kp8be1UzLz4w0NtaSBGTo9jYNuZtaVA/JNkDvRpSL2NpXbrmPjgHZRrvAMPLWb49stV1QF2sM+MmxJj1U1VrWCShlGimofk6aZV2L6zhoBh3SOvGkvJ88u7+Od/nud0dKwPlSeBFDbB6dttmGK6BUcXvhB7IbIv/oVMYgWG5Yay0GIm9QJTo+HYiUcnqe9Llgabo/joQ6ZB9Ujjm0KWHMIxlXVLfia4gtRA6GWmsvWuqxI5oHsAsp0Wc/stRouqRHOLhq1yOvH+eQ26qGQfB9S+JxY4uSUCVO6UkLj0xpGzpLjvmLvMERS12EN6/0TqZLwwvuc8YzOWKxh8zEoONytlmcovJCGrAtXGbI4LNMFuWon29ZgVR+Wfym5jq8tQmuKsHK4+BK1zTD8NGo0dsuoZX8Ur7W4Rworq+wXctFYj8HcjMHKLtENcOhBcz/4j0lXXU11NdrZD4JAApy8vSUSVerqMuV4MCAU3gYkuAAl9gG5sQGnOEy0jSchWRft8ajXokvsoFipwz6TB02h/ud4ep8fIzoZCzAF99yucn6PDZ5oZ10uSbvNgRJTjehv05FS9i1Emgtiflmw35uu3CgnJKhQCBKeOKL89MPLvZh1ITE18XJck8Ht+WETUSdhgUZHV8E1HWWc7j35U5IbuKuB33hGwmRUcJtw1TqgAtWTPueI1mg+hVuO+VIafMVlaoAnQW9eXNURiL2pPB0d7u0CNCefBrcFkz9yGz1jv2zpHBUkqo8F30b5YoK5YJMUIVXuTKu4TswFTRQz9IQAJOmzxauQOuf+mnkjg1JsjwPHRmRvq/UIJ2BP73CURuDnqUbkRClbujLu6NfIrPjr2HosPQzkTEWlagV9jcOAZ66tZ5NCV2BoeV8aV7jsQ2s9SggymqKLfXCOGERzHmyJAQNiSVGSeGhsE0NZnqe7Z8xSMdSlVo8893HaeX7z2DtkuYz0xZYEQOeebWblY/TglTMFJGdOkJPQBAqOr7K/W0Q2tY57YWfPL8mWGYT+CfMqzO+6IvN2Qp0ZbjcuiGFYc593GpzmnYw07EWmzPzGTplzrrWtGoyrMtuBHIBZMQiVTF+STqaJ010ChDK6Jdy+QFxjQQw6DHLdwO5Pzg/LadmLPKg3zwYhGQCSNDfz3265OoLIRyEDGib1ctSAUO/ela7sTnb7L4o3esP12Te53VYEwGaK40kcPwL6weKcupdEXF1OdGJuJqF7dz4Rt353PWCjWh+d4ISSPCSd23tM8iGYPnJvgXUg+dcpLUDLixkMimmnetT3CHzYVP+2spghe+zhAP+JG2QSHZTbMOYiZCkSp4MM3gEtaVkAFP7VztO4tUe9/dFrYnmNEBWvgsp+IkGhOoyzVeNzy/8QrUSLxglJtXfwCWYA/ykuHQ7NxMQrcYsVjJyZKbK3fuJ1ogVa6DMHgTZLfUdDwoZSq7Nroy5SvLwecVT+lnUy0vcqrbtAxJ4Yv8zv0vFqafU7i4Co+dAohP20+Hw/QY/JsLTDeGx362+uENagMG1MOcP3ItKqgxOu3VWOPKNz6CWwKBQOrgfmK6fBI5lgfLBW174A0KTb7nYoFjGTjXqZ5alDNqNlRuInXMBfD8MCb5/nPGgPYrL1ETbs1LgJjVaXPCX8hL8Tuq5U+4rzFs4209H6hCR4t8foYkRUwgz4U9DakcqzrDi8IkATyMspNDE2jLhwdefWsE7oHnZkowlRBY9FEFP/FbrFV/Gh1vhcAOJ+ts+GdKRFz7G76FnHoAPuAcYekXZqAqEXxwbKOa1uX8hxTNlvppuvwa69f+muVghRHIciHu+eWUt/uyjTpARKrrIiqQefwpGnTfCSWqd5xGOS1PbArbWh9pjFPcX0hyREeiawrwtmRc3x82vKIcesPoR+kxfiqBe7Z/Pk/3zsr8672JRczR7LB19effY6TxUC2+VfaI5D+L0zwk2VrSQz16qXym/YophYM0AkIL03uBfYcqEGaKwEEDqsOKD6XqscLjD/oZ7GKMqyZ3ww1Ro4CdqzhHGzGcsXhLKVnMwSKvdPvyx1UA3fw/aooCgs5ROSRj6aIZdKx0+EsQV8rVNf1MTo9Ns5Ct7XdGH6M8QI/3lhbjmQwz80bV6tyPiJlMdiahjL6+5jchUllNWSn4rbyoAt76oMu8gcW3PrMRM2D3zjgpSsYh6mLxLN8ggUDvK+pcwqD3QBarrx4/Cyj/ntpVZ1XOflQNeYKdPEcoqTvN4GYUB/MzTqVbnNK+Z/uZSGLFKV+H3jpLi2L0xvlYDt97b0CadBSjgXNqdOkzBatP0I+mckHDJX0v7GobgCrwpj5Qggf23fl53Zi2tu46D/nPUaeu8REmepOByJPZz2lN6Kd5FT6GS00JBFlF8F4ZDWUc5YhQqcVskJHFJnr/xeQLn8gX+n6roMmY5Hg0bBP5ZBeqMTRd66dFPwZyXCRWH+1QSBjoWB1lnDV7tCdOaOb2IZxg5BiAWC2TQaG41gvbmfSRlB281DddpKkJEXfXT2c7qprxlYTWutn1LvVpsZi9K4V4riht/muMfh6LY4AxH8CxA81UJy2LkQk7RWoFoP05kuKtE4moqFjtlrHuLq2Qv5NmWF0RdFYjbBzoAFQ0nkfB/9icV6HM4SmOGcKJsaUF9sUJBcfck/47wv3IV7CxatA5KnP3rtzQrc1eirPVqo6Svouj9NSvOBuPM3egQQgcodAG9sVrJcoqZql8iMxB5193qI0BiL1YTAkGlqBNBlQpiDiKh6xco/Omeo8CK42Ib7HkeOiaXr+iha3UU9X4NUCfxorraLcjjZdemklxO+Q6m1qyuQesQQ28gfIf7sAT1Jri4g+28W9ELZ+oVXpp+Quf/iH5GS4oTVtZVy1vXATy3N/suHt7G+nq4EHEq5reQmjSF9uKKVMOxG86CKUvhbziRO5wh40r2tdsNHxpeaZT6ElMLfs7zelLwW6O8YYc5Osfp4bbSr6bmgVdDZ8neSTB/fIKD9wn6WoOKSljZAB47ZX2aKH7XWLish/2lNlPbGkphTT2vPbz4AtH/ULGkhB178G4owTjINBZIZ5Zbi8eOCA+KOuXXhEqAGo5FKay259tbFaEg/ugMBjsiMWbQ9MGrbBVQTvkm9YWg12TWavsocFteOsmxX1eJyl4kHG3Tn4aFOdB/pgoP+TZ/GYatwPiMybLP1fA6qM+5uh8uyQ7S55E9X8uT2oXqG4KfCPzk7SECz3ppbDYB1s6sd3voFtbQsyPZS6B0NQk5069MtEmA1Ssatjiwap8N5WjjawfljCVhg+Dws9sYrYyqYy4zh9vm3dM0fMjTvmD+VRBOq9FkVvoT96tSCYE6kz6tywwamkUzfkz6Y//XUUOvig7kU0aNsvZkSrrql4uRAHxijHIHM6Tjl0ZNR7UIj1y8ILdxAzePjtdYz3936903JGY1FJ1xPQlGTuROoW9KVCS7ZDoLxUuJQwaODsMKY36eRxZKhh5wcHE27HEqHElFW9IjYoKuVU3Pe98Py6qEUFPkRqQrRRKCzZ9NL7xYtmG4/n3d+yeXjPpgE4HW83i42VGaspT2OH4xeY23ym+hcnYQw7i+38rxRtVZRxorXux1MGXyNGu/rhw6IhCDO1FcwVRUEK/kM7Pv28EqEYmdIqhiS9Tr78S0cdXJRPS15MEuLYLVKID6iFxYUWVCCjEMNrlrwW7eJ+2ERSL7KIoTCnumK/+g3wPJhtSCNWaY8NC1GK2te/gOetyTHyMU/mewNk8QmwQ6/DypL6vPfKP87a3jOeIpwl8n4qNeJyUV+wryx11P9KXDDbt/U+mHpx4ni7eILCaarjK9+i8fWVPMKytl+vxrMmiOdoux9anTW2S15ktU9sUZNEqSyKfTLuvBiYHvJ7+Fx+if+wMtPlOtE7l5vwK5f3pNR4a/1MQ6+kfHrCQzWMMH+e88X55HWMK2MtcwhhVoJAhpFSrUVbuY822+Rhp9MAbzCnhcIT6PVL75zSwT+WJ3ImrydiR37lfpTy5j8A1rLzU44aqVEecGIEmO3vHw8Lf6on8b8ymoTRGJC/wIfj0XCVZxi1E3SV/tkFbkZU1IDmwJoLdPx+1ez8yNGbUsWq7cAij4vot+Au+M+i4tRbT5yF4/1Mz+Gk1vvqNA/drLZ7iIZlOGJVQezTJCCfasfX65DL7pBldf0x7e7r5WCeOX+GD3ks4XJjhZkN/jCeoREj1Mf3Vkuz2vUGapTCgYzvh0D7arpi8nc1f0FCF4EjdLYr+zqBAdl3BZsw6X5iZWmogPLh7EwRoCqd/VQlChVwjBG/TOtvtc0d2qCoHN4ba2lgw/m53TaHIMvDjRSEyKzvfJStENsWD+PaW+tYmOfDKv0gIihpcI2iP552rqFEjlXqfF+zDR84C55lVlVg5/VqzNw9D7mb910sQj73vj4MqNLpqC3Rvqrk5frddRp9IF+0ne0k4AZehS1+Gc2pcVa4lHV1t8XhhMYYDFMtiSDjkdixpBMoEYbCQ4uidd29pDktILLFnKAd/MgIhy+sfXFIlAQ2NIAZDdiaJYzzjX1m/VOwJKUr/QJsFcrvduDMhx2C3vWOAHi8/kWhi3vPDsWeaAmVthp5pF9FsSEr1RY6uCXOC0/R2Liicy0JDXzMMqIo/NNFksi2prEZFR4sUux+nTk0Ut+OocYN52VgUpogR78rja/ShZEuuGF0spg/sakiJXFuWGUFq6Zm69EVsuC+DWIE4K8M4Omc/+kKRMQkqtoDSBbhXSP7zsBhD+0QZZibYwhV4smTVTjSIP4D4YaJIvp0wRCt6LV54fK2rnHf60nNzdIWApFFlsBTwo3cF0gmZRO3S2iGj5p1YY3UXTGYzlnvoQx2jq4mK6w0QEA6loIj4ewOl0EwMgSzAXc8JkQFJXrASMhUpQ2P2fYLqhxUhHXB5y2d5dLHgtn9rFZITuMkGCWKpyRJ8Tb4x4als/DFZEYlu3cW2kSssrGCCs0L3FcKco3wC3Woo7cAAmBXWd9FawNRl9ynvg6xHi5qtTgWpinxxV3Ab3ggZ9F1QBSyV9r8iKD8yIacTscUD45a4zFaCCqvJUbTpsg5tmxq24injSnXDTfnwkfM5D3c3Jdzx1lhDiCStCABOJenJ4t50fgO1TMnGCAKUtkKmdwCs8ve51uTyOAQSb9F8hS8fUB6t5BiAd9PKNtQNxbtaSOwciv0oZEyEMggJzQCCBdwPO2pO8fYVoxq8wGKeLFWpAipeM6LEGEz2bwrUl1RtkmcGuAdvJYsHBseuykABCxPbXQke5pTgcrtT+j4QdLZYuQyQ1K/AW29vFOzeTRfaIZ3GWGTH6kmVhakWsattvE4HA1VP6hPV3pUXrhcOC6lJ/yBebAueg/CM6D2SW+YgyW9Af/Cc5Qt/Czcv8+jvJlBeoFbPQESqgLH4zh7sGZpLlbWAup/3kafbI4GW6vsqHqFs9EPW3b8hbHIe8CjgY9wFM29rnYK9xGDN54tNf4Jx1kkdFdAFHKDRv/YyvHGimEIwQ+OA7mJfGt3jWh6mdUO5dgfD+DZOHSSZaN+RbdsKzx4C3mwucCQz2aoGZtggOAVFtRIFwZZ3vDQojdU7D8i+B7taU3fhW7ViFxaX/fFquoe9HsHvbBv5hD8lpkhinsCzJlr+4hyp2D5gMwV76XF16375BOBW90B3JzN719jzcjpxCehreNckMhGfx2vAkDYCycRGSO0TK69cDeTNHdz4xESLJF00naTx6JtYZuXzSu8en3DKmxn2ao6+ukgaAkpBvhPsmOTwqvefjNguCWFKP2XPTnUcBUZe5MPgUm4V+CIJU7a67ws1mARnhjfc/3eMh6P3SLW9YhPuonfyxMUdh5Qot8JrqHF7L6qgis7+s6tRuzq+v+5mg2PLCaPrglvs+CgcSPYofivdakg9Utve6nn0wAZ98j96i5Ap3NVIWD6qN91XDsfy6LM/aVoHfwr+bxnu26hZkEuj02Hz8grWJ69vg1iCS+/RLEL+Glm6zcs5bo07jlBDwAOmKQzCquchk4WEgcwW/xWmLeQihV1gqYlZJCpIR4s87TTHwp5VcNL0mjpnCGVLFVPnKKBbmkwG3BeLwU3ggK8WwfglIooRLaWpnO6pUJjEKsDCETHjNxEqbu9aTmkiuGywH4XixlTq0IqvVz8RziB0/rpSrOnrZk1MCX/N3uf0c14YUED+ggGxaoSt0BijM8WGbSDlx+iBxy5qhEFtspoWXxORzDPMu3qax1+N3ARJnsbR9J8RRxstwwPxZ7KAMs+KsOXGgeKdlhv+QFRK7n8av8G8iNurGJIP3Uh19d7I/lNP/lpOB0k29wLGrruWoGLjTT35/kN8lzcKvo/w85xCvVcxBbj2F1ZeJKvwS0CqJKy3FIjWYjMNffR3/OIPmXOktBfORhJwSNq5U6HpTIcneapEsZZA349KdRgGS8EILRbUj8xW83CiLc7u9JYYwzX1LQcS3vSLTBbcyGTdX02XuvlS67PjGkwHiwO8oLc+vwAMCdcLMw+4SWWpIoB7J1QPTTbgGtVpULn+S2FPbC16jvffX0m6IoFIH8yBl4o/9HFC6ShCPgcDd039w7b7k5Ur3r5hZLTowyVdwxSEZJQ22X5lckAy7t87Uol+ZmotIxwLVMMgnfOPPp7GfU2LNgaOAyVScIeCaIUO/edHopr2F+nm7wWQ0y0ilpPhZMS5xvSYGhq7i85lx0fceo5X98Jh7ThkeUqANTbWGhh9wOvOSZ5M+RML+giJA/5wLjtQy1vIbd/+7nmWiO+yvfSovFFeeDp6SITkx+nH1o5p8qXSaIEf12on8akJdKwBKPRaIDULTUL5ClHAzJ+fHliTwR2H5NyRNLU96gGCsmf5k5npW5tyZq1q4wLA9JnGTzl/prn07uOWm74csXaR4PSmz4r7QBTQBzQBCkfAFcKPKyLUzb106mdAu6iMBovRbPiMIuva12p4BBzrFmlGgqVgGqBugJwN1H/K9zx3+ZVqGuPxpNJ1KAU98sTvhMwgJMhBrFdCDNWGrM25Yegi08YMhsHqcwMVSRHkA5PBtbQ/O9IfZKTya+dJecuHTDn3ApKily7uBn4lww6hmcfnJY5FDothErK106RKzELukl82VtL45y1TI3XfDc/aBlh0JgXxSgntt4tyi02ploIo1CDo/sJX/UR6kPFspVHbQ14unCKx7LTKHgxms42Q2/wMywYcxBiGYpQQ28E3tLfPrj4I2kGipVb2B5AZ/b667bxgUMg1HBC42wEtxKYGREB5syor5jB130lxWbjTnNYsosRQ8GuhwkZNW/hqSoBhIyEhTEH6uVuMlRbXAoWJsWq8W9WEZOM5nOo0S9JIJsIXQVvfOlxxEXZch5zEYAuPJUnQka2xd//9mEAu7lQKhdGvdrq+PE2j3y5rtYVzaYEdUSoeMQZkCZe6BifG452N9e4ie1AR7ZFgIGnY08/c9Mk/J8Sa2Y0IXytuA4LLO0PJyHMApO1JJqOul+JoZyIljztTSa7VgYR8vhp5wxxm1yPU9FZQNlz2e7CNj8oRsAT5l6a/BcEokv3cjPHmlJ4O4Msmb+hPiVorvLkjxSsYDVSMWy669p3rhBbpcBuS9ywWUIM6wGSLynR3phzPFQ48sdZBWGewVgq0FnMy5Z9sq7QyJDxrzWEu0s3GHdEgODLG0QBz5z6JpLVR931HpO24ZJMzb5m1um7e2UbZvvj0vOK+OPnQWOnvwOQ6wRlcZNV6TyzE/ZRDV06xRhbUU0nr8P8NDhn7UCMxHJcsp8kOiMiB5vlhkzgyCmUPDFeKpjVzbf6w77IBvBbLeg0mbwKTJrCH+4WN2P7Yx0tdb2uhgiVL/gNN4pKe2oKYSID+ptRf5lHhx3HQO1DY6vrorX0ToJCy9VpyANIcUDsu8Pp5Gw+w3wnz25ghkR+VrIRyuhb+dL2BDCfnw/o+ylNXkaqgRi/H1v/IQ8Sor5HR3rQwb0vc40r7lbTIHW1DDRdg/hJSXU7wHac6aHCotA4dYUz3jWH45eECkMf4aiky20gbOxIbjSpEn1z85zKlSjHyMKK7q/PABsYNBQcMyZkqs55oOCRXy0j9jz8GXkW8mTJ0g24zC4jlELAsv5vAVM8pm8PzcP/ocnDZFRkobpZUsJJMOqEc9YGh+GN89zme1iGgk429IZNXy/Ips9kaSiDiAP5tLjER7bxf2FjzDF2Rz33n7uxNF663IXjQhAjqjL0NekCJFFW8MYDKTeZQXj0wxJ0Yy7SBtE8q5kLjRpFXz0D4iewEp2O+7BlGVulQpLhcf+qZbZBPrLhcxQXHk/PWagADqXOFDig1IH2dsERRSnTZkwiI/ElEAeCrbALyFS7zP3N8cy+diOv9me5aunHDzMKC7rgBwEL4nmJFzGyEzhKAr1NWzAuxOXlOtiEdHGe1qK6o2KMP3eCjMas7kiQLvDHL0znryrIJ/QV5omBkJ04jrhtqS7xZQe6qa6yYTVYjTLRHuh4SQ6m1EjaTCXbgzDM148jeDp/TGaE4R70p8D5LopLZtjKJgH+M/tlOAJwLTQQq4xX9fCgnF0kiob0KCnMSdOhGox1udXAYxMdisPhoJFyJQPeHKAi+hjbtsNiWL/rrfdLVfw9lsveo3R2GdLRq3PcKs/hpfrziqx2f07zkjXqvDv0LWd0Dj0iWs1w7uty6R7VVxZ3XPxelpdPvx7oH02YP48yu/gNGR6C9CumQSOALS2Ld5gE/VRd48tDIiLVdkyXsclnV+gq8pNY3Q1BXUb6L4VY0hQyC8CCAmA3+Gro8g3lmuhH3N0/0xW7bgjdkUmo9k7slHKyz24QU7G4K2SOj/RfXKeZDnvcj3YDG8+yiDCi6CRDrGtq6ptKmLgA4oola68voGYslr1oFP4w4uZd2dSXv09ncA3Vz+L0Wqk4V60/TfeiP8Biis8dHnUcXDFXy3A+9Z8dppwQIvj2L/jEgR5Kc+r94kMddwSHysdx8tO2Uvv8o9gozDOOHnPDrKRssB2+r0RULn6NwVeE6rU2rGnSxAw2LIAvEELRRw/e1UBnA5XPpeoGunjAyfTI/FPllmEJnLZM1GmJnDN98DLhWB20wbDRYTVAhwe7c3w1rxaoCAZDs3LFBtZPujOF6Fes8w+VFDvx2AjBXVhSrIukg+0GW5+kC3iWNlAw2O7m4GFdz8XSolREgQlqOxwSEncfVW9SbxcnhcJzZ0w0E+VjKmREXWmEzVskIxZpORur9GxJt6ieEwKy4e99srrPMUwI4PzjjsjwP/YrMA8jpR1WJot03Lu7cU8hM7j0/QizLGNWGHbqCc3pS1fSl6V+T7pg2tdGJZiBQcUPOszFu2vSrVzltBh1SJUKZEj9PFHn6DH/sE/c1HGP3yARUgX3yP40BNOOTRUOHWhfAi+oR1brZDigpvefAqyDvf/W6POy43blQJHK4GK6JQyLBzVf9bBLM2cnt49sOUCdaM8rp58rk0p3lrH1CsW7E+mYzloecwisSbRjEeT6rrvrx1ZfDXirOyHBhP/KZUGt+5vDtolGrcq2xG3YmRAdJMqAbjxeCCBgTIvr+OpDiiE3Yq3dWhTzJQ7vL646WSNhcJI29FCVDLCENnJ8b9CdYT6lJrT5m1FuNnZJYtVE1x/6+Wcse8hKTmX6Cx5LLbIgvZNLsdGdk1XPrTSkC79G/E+BbJUm1hl20wWdEYrcgpvp5kuDgSVuRIJ3gnmgDvUvBbXpr21oYoMUo7GzACjVrQwGn3EwJTk+6NM9iB0CtjgfKT+GNT9rf8pTKbgOMG45JQk5kjRCDElLMl34/S0ZsWX2826Ehv31WuwiLYAMFD5vGLjl6L6VD3G/XjzPmsU0amW1vt9Uh8WsZ5d2APgCK/0WI8/rhxcCyyMVB7xhsfhbrkgSaFcfaWNGLQf3+yrDggUNTZ1ShAycSgeco0yE7DoDluJUlj01pfTcvYlGPqkEaACpw7nV8ykCiuyOaSWcenkVHJWNQMAcky0RDhVSRfQJL1AHX0/pgfiMsjmze6Q6OLtZ0/DZ/Lw6TwOGUP33qo1kzKXXDyrPun0s5/X8m3KatI7E/DSJxXT4DrAaz1zz+f3e+mRPMZ6HIWn8jYbEKOV7Z2J7K3HWEa6s2f69BFhX1hfpkBept/cql07U6a+wdXGQkiED86PfYorH8LbHBPJ4kiotFMUyM9/Vbjw2IBcdy1erbaDd+aZ73ZuVC2PcKdm+w1P/40MU4swPN8ik0c3weW+ur6tplTP2qtSwSxqPYVs3uQK6SFjXecdtYkN/CKG+cTrRwRs38EtzkZ5/zRTkqIz1I545Amzgo5/UW/HbU9jy2s34psmohq7GIYyNtpQTUCmSeWOZ4JMqdA2TjljQNdis1mFcDo6T4SAe2fH1XpjoUJydJUG/3eTK5TVNpRSoih6+Wt5cHu1YfsSCau0qIS0mKuyDdiEFsx84XzESwXXcOyCxfHN0fxOSp3mA7cwK3FlEE6avXyISqJLA6/FoKurKZ631ATauRVWyX0JKhJfa+BLKnKg+AGn3Hj/L4HFGmP/t6ZAHwL2UtjUSL5BqGkHGdjBss538X3ba9/fs0NtTzzQYqm9CDzzrRrSR67Lddsg0E9jPNscNuNtgsM9Z43SOCP67JFYlvTdZsXNKLcA1xu8M96KryENu5RlcC/87HjezhKzT3kcjgoH0wfgQPFAurv/L/tWxFNb/jX39NDUmKqn7Yk2+BuvqOTUb/s7/lJcBA67M8IXJUFyXCqS4sly1+oyHtpYHATMf5M1LF8hbLtyKJifU1O5/ErHVUTDEaFClncKbA70ctBLi7EgAFLlwRnVTdagmwXT5+bn1XhQlkl/Kz636ajx/CFvfoj+G8cmd4grESsi5gM4mqIV4I02709dBRO04zHrnwsXCmFl2kOpjthESZsNhRsnDiU8u53FQXPNRsXmofSQhD6sbch5IgBy1OO5nmiFFRTxW6zizR40m6YrAWEYpd1okAmjBuK4a3j0+7Ly55NBRhCZZ/MG3zB2WgtJH3o4icjF6Ebnpf95QDW17D3AQC8B9Otboe5zLUJrSYr3kljzqAWB3X1JLKz6xc2Q+hxDBDJ/crn86LdLCWoRngND0NJDA9qF+Q5L+iHgLIgdKU5t31At8EcPjGMpHdlJFg7gWf7oaA5/LH319XQZc8wpZKwwScMHZ3Saekpeiu028DE6WyxPvLCft4aNUNX4K1dePMVOmZiIq3cRkTxaFTDFlYuHKfGVM3kdvy3cqWjrcjbHwdOXC+xJHp1KZ9bkdij3Rg2yrz+UJsvzZ8vojQXc1ze/VDV0zjU3TQLc3eNW6PxcksAo3EhnOZ9r4Spdg8yKWeLd3CvMJzup8lIGx8PTgQ6yfNg37yGCuA7V+j13/Ucs7Npdj4Oj7GENDPVNIE7lomzYYhAbkxBrGmdB2C8sy+6/K6qbp41iMwq7mQ5zuVcwonAvqSprpTeHj392+l2IO5tQ3HvWIeDEYMDIrxsLm5pHaTVTwbbhvC6WV0W+E/MrkQPBFztDK3uCcqnOVS8xBeoynsoSdQbiZUXSyJ4qTyAoA+Bpfc/sZ0en+qKid+6Vty+KAm3m5oPNS2osa5opIxqAWecfoU1cfbIQ/LDu5sXdlK7w0+i9sYMA6esGYHQUGApd/PA/n1RPRXfNTU+MPGGq317Cb8ESbYiDnaGzEJchTeOWqTAfbWIWQWMaDoJ6CA3P5LvKgHLaDwuZ/0yeYuS4sx/Md1D6t7LQA67TOTv7UPXmnSYyCbJ+QQfzgbXRfG/kEUyNhcALDgYrSxJZAMZZk7GKmAwt6o+wg8oYxJVxL4RG1uauZFoT24f8P57VkKKSPiV7IZopSNqgPfDHLJjU/a5MpcvV/EIW5h0LDJlNqSbp1NF4hTTY9V7LdKcBV/OTbd4jC3o0DgtaUGKDVhk6l8SmJ6DCmg13SdhxGKQbdZeLEuTndIyLlA2e1VFkmKd3J4AJSkJR3A8KQdlPAq9CE1K0BY1IyAtxsQUWVHlReMquxUv/l3/m+s2I9pISGam5NPLMvwNcP6EYFcqpPMB4KuP54zD5MRknV0ifURIRAVEXzTaS2+NArPrL80KktlrAw95t/gRg1UmEjdR0Phvk8w+BfXgitq/Nawz7i9PDgsNXCCu6PbmNSrp4wDU8DZTjRBmJ7LonnFMf7WrUreNjd14PmQbgdNuLg6q0evyGVCXiou+kFWWnFeEIdotoHq2lR7T8fPmNN8jLkhdhwrU0frmbhrU/GmYLuty++kMzS7m0XISw4FZ3c9Wh7BP0k2Nquzntq4qA8q8CL2Y5E9KaFSGPGu8M0PuOVCiJDoMXH/lolA/tl4vai38jaPcZ3u00uVHeTP9wJAE5Rli+z2htTeDLJ3UBrjvcCooxq/xzkeNVjQAAetBBNUvpYsR+UNL8CTmMeSkBnmbvMF3w0m3hW6OKlYcWKU1AHnmkUygEwU+qkV6oixFRpxBjp7KL6kiLnd+OjLoePrmtZefqKDF+2vLzmZLBtmtAD7rN/q7elLuGcDU6P/qehJosSrfT/PWPwxrhQX2MHAIJRZout48ZYd5avjK4Pg5bTYkxiZFGUMXVJXkt9h9/zFKrO+smSTDf3tzSeWjYAFl9O9vuvTNQVsu5AjFUpJactbbxhKpzyiGWnoxFxaZdocyVN0oTCNcrEawfRZRQLtyfNgPJRiLXuo7ZL8lbS/Sy3VXKFzWOfZSYdwDcH5jr+IJ29WcEQJ/COsaKIVH8Br+3FT+w1kql/mD8QaqXdx07JF0XYrchK8KS7dtp6/10ETy116a4sTkR6eNSqO3bHjbG4Qan58bq0Fujg5EsgwWpgKInBYSUAZVovpYGAulpdDZdlP3Ax/1YDPFPGhKeD5Aqp0pSG1zNCeAYdS00zn+qWDYLNwrDRrfQ81XpQ9Zw9m3C3XAnru6sgMbkJUbIlHxWsg957KrupFKbq37OhGoWzVC5Zxz7cKTwVvExF/aO/KHODFcTm1INe0T4yvYKX1/xtRbIaNYSmzJpdzvQSOdli0BFckufVwjJCEOSJxCeAPfy0GM4iyCx8oLSP//PEIVq2+MBjyNVmPzT05LKao3u00rV5TJnlzCs5eeJK+jtkjbN+wawsc85sKztyJ+/h7Sqec9HRYZnU6T2QLsXvFhmqjqM9FcF2qfOD4/zqV889CwXgAP13xWVTth7tbArRPiDgRScTEcJ3F3MZX9dsut0HP7d6Rv7P//QASeiQ9rW6GNWsrmo5IfT5tl093F8RIPMIUgimg+In5CVTxpdbYU5t9ds1CqDzIiQVzbGgVpDgr1pY5i7NlZOx1vkDDwdtOdjAWQLc73ybRRD0EW0gpvj/iiE9VWUxbETABSDmo3yXoDqYfbWSFdX2+Fvc4aE5hs7faKTHpKYnqeTkoZuyqweRlsUn3WYTmsvcLbs/8JGY5DNtcZ/oYzEl6ka1C62qKa8KZcyHUUPrlsbaEb/U//O+jFkPV+B/4gPASngvyjrOjLptNheElRLWcc/CTX/AdahmMwkhXfGgFYQKRRbR7OLIWDGTq0KFcoB0IxrN5tccr83ugq5+NmILX+Wj0U0QE1M4wlQhXpXP2HrMOi0QbLv8/aUAYBkeHTtT5b8v3dWxewNqygH8AmCrNG2TbRr3HD+Yw0o3PvgpdJyPi67TGJrXwbQG6cDwqjByVd6BLMU7zqV4Nwziz/SV+qscmGYyVd3HXedTFRstWaH1dBt6RKg6m8tqKonYPoAeC1L+wSiBSYEhebz+KmhSxg7AeWI758wrilVVBLNt3abpTbxd8q5LrcYJDu7W4yDyHsO+ONOWZBhol0LVbPYhxykrd9+k9An7Uezf/Gws1ca5Ze9JzBbiQnv77ELD16J11y7S+EqzpEXK+Cr4jcfLQPTr33NOgUGa3gcwpYg2bRYVNaNS5rJYwkdepFHE6YqdYeSkvqM3080/74HayXGjPYbKYLNdbOS4gaHApjk1RPhIsYuhk1Ju9zmNf28DSj+4gTca8kM0wxIPvsZ/cYfpmDXrZWxcKrQ91okfAjeNTDAPtSUEjoW7S49tYdob1ICAlgmgwXO6l4j/aO837w4VLQd2O/krJBtv5zhWtUkOo+LCJtiBxUqzn/3hQ4RaFi02/7UOIgjT43lLkyhOW89NErD0O5w1Fi4wVZzXmoi3TCb1btw7udexTihLqLov+Hbh7yirvTmcbA226bFg/DNV5hPcx0tj7+Z6vhrfltT/M9ifhvg/NmCzX7OEShZtw7vFjQ28DCamPoAkEtQHbBeHzrnLn90wde3Y7fNHbCQr72JA3TPv/8/zTnB+O/8wQ8J6kFoRVSoGhhrSQxdUWrYb80rsxCQwfvFbgsykI5q02LwlopLrkBDfYB1Milr/o0QyAp2YwaETHPT//0fQPLmVMNFX43Gayo7SLuGBKWB/LHe+Qy8SihfEWd+hoR1CWfI3phHecm+axtcwBcLw0N7PPHvPI7lEglbLKvX07teDPIUJMo3q0oLEWhYy88s22o1LK4iDlpQaBO554wAUWt8sjvQbgmUiyAcVkK2yHMT0fkANu4agrT1ZA3VJiNKtvtRMZy9hKDJ3f2UOketKtp6oTqSMhVpJHOI1E5Q+8CMIOvgalbOREmghJAKYR2/YyE5CbuVaO7jukaay73r+eCRJQgFgx/GhIRteXPERRICdHUG7lrHpovy9AFc1po3ldj1tiR2WW6LQPwh04jGEHTGkIqn0UrHot12F72doQl0Vqn4+lQcojIuCdKoqGj98Twkn88tUBmxRbJI49lmwjQPMbx+qXWaAGh4Kzb0Kfa7N7iTXkmgRLnkzKJXu7LRrUBYuSmfymyNV60sGr5L2pdbFKpUUzR7peIV/bhzHjt08K4ktyIroGljM9EulcjFo+IT+xX1gCddQz2W7koS6qLJNdWu3X5X1t942hut5a46aRVwpDykjeeuCHTC8avdZOqZMHIEtCcgYSqtE5ofia91gLVN/YD+Y5rOIzmevSQ3f0MRl7MDa1aLJNljTOD9S7Z2EQjscfpnEqRw7b3Zo548gAs34WSf8lXL+hRiznCavcRu7lACruqvBa2luVWyUfwTyYAvF6QHvnKgoXtJ+IXjan5LXs6qdUgIWR3k4O38zQrpnWlEMfKC7Wn5zMp/eLlxauP0CVt12Vh9I4L7wBzyyXhTlqfucdom/0liwrQf1nbL+pV2NrWBKSw87tnkRDtMPZdwn/XlhPXyf5Lal9kYqphFFXkPeOPlAU1T9w424psiqxokl7a2P5yIZJ84u3kYT4MG8tAU5C/yPFOkSYCeHi7N/71kCx9lwPBNvj9648SoM9VTe4cl1Ofs3lX0tBRZsxizHB9UtfS4DBT0RtHl0nxwqHJIaDNNwfN+iDPbVvkOLgWeJXklr6/M/LINV4PC4bnPgjMHzCfrZEXebGtYHPrLCI5weFRYgJwiZnIs4PX2TgFpv5E45J5Wm1BXsaAcRjRMP4+G3D073DPGYOM+zTuSQETqYeCM7cmwWwQm5EavJZv6q8ult7kKyPZaiVvU8W60dCz8ZR8h1G8bgPDr+QvcVgYX2vQxtQKDjX7GZSaczNmlcyJiT0R8Y8JLtR6HQnII9j+OsU1artvmz1qGLo0QNJ4vDFRgeTA6SnkyQITuKTcWHdZn9g/xJ+nUkheNZBW6a4OvevKUVLBoTxzAknCFG0V5a/XfrNlwHaUwUadbOtqtdpgdvGlQPc4eVdGLudJgn4/RCKBy6r60qew86AiTN1pt95q4NUqAnRhHBGz/pcHggZZrdVOPhrWVwgBt90w1ue2kEpvckO4N2C8iJGZefxFq0y3KFsGT8Y1sF+2ja5A4H2otZPXQJ0xyuKu9aqoZREGNnKCrddQws8LIA2iXyyB+IwtiADwp5JTxL/Zo9kUXbmkwffcyJhoyBzXPDYMzjCgPOfLSZSW6+bOsMP0jfkf0SzHNPHnfxSFdBF0jKNQqSc4m/aOwwTH3yLIWxLD/VaWMYuzMER9Fkrw6M1lGbjUnp2hbzNPOK0YX1u6h9h1qZZXi31T3mlcwgZHt+EhogE0dFdsrnF0f8X5ydf5/yAE0W4j20gBxO+h2LeAAXOXMc8rMGQakWQ5x+5uiwkC28b8K3kPk4R5bIUN7oDpMKNV5fuINd8/RSXqVg8EblwtFm3mVsF3EqEPv0EkGGwhbfOWAFO1JPd7seA/BL0zbwblrphrihKJMioxJcMQgcU69KG7+rrB7tCJWe4YDjdax1+HstUJcNCgJ7PUU7fpTGeBD8uL1tL4j9yJ8sZRPoFVFAtbYKlI1Q64lW577oqaeKA0EZfPVdyYOYuVcbqKj6zk7zksnAnoI4tlAsdrAgyU7V8pUTVRye8JIeBNXMEXX46QKqFfgn2hYI5wxk9ujkTP2ppoHKCU/nnKy0pb7aprEM/CL3kgYv65m21G4VDHo6bLdTxNo3vyObX0idTp1SyZfcFwKgMUljgAPGcWJKuCXmqvWz3vrEjHPmszRmoJBLDVdNPCPEab/sYvp/HFXzVkegwPCEKGD5C4iAvMruM7EKSuBndPF5cWkCpoUIjOiceFMsrU9KQGEV0g/uEav/EnRFLnqtZN6/gT2WnZr2H6M/UCSpi2vdTNdJCkvJhP4QtT1N1nOEkQ3QixNPE/38+9C8FjV1B8bTIUoTtfT/AAp7EZQomayKqges+M5ZvhhMT1Nw+ZIWiaID0crBbETq4VHl9Hd6iXs6mH4xIucdte8X2RE7ArwyUyZyTS8dn1ZiI/Q26TdzuuZdvR7WFKPHmRsfEh2rExEnExmuHZfjG0q5vdZiV5wS5GIPwETuxipGaTRS1aWWxqM5ZCw0as3m2nQqZD0UItEiQUzphud/+wVRT5Aws5w6N56wcg9xX8xBSIqiTXaNwnNyvx03l8POsZgeeXatZMQaz2mvIG4P49V+hLPdrxU8HaVcg2+wuJHqfBQv7bOqCHbUNxOuei1Kr73B5tB2CK+9kJ/ZVnZqVlsYzler4pXM66CriK/4v8CU8+QYbKU0BHH1Xx8QCbd/8cxnRh0jPZ6CU3a+85ZyVEsTp+EdDZFHi8rJrDngMNxM9wYPIvozGqjyEcc4VMZ58QGRKY3ZXsIXdclV30GYtwaJpMooOEX3FldasQPM9Ilx7/XFgfiKu9iOvTpz9CCCH7filo7q5G71eDb+Txg8PKnVsL57JKSWTtXG3QbQ3l0/P4gJyWI17zsU6qbch2EBf1hlvbTeXG/wYuB57+EQYkxQ2bLFxsLihWrYJRM9HGjk+VCSwOhsGhqESyqemix4h6rhLnfhIwhE2sIVNvqVHTsZ3LSOBGxOoX/+frF9vHapaCmk63c59ZvsOnd6icGwRtux13jg9s4VpShwMvxZ/xB8GectqGu0p8PS+hzyXzgmquROA6Ap+mKNyTHZCXGCtbmHUajCe9UIPOW3yvjFcq/CDM7msieyyp+eujwnLQ+aB4OyVYSqzsXS5xoGiFgG65+72tQHTeXyGC/zPEAwDlxwgwksvgZyDKni6ma9vWvVYiXEWBksZD+gu2IugGN5eMRSLwrKnt7tn/YAs3Ls3hQPomEeDZcIsXtf3C7REYt43UIxwrDAh4DOM/osukrbXVwOpqfCg88/yCwGNRx5vDUU47HduIk2z5ttSOVMNLWoqgWS9wAfXoE7nL0Xz7lq5oP8XZJAD5VCSOTYKwuJvy+NX8SKBXI1KrDeXrwcOWInd9Pent//s6wGyq9o7aPR4kNW7GjITu6M4sKuxWCmULT/5VPr5hCIk5V7tYmXFR7wLdJSuY7pwZWQN8UXgAWgpFXCePxty44lP25b9TQ2qS8nLkXvMBqBCh/rZkWwitL9YRWWhPRkb5MWWMNibtOYazvEeAE0TPKzZCqeqw2RoyTBLFDuEt3aXVYUMYrwI5rT6dK/7kF/juu8YcTMPxLrpRtIuIfY9LUuwoW3CB7grLd+lU1RAVxSs8Ne5ublgJHn2rdDZDCKz7Bg/MVUhjX0+Pzy0vuOOLHqtjQPoFb2tZ4uA2IPS3OnlMWkCDGI+/ojVJCNhn6RnTjeEOJ5j2tbjA3DsNwpwUBfPCVVTalXKjefj7CLYDNpW+8acP2w3H8Ui9l6Y0Mv934rGOtpwSRqFvp5qcI+F4o+3wdO8df2EoBLwip3YLDgh+ZGLcbEV4mAljfGHVcQ27h9+Xvu4mqmCRA3Wj6aoFnvgNqFhpwTk/ZQrI21xtGVUB//5UrC6zKQIOFm9bW3+KY4P1Fn7/QSwleqspud5maRoEc0yGR+taAcRFUR/MGZfLfMA/ivUpWB+ryMXaNRPLtPq7uPiglefzQPgrsB9KH34VcP/tMfihv6U+8EQLCnYbQSvGBaSeSXXTH4jv9GvYOhBgQVqwaXWKKPrvrMjZ6tDMtlkUdR1ADivKHshxirBCzrrfZ7I9tYlIczZ+Ok5VMjd3fxxJo/qITSrpRxz9qM64wl8wL1qLpAvoGGl4Hxv4bnVbKRNnAqGI7s4YWlA33vScPxeAxgbS/igcrkpDSwanuCKo/a2pkD/N4ICWnbehC6RUmHPZgGBCWWRCcBubA8PUVG9iDGkiMax3hwZMoIBSmQAUi4SLM6OETwMoIKL7nAP43NHK/Rnr3zq8d/aZREvyZBrraU8M9k2JVG51rVcpPkSOhSpcn6jq/sLJj/bxJYQcNic/j7/LWycjXcAazpGH+Gg4V/KOlTrfplBTKBwMdNVE8GjSKAa1QIDH81VWqZCxNFsv1LwPNsOn3lA72SkbsoQS5PzCQI1GtMym346BoDpEaP6RTBtikI+khITe0+zxu/33+EQiDfDqnzezhuyruvFJ44O0VKlkPKLWXTf7UYZTWmMujUI1tb9Zu6rjEIlhgK/IW7k3o/cSSyC8O5SMYKaNJD0tja0ouYNkL6+PbtOCdCGbvA/tay7a1KjGSlQg/g/NLHfAh6s9MhW5ia4B30UAi1I0JD/ZYUi+C4VU0iqEDhCRu1gdVZKcgX5UWiWYhOlnd+gwlJ04ab7H1s/8NEUtS854bGFSl61/JiPA0MXozGKt5dbtxCMNBO4aaHFoalmA4eNY68fRVNC8eUMP4hUWqcjfSH+Y2PR9AZXmiaQLvHK7yWm74rWCEG9L0xPMwrCP+E/RE9RN1GUgRaOk8iaOGwMoKjKO8T9/24XCxK1Vgu4aqTCtG6bCVtadiSLBgEjjRg7q8yCDF74AsmMPgNS/8+l10KfMz0Q32uyLu5VJH71VDvzwI52j7vyVMFwy4ESe8F1KmuF2BplhS8AKdIs1ASK0+EZuF2/1ft0IrVlXE5J/InDDozlSe4wUUl/e10BCdxizBhVIr7fMKVJDyy7iIxTAV4CqyaqwDAFXxUywzO8+12za2BZhnaxSiVVncsrfRWEgbDKLfISTO+Ie7YhRsXaS7GWicc1P/g8Qz2t8Av4BKgI2+28k+7JraeDmwxLUdGgo9y7JGHgKEW/arrYNOwBHbBae5CgnOKnTK6oXK4mgZjIp39ywWqHOjCW06VzNAX39mM7j9g9zFBiIllJMwmSi7/hoPwA6xydnuPER5pvXCVAQUnjZ2A5KujaU0REbtvJWlGKoV0omAzRxM789qKI4h7arBdjAy9NCsYGGhOH9WqKu73HTg/ozIgSaOavxotAIpyBTfRB7tsuaVIoGpCDYvvCl09gx25S4xrdi1lUPW5xEu4RBxQTzDs/5Ki+uqfTsjIi+GnHJvfU9RgRdp0k/grxTggTP0l+W64b3lPp41/rokqj9kwMPqhhz78z1fDTg+tTTdOduLsOdgQxhOwg+xCK/U/PUdePZ89mJD/rNq1fcQyQMxoRCQubpTrEfbhqkIPm6wEK1A5uvD7DgHjJnqlbBVdmWeAaEg8hyICgInK+pSJtYfrgDSv5RWYprh8yNtoZ1c+yRgCnnStgfvDf6EogeROZsTD1PSPlZ+WKDCC2meTi/E4Hcgb0gk51kwwm41zaSdiD9Er+35atrFyf/2TQIcA4hNU7r8MOC4pZH43Cly7NVNJt+aq9kYte8wTVltBTxZF9sBYCqQR5c2Lh2P2xECeDKfTBzd2cgZgXK9i8nsN3tjKbGB4Xp2c6wQEOegCofQ3xcVo1oDkImEayQv+0gm045D0+XzaDNtSG/v1DqOCXVMzEI7gEeBVcdleKRdTb0xPZT9oGDCxAeArNJwbRXLNAfDA+oTCT7Nd82jn7VDwjvdOSSBPAoquRMC2mbuugJQfi9Gl+x3yve10DmJUvuGDmSowd6RsiXFpwG6vROVa3v/8lKGCPhd+MamZrG/RMungBzwPJCidZ/lbXENczaAPC5voGzkn9qxcSBera9VGByRPSVbBv7iv4B6MLOoj5I4EQDZvCmhYW6mWRvGkMKIegjZdjdVOdRHYwHgT1u9O/qgh7FFs+IsEaB9S+k55YfT7pSdjXbXg2+DeFS96Zp1j6e+4FJobwtyPMhGuuhys5TO5lMX39jDRWgeGiFsabE/gopEyG0MZnVBdZVgGe62tjvHv/ePU62X712rZmqrykMHSPDcK4rYUVMtqlgERuR7pSpV32hEKDwveD2ZHgFZ3V475rqTd2mJzpvGHPk1xQRDedFBBHXmoqYva1kNWpmrwPm391GCgTovvUqiUBRtZ4P8sDCKhzMBytNYRZZMH6tPpGq9Sz21dMKZ4orK2PomU1DEUkIeGIJdp6u0CMNp9/OxW5+7LdRQGWCzDFD/vJAWdR1DgVI3hwPm1TOoIXL5UTuLeZj1BaIddMEaCCnO97pTHmEcvquisblkXH8RM0bDp1XMh94QzDzpCOEL2y/JIVbE8B+VnQS9c+KTt1JnUBzD1CHztvhSdZnHJvSFBAQryuQIXlPMwMF7YcYtw1eddp7Qier9axUnzPjkXOPL7sjBSDTzm5b9AaRxhqfyXLK2C7ijMF6N0Jj9yWrHLolTLgx/LCndqKRpqLNIoMQFKlk/a02Jn9ng4uVcm6jBF5ksekHQ/VRbUSvUG0M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WwdANhkBwdDrKiNoo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LbKHjM5fF1hJrbnvKNe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fAnoDbrjYI4k7ObHfq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UDA.E20_d9BYI7Jh3t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t9AwJT93f43Zo8YeIt3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X2F5VQt7lB8MNs6oIE6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dn9qf81oMj_ZF6CH2Wr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tm0FKqmGGAD_f82V9g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BId3uD2JB5.fbZFpEjv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vaoci6er.S.hs3DRoz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u44zqLSF.edih651PII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f_81.t6RRBHZT9p8n_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0FogM4.9RH9UBxUnkN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syFDC0kQWljWn58u_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ET0Jdjt0sh.thOZ6y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DdmIpB.HkePrnm9bU4c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WRSUtcKowhXoQf18XR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hzC_igCGWjO5qZDK0lV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hXTYGpc1kHg2x14Bss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i0YZhWpPisxDVY7D6gF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0w.vlNRpA2aNmjytxDI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DV7uO0fXhfIMLbjbuQr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gxY2McC7W3bkHrsq8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9pKkJw1QtOQ.Az9OQT2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iOchEMC9GvaToA9eqU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lENV4Nd3hBen/O1kLX9k3pcNAOL+EE2V3lmD8ruQbE13g1FqVUG0VWnOCyjJJS0CFzMrRb5eXt+rpsG/92dsnLvHpo59OnndKmhsb6FgmugMZqIgyStP9ymmG4xIt5kTVQsOWym1YlgjCxvdF9ttiwvbGWZJs/wazTY0shvaOXw2lSoSTbKRSSlEk8mW6tviIgbOkaFS/aS5bpGkFypPzvadYmJ6g2uzKT3z6jxx2A7EQRSttBH4YypdEjghU5JmAJ/5G7Gpj5N7FrLjJPvhdo7weafVRvQNeRUNnu5GcRVDKIxhwECJ1HSnAqvbYbazq3NtLME6kSvnH2LPUM2gkcZhnSgdzZ04lvRPuOao8FeFP4N8HvgLeIvh7Vt3sCT3yWrQRhPCR199aku6nqPrbsCGBYqM2J1LjDEx1cKDismKeCN5xJxpcnPPNcT426YZYkw/dm5r984wAUF+jywv7bpzKBSLgz+VwafwG/SgDfamFhwycbCjaabdC0b2elt1t5o8HKEI46/G5uo+FkxD1L9JiNI7M8RAiYOfpWySCrEVm2+rg2oJjaflvD7i2Mwbw8lv7ZXBmukw6iC4DeIyBDAe+QUvvrhlwoAM0HFqP91MNvOBoxlZB6LQOgclvk8c2Tth0PXUlQtD/qSyd5hFV0ecHjimTcJBCmIuoyy/mYCbbBTlJD5YWnyZ7kQ8Oi1WDTIuei80msRjcqzrJCVO5BQGhc3f/5otAlqXluhIks3jM7iCADa9jTLGE4EaYooLmOZnNIoHYSYIwmeISqkcCHkgHtxYi58HXbWpfZqnYR6mcJ80iZPjRoZrKK7K1X3W/nXsCDyRNlozr/M8/0EJGf9T9YpZxoVfgfXOTJ74SatktDiKV94fWOHNa7uxlb94OfGUk+bSEKeux989ii4lo6+nknXZwDvn47WlnskfHes0jCVyxTE5xzLBWHlUkZ+FtWz/eEZZ8OqABL0BlWadOKVOx86bBK/rbJ5d619jkNSFf5S1Zs/BdcuvTuWgMrCLFUgfb2FBQcgGC4opO82qxCxdp8tLGke8/+KJIDk5U+uoDJh7cAn5RC/AQQtlUMUzZptGL6NomNS/4hIeYHoJBIuMFL+jvGEpSNT+dDOl1syCYYMthxJk3xgipl3GyvJM0GsQAkK3JwBc7DokOVNY694qH/hqMKW91XHTLePt3v28kAhRn/NSYCo7mUdE+6e6f7QcrALvvoSvtRO/o6jsjvIyPMW18qjsEhfPbbSSyeP0Jt7sdFmit8YYeIkZWNQsHxBS+8mkHrytLmXrRUrgdigW89lBH+ixjam/aKacqcxVa2x3MCjye5FC/hw4Kc9ULZIYi6Rvbm6NCg+JTB+hOPi0PqyEYv86O4SNUwXEYhZKmJhRZabWzU4DtKY73Zf+G4MSRlZK00yEcgWEBbpoySyZuIPYlQU2EE/cbss8EAMYPANdM+/aA03tLvQq3Utx97sSs3BTaKV5HHbKxEaFsf9cGX15Hr72MJS4ci/BWkaMYmL0sg2i17J5ZWX4ED2gRsO9lwRlh97ZB6S/mfMiDQc33sAORS2MZGmEZ3E+dr+kM8zEIF5rSikQrWrxpmSDIbczyo0VLtA1WYlyFnYGk1G9l0JMS5i713dr4u4PZTGOly9wgWQgOIjmR6Y4BdkFlOZXP8sV4iBL8pxil4QoGu68Q3kl6hN6i+CDRbb3XA1PeOrqIgP1K3RDDZb4HQZqBNM9YFZlZflAKsYgD/+/V82mCnzD5hKg5lmwGFmBJFHYwFTuCzYIZVV5kVjSKsxArGC333J7z3vF5TkY6uefL/lPWQN9KKZ2hBKlGNkUaEN0N+lcBlCuN7LVKITgo20aBCPuVO1qsYKOeixSDZk0M72RtHATUb+24tCmwYYm19aO3A0fL0PwrDC6ecaO4XQVI0Y/qhnHCjldieKJW8KZ8SjdnVk7D1B7L+QlMXXhq95jaI+Bwu+Kjt/78MsgJbpqLD9b800VwWNyxCr0kKpKUcKCbhT55zrvH2BI9INPirLF8RPUGVYyPGBfrTBj+4rcjAZC7qKcvGz6ka4VgvEN5b/qbdP7FRIyaHBNrfJjxw8d/wgffNg30smS41FBLZjs+UnjyiIY3CY1X3c5ScRT9DMAGxQv1lNNLV2lowA6CJhZpMyQ7TPhOG4K3XN6rMAgwCEyCsTH3pYUPVsfC/tR7FBu/C60MTpInzEKaaYS69yFXTFlpE0gsIGbrDz0mV8P/gL5gCUA+gaBy0oPoXW3zATfZ4CpOethR/T68wuME/XBn2o1+PutnLXvHdpZfkpnc8ihL4Imlf8Gud/aIKN44XCME+Ntd8fVLDW+ox16tFRav4MUI0WE1dEsH8S1gxBrdM0DddaKM/kjwPGI3tH1WsH5PP/JdzP0D0recrY+vFUCnzowS40IcwGJ4wAONZaYptQ2SuX2qE5QdVORhsfmSWjUoHAve4qZpU5VAm5bXlCnP+QEtcklJl/bnXm79FlLOgBI2vQ9NSxFSSABoCbg/Xu0oI4scqUOYV3ZJrsSnOlrHx4BaUh968d2GtyKqXeuBAwIL6Ka+TlKDAIb6uB98YShDcxXiR1JCkia6eexHMqQDhqwh+Mkbx7vY/jcsmnc8oP8OA4kfWmQpCvJg+WBZrSJsA6Kaj4djCDW18srLx3PZV0z7t7h5R0IxYQPgm7pc/1Zae4t0YqtSAKemdE+BxyCQ4HcXgYWOJPw8U4kuhC6Clho1BalcUOyEy17jjUFoCkBoG/L5Kq08Sr1X5xAjt/55mWRR6xPhPmFH25cUft/2MlzGJeyKLLGnHrPhK+7hrTBYGO+3fKRX2ISV93MOOeEy5rvXUTqRVqSqpQXy48SROPEqzAXYVnKKF2lwrHQg5lMekCbx83bvFefY1t9Kch/E/m3J6DRq7Nqj+u9Z7kYc/JWgQaTcSxdyH43nOb3XKHu5Vg9XnEY7LzqxpgCVjYjt6YeLe0v13uRqzfd5U+wVt6ZQ4tOfvuA/bAPzplN2hP/+AQPaEM/P3+VCQ8dhtgUYLF+cftgZy97naRtJxOeKTUcfNLZqgPvi1F2GTjJkXVnMcjRoBXp6bwgF1l+t5954PjgtBURjcdPL3cyHN0cAYpmELCQrtVvpiFXQQMUcr4tPTIBjP5jGvgJTPxggalouNbMAe0Rl3gUNf92mWh+Or8sMOezJjUFxSmIIpRCaygxnNAfZ24SdkCcW0i1RnBnxGRiuLkKMEnWfzr3066ziPeuLWB9zJtTOxj6zo/uUNkw0ZW+BmEB6BEshnd20ZqCmg8LV2RfBopomPI4TwI0lS8kUw8qN6+QS5o22UZ5WSSKHi++Th4gHb82G30h81NvJ7W1bpwqfmYieHf1/9YoUVVSOxw4NclufH3GveTyMtbsxTlLCt7c9RzPdNE3C/ep+JSNaEAoSMfgw7mX9Cww4AmOnbrCHjvcsV/JiPr45Ae/hiS9I5TunNqb6qfOLN7cJEp82xgD8mRY49OOlWkVYVOowf87c0mEPevJo8iAJzTkbWfXUuki/na5hyT+G/ZjAdajB79ZCiPnYVrczKs2RzZWMA6+Tem469HWq/gDKIy8K40cSt39OAaoz5L+KLrjOIVVnv1Lfi9+ts9wnHEwSgXMB8I2AmOKBXiGSNNqq9i5flKBUmOcsfYRs+JGwGAkK1Am2h1a0LZBDirT7ZDKVy4GAAd8R6wT9q6VsgwWoTiqV6rSAcx0Y0BGMQwWeRm4b9R0hRp9FwycKl8HciM277/TdvewOUNhF543DarqwMjZfiydQm1v4B3PFA/As5UC6ndpvMNXruP8avwahQqP9v5CDzi9Ysk5EXXz3TShE7tGCI8q5oCNJknOgpL62kU2EyXgAottfNXP6sqlBkAtmPnICpu3KwPQs7RKWHpijt0g135xFNG+tWG4mzSwgAprq9vn+IKZQ6HDZKjST3Vu93kFQBpf98UfruecrOG63/DLitNqAeWePixV8ywD23DOqizWLn/1b6CW6x4ajLdkJyRlAgIpPmtDUyv1s0eaJt56ThkkCuW4suoz+SbZT6G7vpsDtwbGXPudfrcoN9inySHWLwSyAFGl19SuAq5wwvOFd7vm1uzwwZsf6QmQTYagiNUB7Ko2LPWDwBtqt8X/hU/nvQ+myBexoyeXHLQ3QhEMPTpESLLk916MkddBbClBmMGRvtORGB4H4PgUOV48Iq/+eg74Sfxz1hG8obl6f9a+pPoayguqcQGVQgkLRvBGgmH4Yq+uqmQDdLnxNDfg7q5GazjutbFxEoB6RNBkANjJvoVRh8ZRJiGhpki65hEUHmfIPXx+BbaMwKNohA33p2l+WSabK4J/Iv3b7i5xI3HPpsJ+uhoIW/3vhEzg3fSCRYwxIHSE7cWh9+CRL5yXNoh7K4YBRLNvLWkc4zReUS2hosrxSFVY0eN1oS7rWbiWGaTfCmFKIgYfCbfjq1+c4lMcHRz48lSTkA22Sjc0wkf1r2k8ZWh0wZQQW/H6X/TKDRlnrXwFNz0uFQOrMifp/ogGXAPPuDBcwwREZTCT1wsSXtZhz8JC1U2UupItYeolCCiK1F030mwAiOXwREvmwd/QxUq22CpZlSsFtGi65BEOI6/a8MUKMY59gkX9NRT4pgndnyho2Ty1Ql4km49ftuPDM3XmPIibApodZNAszHkICFwcskOYpZXypdzj874Et1GsaUDko8OE2AlHpvfRtTAYHSyooFyDmMM1z9ATmw8jqPZ3enlmbc1WOGLmF3msIpiqne+/GqbQfbqWzK4j725axQqQFpvqCJO1VowqLWjExDKUfa16dCuarpwec0iysAida/uMkGaY4B6ZRhAPCiHb0UezGc+s9YWUmjKgJoEGXR/M3Mv1pTNtVOhKx+T8aNZ0C7lBxlyEew1FsHGQ4NaMcym1TnMnC1CZ8+bcpbcuwiF7pBQ9tKgRotllpnDUNIqeZW2o3J9cYNEmqz2hTl5hbPKpiywlA0QCB/Nl86eavoBoLu+Euvtzmujfku9PABEdihnJKJ+k4IkljYkZPn93VVavJaizSmm5I//dnNqEDbIWipjhMeZqoNPy6gh/Edv5ckKgKLMgzttlhk/jKULAYRdJIkgdO5psSA2ebcWmjTGhxbg0qPf/gWv7IV7Tnzxo9z9RAvfVzBnDiaFXxzOy+jPZsU+8WN5PgOeyJI/c+v6BXdojOQQ/Qw2AVSWdwGXwm9Cd9NWN/GNKp0XmiyC1eY2cexmj7+J8GRlOYlLNa8hS1pJbHApa3zlurfch6BpC9UbkgwhTkpSKjzTbcXfD37IyU3UPF6S58GR8rjIvJJiyWvDvFYdp/Lf2atab/9CgEJca0lILJxsrPqWyfyA6l7Om3l6VoVMNxU17OIZwTuDvVtnCCumgJkQ2BXQiIjwx8ENqtkrbhKYbtEM+nPLrTfNM4d9Tf4evkEzcMDxvZRy8MipgdWacq9/sRnYJOkJ6FIuprBb6Oeknv0lyf3fOvWQpgDeqyCRCa7DfhwvW8apkEALyvv+oows6mrSp7eGMr3MGQPcvS9UaCogdnkOf3qnF77xH9Z4y7CspMVj5zCnV666/Tt1vK0jGp1njZqZFbLf+yV9tI7GuBXyE2s83O9MIQInKBkMhOlQNCNtKJ7isi7ITX5Hh6OkdK5dYS1kKiN7aALTcGMvnZ6JPeCPXxsZTpoqbGss9+8YKdcf0tLfjdQtLsIYwH1NCX3y2tM2N0qobwBhERrPHp0kDR5J93P2keughquB7jbP+zC/bv0CIs/bR9mA2d0MpPPd67kn1Diy1jj0TXY/vBu+3xgfAb6U8ESXpQ6GA1utJN2hmZotyOeLJC5u++bvUyPyA9NBIZDqqouJGbIFT5kdoxeK32bVcPIYTO6Cvm5HZo5lKajjlPluP7SUSXAb2bPeQ0BUDDDeDGJiylcUNlQ1lsFIet39/M3HSoxWz0y1p7R4cPx9/1x/1ISlG7ab1JUEyHPCrfXUjHinsKrDXNmLDi4RaOHRXQvWpKYxW3DxzT2qTRo2J1+zm8eSDgU5F4Sa0WXSJvmIeHRyfhJ+btXXmMxNdg3Xc/iVWRMlu+E3KQ8vySJqh1WxVkIyVb44yVXmlKlbxVeZHZPImKPWteIAvXauOR7LtH0QGid4RVdyxorT6+U1PBw2j0255eDzoegbKbY8j9sWcnWn5Kbk+US9Wn0stGAB6EKrVMimPEPnuLX5XLDMqpTalD1Tgn7uFc7TlbnYvhwywq/XjFxN731g50xCMEkt6C4XXdm2FR80VF9jQ9FiJXsKGun6k8craV+4jrf7a09UZkp7xNyJpgWHDWgH1YvdC8msqQRL/lnSXcrGJkFtthZmAZORud9wfHY93S4sGiTBffyFogPvBd5BCXWUmGH7K9ruAMh7MC0+SgWBnHHUpH07F8yIkBugsxbfMClcGAC98cB1N6EH1p1uQosli9IjoqA1ed0/DD2o2qoklrN3fPwX14iFFrr677Z3uJoHbzdyNz60N8d5j1J0kuFvkd1K5yTg0kLcppfzoYLP+hv7M02KeNXjaUEuucpro8yachYcyMTZJXNUHBQDFMpar877M52MaA7tvFjIXljhuhdNYq5cier7T4AguMNneGpTxS4F/ZuomlTcw/EAtLisxd0/mjqgVH8Ks1GxyMbz5owXadFgzNOPjqxuDYbtPjuun7q9AleEeRb68yHkVDEk/kdqyDU9WpKi3B3/WTJeW4KGof69nJZGFJAmQv+6Z9V7e7BglUyMVlSoQm+HtJ9Q85eLM750o9oqsic2TL8D8VhExyKoOt13dNNB940krSrCrkNifcGKGB3BM+vddHDprY8neCq3Mn1zj4ohe6xOlS7LwvtrXAwim1xrqKt1zKo373jU+80xBfOeIO9LbUGUwiz3YUtzv27sFr8e5ZT1ZcEGae7uuTI0c9fnEgy9ZNjcQGdOuz8zWcZAwqCSCJ3SQSras0DEVWYbkdBchunV4DZcook4nknIYmJX7KEl0uJmS5Db0Q7RZ/yYcADfvXKs6SUzLpweqTzj8HEu8VasVj/tQg3FtYf2dSzXswb9gLvs/jA5f7p9Xn6HRT8Kvrmc2S1i6n4+AH9fjSI4Y5Ly4mYyzrMAkh/2c8wGHdge3DL7lFuemp08oTVa7Bec6ry+mQEmfqmShYYRWiSvLGJKLc6Kd4qZ7B/Ruu46ueDUpWS9P/NUP69iXsyi6ZwuVhW8rihlpEvwzLlHE2MvflSwjZbNF/ko56QaO4HadElfVepzjo3vS2dBN9mM0n6fPQLsx+GOaz2/eut7oH4nd3Fj2e2TQVHdiFuxE+kw5cfXwmNBzQPVNSssYHO/qfxweNr3kWYaEwLhu2uBTrfkDYY5y0mkZrulcc1G6cvyYMXtqIhs9PmtCjtZ71OR2VRoZ0Oq6zcsD+2OVe5VWefadE5I/Ih/6hEH17SqLbW1DZAk1z3yy04jS9ryXQqU0a1c4UJpwgtKi7I5tj28KsQSx2xaMtdAv9owwiO1jpjL0V9PQ0JiVN6vhsJ5JDy8xy9Wg3ImgIfTHJXQQ5PtCQ2nDu++QrhVJF/m7QUT45h3N/iKGace8vpEGtyKAt/8qDVxEn6ytMCTwEmjdzQeCBY9WXK/Yx7Y7URrbNuFd1dkuHd01d2Y3ywpOYP2vuO8oCqH3ICrhcztDFOu41dsWQjLcS0fWds8OVURARA08lXfHsjI9uwcy0MNewWsfjURk70HHchdKEf/NHY7HQMN24mDFYbBSyJTYqNzZRLEfhBsLjRJJyhlP/GmhBhGa6YD/eh7cCd5+liZOTHXmSomDKRntdH5UQlrki2d6eDMmbVPLdW44n/UT/DGOQ2gR3vaNsgW8BnJ/IRHfcCMhetbAnsYKqskpdxyCmgMhNMabPK987qalWir+BO4fvYALDnrPrAHLKtIgTy9ZQ7cEG7csSe9BcpJHR3DScMuiKqvgY99DfY2VdPrRdJKKF1laB9R3mIzAKxsc8JVqo94DE+dPJ/GSW7tfPWDMDzO97qzqniy4AOrT+AffnOZO+glqlIgL9tl3y/vnzGpGu2Qe7fpN9/+Xa1ID0xzpGRf0K9a0ksVyt9bqUY4AceVii9k+FJenZOysGYlLW1M3XXMvkTkbOxENXhFk7Bj2nTnLksLNAl//49ZB5DsXf0qQV0+OGjpN6Fv+4OX/5/jMNI2BLih8BipXiVMBmZ97eD6wuyat0BMTUqIvR6THqrJnPJl4962PLw2n1sWUakw2ffKKtARFWnyFd+R32qEdH0EHqVODBKbzhDW0VdFuhk9o2pV+mzdzyNsb760x02m7FnY3Nxbi2PUSHFaiySEnquuZjlplJ4e7cQhrsGe7aVFqrVCkrkjbTZUG1GgPLqRXcFjhMlWB5SNksj94KwidmJJI43BLNcIK7fsd86DG/j9iIBM2ITl7AxvI4fThuxns11zveISV+37VwrRygXIg6ANycrQjZ/RhUUo98J9Nt1U0XYv+81E6s2XfUZtACE5uOdAF+NkB3f2YtqxMfvxb9WbNtA78D4VHhmYE9EVdeThS05EyRsoKmYr7/TbvMkTA1eUy30wxzGxNyr8kmEdEYonk8xXgqVv2fZ3h3DtIYoBfii9SabZi4z4raCgGmjib0xvoaOR20vMJMNQ8VGEPHoKUQZZb222MNc9UVwE/CZMYz/JzmKg4VokZry7HJOHKbneWqHS/KT3QZm4jDmie+D58iL+yTrxA7FpZO+IPCD7pisTn9TQdmMCP/C1QVju9mkV/MbcID+RImlvWJG8XKJMps5JP4tgbAROGGYecoogKLZYWn+j0hLQjmlHZfCOyHdN4kQpIEqFYuIgwI/84PYr3YIpfJizMcbU949Ih/99K3+519L3j5fRPvcHZm16a9w/jHUvSx3ZdlCd9P7WOvDGLGapPVICCIErFTP9uCf8GEZciUjUWtFGI+DuOEXNN4ubsxQAIkcI8Dvma6lsEpPMK7jFF6hI3PUiuMbjrdGh5g+veXozOEFVRSaNGgS/5y6W0Yljk+G29fellVhZtVKEd3s23Tm2fQq+tpjTwFO8BzC2XLm0CDbEmlMNN1GYXn+pW++6LKm/G+9GP1wr8aA2rPyVeXQBZJTiZHtWRNbs1SisUMyMQe/ADEYYj21KECm3i4SG12er+qd7CldEqfuBj/hJF154WVcxrnGixdK6/rtnTgox13CJBdDa6T39HYf6rTnsaQHEbXLQ+gx6D8e8AfMepibgvxAUzIhrLwaJcSbSmHvp8rbXxm4iSF10Tyl1+N0joYXUR+PrWVeMNuUUjReLPVGZWYXzDmjO653TXD3Ef8Jd+GOgHBLXCx6RvNd/7qvsNmSED6RnYFPbtm2t1CvWGEiB0yacr1F/7/XyL1lkqQZf8x90ep6usvA292lMCMmtL9yqXOgQDtkudkqiBW1NANihSqAPAGN3lZrbmwSIfMMZWBEeTeDjWIdvtikKTme/nhN/J8kWkILVnayqAfr+40KFbAjxku8wAVV+UU61fz5X+Bhvc3vnR1hCYugfxB0hhTKf045T+S8uZ8iL72Y1c4SecYr0P0j/R1AcV152rm2EtYQZhFjA7gN+s5vND7fEwoowZdVoN6TUUpBmCyTY/42ZAPgYa0fbu0f43ceeQxPDVmQbCaU8wXMV3LSxYh0kbIND97Efcfjc6xFfiV13tqTlo2sxtTrz2gm1xSLllNBGDkf7UQzR1ZCuULylUtJCaDmkLvoD/ZtLjf2Cq+Q+wDV+/iOQo7BbhunIWe85WcILk6xWGARXOYDa0Vrrj/u+w0kkDQAdIdOeyz27lTA15ZXOtIs1xKL/UN18ntb6QI5xS6pBdVSEsV6QmAe0bSWRiC6GsjSFZd8dj3c02VIXepAXIJEPE6ivY+EWFleS8xY7qFKfzDngW68tX688ikbfE2kDFwcTUizh5jmYs2/aJXEnl0sqo6ovBFL6RrItDRNqPF7nk7E4kxbPDPuQIPfu9hximFJipbYTD1qAxWWVVxqADxFs9da69EmcZJLSpiEyrSZqMXBudUZWhlYm0gAjBi8CUU61E9ZUtsv2Y8Agq74bYlQ0O6J2XRswrq4PxxElc3ZEhNzMq/MJHax/87zqAIZYsmo+5cgQ0tI081vcdhtJ56CQToqrhYLMeF/al8/o4mBQVnrAqB5ehW6mL89Wkx/cgbfviBXaCH3et3k7gR7DmQdmKvL8k10A/dU8BnqcszQdEn9JYEbM94V/DkoYZSbbUZeXJIF8yYneaHLPdFuFpA05gEpvqNTCCKQ+ZezZqYbkBOUJEdPTHO+3gcLHU7oq2jfq0dFlcVbPn/SXTMuRoVXbmmCS0ft2ncouVMErJXH0x45ukvegnTtBel0FdwXccHIyetKK3xAjSrARkMtGJB6K+HdFtU+KmV2cTI4BwbDUYhc5HPr5gmZtFgcDtnuzgSi6cK8GudS5jR+mOCrD8+mtMycp93DdjyK2E2iDzOh4I31keJXNZuV1paZZo6d5m0RXIz9cmoMFq75B3uUoG0Jh6C1ZFcWKHb0pR7IB79XmusNPwDRgJoJlS1ETvlsxTAYwFi2FppNYv9tTbT45MxU0DMzF3k+YiliGL+l8aDqSmbKKJtzaJycsNQIqfGlFI+hcu5dsDhAijUOod38o37bnHS0TX+ch37tS0ySmcJcDJIPsqcFrTP/I3C0y46MB3jPtollyX0l9wjQZAvG4b89Cqf2wAJx2A+R62kFUtT6qUYE8N4jHpErfFKiqm5v+uuoTqunDqKyXgraxVY2WWe0lmO3U/jk1bfyBhFpRfCrbGPAdixUU05PxWvzGY3/Liz8WoTLoC92ubCUlBy1EUx4ZVnOCk2A7tkVZlzHCMcGJuXxwHIEpjcSazNRXauEEPejOmT2qrL7s94oNI8C40Z3U3aRDnjRLhHfmPVSIh8xX8DdUelRQm5dPs8woGuODmu7I8I9uE+G2caJNVtCZF5dar1ALOejohhlVmhykiipYKGCAbPOjUEAFJj4JuF3iDoCOGfSCOlhGBdlTTw27qToZ0eQpQxuE9Ptdm+q6pNBm6tmdmCRVY9UkOSkDH8cnJlQHv2YzBmV821mjCQrnB7t4Yq1MqFrS3Tjw4jCuemohkheDbZZ2eEJjCh0MqqpiX42ft0zo6Msv2q6vqzQydxFhvbryAuKV0dDne25zyie+T5LFPXNOkOd9EAWxVpYy9QDv5JoU5K14XXqQCB59VkmmVCfky9EQqIgv2vIIEHk27YyVIKjX9u+ZdwMfKW+UICV035pZ+5ZtDFWRD8nVENHFqCbGwk3ibP7VlHNImbgFOmZ9x5YJwUb1PLsPL4M2sphxvn0/q18+a37dcVZGWSIZAzF2hRMTVXFWVLIfPqF4JluqHlfUFG/cl2qLQwFvGQeJ8yGdE+ltQb24ex6hCR+dIMaPs8GLBXfVtwDZPrxiyPSmuahLCnqNPjjv+S/FJLra2pxTjd2QtL17R9zMLtSrxlmJoq3/owKkVX2iQMNXfODsIsqylGINBczIE1reCKRLhW7qq8GG0wP+qzTmWF8AxLnYO6IP1EU9vW6ApJVw6BARZkhmiw8TqlZWGuE5ldH8IxURYPQVta811dwTSx9Yr2DaQaewFntKIonRtuMnjc/jc8zpW/BwgRjacUZybuS30KdhpqcKculg9LwCrQvd0p6vZrsHgyfwy9+vGLlUAQ3fGEmtVEQsPWcxrSdlMm92yDVHEN2UOZQ9yhjkW826/GR+MTzBTtdzW1wEHznVBe2d47vZcWmXbGKSnR34cbdqBm+rJdzFK+xX7GAGF5TWv9sFKt5/8etu9/4+xGd1rj833RP7J7nOxzmuvTLCXOMbVfG+hKqQOEEAPGgqzBSp0pS7HraGttLnr+wy3/NoVHtwCLnKMn3l8ac8PK/LnueIQihhGNJd0AoLjF3wmTBlZehgqLeYCL1WBjAtO3vGNHe2QOkz0wQxoSZw84undELKunGkZGAc7nptfuJyGYMBZHEsEdMOnLr6KimcirFW1yr1B6B4L9exCn6Qc5Yp8pAxpa30VL3zBAqH1vT7ngmVvE9Y4axDBsUxR1v5yXsvfrxIQ0zoFQtH2Gz/Mqae2Vw39i8bMKEWDR5zMZc/dT/JoHIfh0ViKfKV6C+UoyObWsnr6o/UTM2bqqigxNTuaqMyTOSyklG1jsDsMTkMAUcVi58JEtN0fa+rTRCzuxV2qNzxOddC308Geop0x+v+E52d/0jY0z/y3X6drHauDhDHiLVORqN6EbxReBiy18j3Hpqn+J1BKUjS13SoL0Wvbz5QF8EGfJRESqqCEPTXJnFUzXP3TgdJgLjRH47rxNxphBB54mYZt3g6h59TsNxWXGhsc0U+gmd4VbBRLgSL7JvPm1CoJ/L9lD1rUR1j1RN82DObwWQcPSSAVNRrgk+Aarq+bJlTBUJvkCGBEoxnbQyI+aeWN+bYc+MK/6j28P8Z1sxFRdzqC3yhKAvbXrNhW8RM3rjCznSWt8i/1yOSpL2YalUX4c0i30mRIDPyqWxxdWStU1eoIccl+jZfdMqZvWfjNKCpS2j2nwhOG76WgvICUejUCnhJuI/asUjv56H/8Cz6xSYvEUUK8EJZofOdnvDUpAtFVxFaXQjML8VP8EQj/LmmhixeLKZLph0idstba4y1zCVvDxfciBrVdAP+e5ZcRe1JrPzykcgBamRW22qL9K1825c1h9IOl8Ay68KHdX+NNRozaN9NJCJdbc/LEwKWcP7NekwpnL+CYGhDc57yQCV+R2A2u0BatIvHjLmes4pZvHrDeD2CZqbjMtaYQHAtKhI8RjEEWx2raNBMCxfn5IT/4JIO0XSo1S3nn2Z1UglG4pNBKIG1vfpbeaK0t6OReN5UZLRz4uYYyUjO6b4TO+TozQTFCs88IQHHIjnPndTyFdaICNwq6zYJ5ayzgF0MzcyqfC/4q7vxRu3CTWiX+4p7/rc9Zcvd9y4c06fvcEnbSYiFgQBxZgxd1z1fq54TdY8TLivcGWMYMnER1JWWNMuOH2WF9DJy9BDzeGbxeO2WITSgQ3AgOZIGJzdvZ/d4gAXu2HtWOXNvMhbVy5UiLhZyNNqj0MrZNasHkr4+t/asHqYMNPl26imXtH2mHCKGMGuhpzm/6LTMzW5joWFe3kKzVu4zWB1HmQV8rv9H1eUZGqXOzipvKwrIHwqJfd84dq0iCPocOCyY6rc5k6f5Sdruv9+SiaYqXrGLmPQRYPA5yjHJf7hjteqVXQ9P8S2BbwtjI6PHqGE5M7i3Gof7hFlRZwJcP66kbtqyEebFOCkLsPNElfQufivZoiyAI+unNlwAI2Nm0DbOM5gIuRr9fQ7ef7rZXpu8vAaGnpMoXPwEqLtGjccxf/56fjHCtN/kTQF0+BP+g1rvc5S9yWgb60/zHYVYTvWLpWuH1Mst9LgSfLxk00q2k3a9kkykFUN1ocSMBcWGffvRUUaXSdcZkp8/K6UzlJyv3Dwq2fJoudo25WY6KEe+s16RE/v/+hzZT2Wivy5TND3CP8cBXh4V53HBh9ql9DBm5ZJ+L+DYEnBfcKVLFfuNMm7ZZD9dCkiSzA9/QM7Bhb3vxZD+QYr0tstBkvK6PD9DwZsC4iDVawkhqOabMfs5ACMbekGzTDHuC0HK+catNUcdk+C9R0iOVDUAsz5mgU3kfTCFpW/xnWrchv0U4nVICBGfmzIIMmYO0MMSuYSXTYrmd9osdeqhzx6Bh3KCoAmDY0Mp4t6oinXXxQOZ6C3sNCbVPXlsmxn3cJviBI/is5n6m2Vk6XMYwWY24jFMuJ0u0yUmIBN7Hx/6sNyjutnPDZpByKBy3ejXFzG+L1NwjfgnVh7qrsBSsPYArhnZzebHL5+SI9fL6ziHyt8XcUbTwXy22ydPbA90GS39ANRGPF+yOpIcEL0zgjwowc334mk8Xn0HEtJ0Zhkg0d3na2dkU6e82UJWV0zQDgkZUmRUuXQOGEVrs90WtEk+Bq6BkJ3sg172EkXR6tQwI//AW7dHuDm/pIcakJm1i9BIlg2WPw2gwf++2M2AOztdS+VsjuUXuQm/ucq1VLRQYP49Fq4UVpkahS2GjmNF00nY4KGG3fhbBAVzmDAtIxTOB/SejPhM6tVQFWHErF+40Ux6rmpsb7GX1sAAmy29UZ4W2W1TcNLZR6G3QrlCzW4SMFaKIyZJyX6q9FTHjrxRoGKu8oQpv+TvdseSlLAc1Xxwb3P/gECII4DRRIAw5aFTM2vTnTzpeSkU1Rtqj+Gm0D4ocZhNGn+55oNKsp7OQCfoWUigCSPAjypaNIW7rbyoizKvuf1IzEveXDA9RBhLqh0VwWJzIJ0OXxi2tQ4oWuu8JXPRYQHgDrJbUzUlm38fMS2siyC+q1joOPapsD/NHmjguMCMliMtI509Z7DCSuU4ZSGHZsSv/o173IWgDX+M0ADEdXQK4Vrwi1tJ2NQ/NSVmNyRwfxdmGJkFNS+HMp2ALhfMVDBF54cVprDO+XTEkDS+EbmGrZB/f0XA9c5Hd/zZao+9ZDI2Wj848xrIEcOSlUuCcrnm0D382bWLEpbYpeG8pmSjZG6nQEF5I9WP5O0dwQLL+GOkgBCpB405fRvLAaNEfo/4LJdWxe/opwUOSvvvdSWPdH/VeyxNH1kYu5k/ECb+fVxVPTke9XlVDGUltqxjLeBEhgggrs/0IUts3guahHahKWs6TELkSbFsjt60BgBCYKnV7Wv+HvS/2h2/h0PlVYj7ht0lA2u3p0GFGqfATzwHN+a1dU98UIil746CO0gJ3ClsT28/RoGU1tHMW9DQBAKJoHJrt4RwDE7E1M0pGTz/j3oAsG1RB8CdzcgNl96cFI7KRZfdEs53+d7FXoF2nlsdu7OZDnIaOjnbB2NL1Xp0+X4aVjA60qHtiQSdaRScKBA584HlZqxlAtsiTj1s+5a32NxFDjGvQCey2w8KdV86VQYOEiJIbgiQhMMM3H3nWX6J5tpqaTs2GChYYZ8VhKP6z4WYUO+Lkm8n/8Rtoz3vGtJPkfTLYpnEvF5WxrB3oXWRVbuxPNznqb6hhFtsrKROVs50RJW6hOYhDrgcnrynD67vDeG4c4AJCwNqomLYyxc11dHGiJ1rRhk1z8ejzoYXN4VgcpTRPl1o45foWgZS6o9PsZA4r8/fT1591vzYPgBSUUZleoHoZtExGPFhLWYAL/hvh3Kcvtqzbr4+iR0OMPojWyWEw1Y+DKUBJ8kCAHvc3T2xknKHwPMWhxRRBf+04/rhKPyjKuTyp4zyfVFo+g/HhZtDCzL8lkydliaYT2WsB/ZP1RLGlcX61uYxKqFE2v6St/t3MsZWgDWQnGldaxGhrtKWxqtymZO/kqMx7sUZiHKBq8nIi6SWIFUUy+Xp/FdAnRcbiIfvDJE1icCh3eB5Ci1qwyl3OHIxwIiGXDXqhfcUkkMwIuCINF6xZN4l6zMI13b5SNJkZdkDS6HGpRuxKGLgu/LBKezT2uDeACDsXANlvBmbgquALdB1jmg61RGns2VnjYhy51KOtJH0JLlK47FLgdXSHUxwX5NQQfKGpnP8yeDPSm1Znx/sNLrA4x8gIb7tvF1OL5HQF1GdwxySSTuhilsUj+Nh1YisSD9jaahP5UIileOgozA177pEHEBzfyZ/jAkeOJvRjMyBlQM3aq4Vpm5FTe0m9SaFURBPXrLM0IKE83tW9E+BHImjAtxSHQrZdr38LLIqrlQj+seEKyOxtTB70fiEyIj+/4FqjOgBFyp2SdIdCpbORnFDqA+OsMqmXsVPEHmIOFKtyKNpqKZnqSGc8ps4GfyMEEDPD0GumCdkoqE/OgSlE5gjHpIc4dj/joBNEu2bOAyVAvRyOli/qU1waWxIuTQWidNx7hLkTImyJ9/F3natpuHeT5GgTvtSbabmmjWGwSReRSLRKPOT7OhNHUpAFnQRxWd8lujkkI50FnXko1tUbFRXECt1/XLyLXwpbMpw8H3youLC83XAeEtz8MXH/zZLOEygzIyXRmlMqsJCSydMIVQB89T5xpfF9tH/AnEDnrpYpc3OyLoCqtAnUIOH30/Z/eNkt6xReEknq8uFfJJauUZJDh1dIPqDMyT/myMz1ttFzcjQRz9fIgeyfVGOa1P9DAnJ0p6l1qys3c15xlfF+YZYt5Fo06d8JJv4roXPl0Xbku4xTOcFXGFrnV9dS7u8NGP4waZV7WbtFKgSuAwxW8GY4XA+OmTcunKyuJWhNzIDUvdQSgRardgzsTk6Z7w20bLdfzz9FQhidm+9wDPIOJ3aIOwpM88mhLja5WE8Z18aME1ZXKOBaH677pIH7vGYvxnNNfCsNmISBfn3O9/bc9SRE9SKmFcNn/PB4L7g2GI2BKWGHZ5rb/t0FGjt/HcA0J5tCsVg3vdOS4jiEcDKplMaltjbHH4QZNNUI0wngXCwob3PLwg0VPvPXUcf1MAwbDOLvjhi9opC0Wlg+DsHpKH6BzyJT5llu7xOb7GOYDelclkQM5yOc5n3B9CHqWrQsqOTIfIGrqWr7lEn2Kx6ke4RruVO/rzdCsEEWc1uaI4TPPOI3Y/m5Q836j2H0/P7cdPYQGCSCRAQMNIQCRmlj/Z+SZjZKJOq+fXziD5Tgl85PLs/+c1HARZlS4Z5JYjcttNiaHYfg6J1wUcAVYDbrv9XQH03Czvw+7jT4JMfUOuWIjLp3m50uEX1Fq+aFIialrDwe3zGbhjtnZG2/sVUhPHRGBNpv0/2F6i+BFXZoDlPtAJm0trWtC/cqfFDVwKrcA39EU6ysZ/rXUOxSdHU2TgaaaGkhfNlAgYHEmOqUFAYq0bKjABJpt3qlkXO5MGJkqleh3Dlz4qIiJurmhA+klvOPP+Fueo/qQ79wU7/NtteZxiBYUkANzlBizDQ11Zwiw/PMxvCFeSOjNM8UIr7UDr/nUtNSau/e/KwkPftt7TzPG5JsIIZB3lKWbVPZWmHYPlvjd5GDKQwkhJ+MTx4rVvTUcD8w3+z7AAq8Ox/lWekfCeV7NmZYaAN77Ldx6Y3Nhm0Jl5NPdpU7O+FA/EeVNSMcin3Lzi7UKDbdyagUcJzL004cWboVLC812/2gD39TdsBpsHpow2rMoxElrpIe2Vm7Ixp6HazQ0syZ86L7bHQGz58jRZJBLkQo5XVcnEGuvgrCc4og09qjH9LSTnY61Em9ZnkNBIwFVQWNPnLKBH0RSmWGj4Z3VuznBcjO+xTXjYsEzLyvbX3K7JbMTLfPkN1f3fU8cCXW2JcXwEOoosgHtcDmVojDHKRhUxbuDmc5QPJ1TuIJL9A9HfvPB23lTGOppP29fKBvnu6yAvrHZ8nkIzgGA5uUak1vcqnwhsJLsZAo56On6AIphRIB9h/whJXlU21ShOuMBiqB/p2DdJmlP2OoFYU7gk0OM4VUxZZMTvqYlVIxj5Fiu1faxYHGpELQ6mzeXnylmg9zVCOFVgQYa0JJv0rjxiSIMvSZVZdcxbeDwoMaldx3FzfxmzQvH9485IOnOoV6zS8rVqLjQ9HaY6mL33OkBGQAcWDQpXj16PiamjGsqZH729rSCg3J1XnAgL9EuiFGPavOJGE6KvnGM5pedSLxO2azzkSae0zXfNmZgdIZbDoIeDjkSmGYWLgYMdGQdbcCDyRWhHFLk/eT6TW1FZ2oi2iiNK8fNUkEbhh/utc9CR/VlUHwTCswl0EqVF2/5q3WsoxAcfKU+rByeTpzcK783dQvDru7lQ+1IlbYZ4897fy6lKPzucO3++HkFNAFkYhBxDUgR4kQyj9CY7BL2c40gLPPJupkJLXAyG7yEZAFYGoIUHHpwiJKcW62h/7xUHUt+zAGSnsu+Jpgob0vBDyuOB2n5zJoivtBPWe7yRwxXnynpSf3Sh/V12Gtupv/CKO0MmCXA9GOXRDFU6zujVTj3Ae5+T1zYZrvQjs8hjloyJKVmHPkDQ/e/S3qtuMqUW8wirxhOg4gCNZFQuf27QVmFtS7gV0ZOXndDjp2+w89lq5iLaMlvzziI1NwXXBVbDRazkvxZ/7HJ91npMNjGrsZSvk/hHCheYJuJ2Qve0RnskhmBBSpP/WkO6BEWKwgKT1TqGu9DEDB9UwccwQ1/7ZJbHGqxc7zqJy0NV2SbVk7IyH7V/pqMX9+PImMO+7AjbhRtipZZDoEgTDOD6LQ+eIm6OR2f5oo/GooTkI+0E0R0Q1uK6T3ilBKrlOAz4K7yHV47QAKkB2+wJFxGvcWftDqKGMjE+aD4lKGaLNg2AsZdkb5H07P4CjFFGiCCZPlxAFMVMv/Gyoby+v0B2s/lVsDTOYeR6jOv5xq7vTyxYDz5vJFMNqVSwDloczeioJRFdKbE3mO/CTgtt8O+pRDBGOnsgFhfybe7neCdkf8aHGqIh9oRAKF35IqpGmpboURGxdK7Wi7icbVXoRi5ELMWlrdU8Dqfm2m9683Y8gYf5u78Nj/Gy+RCCTZHXNVBJe4xzyEzRoioic0x0ACVXx+TvkC0OvJLsICOuUl4j+udgDBcy2Hdz/LKwsW+BwHiQL0LYIOvy6G8vnthayxlP7TZfOKW0/ZNO6z9AQGPjNJkWJstqakzZSNVvofNVgL/04u38z8Em2MGkHfFR8CX7WZJ+TdG3hXggJcWBTlSe4Wy+ZvOeZL8gdnqHjxIb1I9OGilyo2IyX+B1F/+T3iR3SFuBh6f9HHxlAeN0DCTyR0+5u53p9WZ/K7PQtZkg16hWtfo1uK97vl58QcWTANEojiJyLoMAB7faTgppX2QJm2cPegLKVEv5s8wsD53CW2vUBAPTu7TJ5ETdQxJ+4LmVHH3WyR284XFg/Yps/urqgLZFBzlC6Gpbyowk7FsKwaGs7/oYDxGGf/WVbzi5x12tvLzs2ddJZUtB96AwkIuiI1m+rlY2q8z0IQ4ak+eYPsOIF56ewDMKxjYNn+6zsCexyvoaCZjguIwe+Vg4sT8Ln2VudeXSBX+4GedJWvxwM59swpDRZC1Ut6o/BWi3iZ7lXT2Zz6ZcXVzrbmbedBTqllV5wRi3ch8+sCbdxbUx6eCURL0xZPaPKrwzrxj9mD2+lCLa6bkgXAfzAifQHCglpURUhLP9JirpXa/pFd9QJ8Gj5BwtLQAMCtmYSLy40xsFBIElSyn/NbFOL2VtZhnleL1bax2fZQHudCzigyPtZ9GD1rmt4I+4xfpEWNE9RNiU4H3gXQHaj7fEViPAqrsMUOyiJPiPxxTM34JhGFfMWonP4mC+1LNAdSqFUJDvZHHsD7cBgvLh4Fzke3WlpyKhKO7qX7F0aRcaNguuFTz4z11vWpYhfKwu/2VmxYsIqk7uW8gAPSuYA2evdth5vl2owwrK5SkOvmHicjlsKN0rjI0bFMJs31oD23KVtXjOa03wcw3YrR6jmbLfHIJF9msk+EF3502FEsOU42Uw7SGWiRlrQanbMXmpo5HoZ3aqEjpYxwJOm/+bSBRSZiZInIhJgfg0lAlubidqPmkDMmtopAM05/4MILXJYodYf2JddATkV86/JhgNz3BwW+EQaccBX5jRfPnAWnrbAztLO1rJYL8+vuD6gddNjSvGqDt7bKR47v+4ham2H8eO/ArIMyz4tA+oeEJ40DQOt6QsJMZG9pKrjHcFlxwG3xaHjljrEaTBDyGSW9K9cCrWhY4qm9e9SOOJaBNQ/kaDsxhPfUvxNH5FWXVdSqt5yq+c5FW8gJG4mBLTRi3FMBsZK9q0nnWAsrslD1KuG/g3eOeMx+KXdAFHBL7zEOEERu3LQ9FD4ZUJ6Otwh1yCZ1KOR4/iG6OQp5ibUkaSX8k+AdlKiJzuHZbeMVm9hWRg3tUYJOgfzPB8fwhacgb1gbRrHSjnAHBUhQozqkunOW8yWtfcKI/QpOQ4Z8gOz/KiNf1MJfiqt8wDEG38WvAMEHEf3pMeZmq/kGI0LPxV/UMVyAYRy9bNfGkLoc3q5engu2R5jYpOHyf3Y2a3lO8JOTJJSTCYX2UZQvKuB/BvNbjEKqc4BH0UOAoDSE7dy+iNqyFynKm5xhou6Y505SbpHlJa6ztGxIA6P06h0JnxvhRbHo6FCjnmOqsKoMmrHRMw6rml64mp1MDozLe5gbOIkMYzu/Kk0ZooLaDSUfiohwJbBZyNgEglhfMzLSiQ5MzBYpvyp/ld5iBhOXKTv+Eyy1m8QvLn3ZGdwtHGXLdfLi8evfP2f2EXIeNLbbLFz5/sCoWfzNgR3B08sr4LAT3SxuLZIWAAQ0tqiiWci1tdJAauaWJLBGQxZczdUA5KRqe2dnLNBmG84pjRBW7lZ08yZCSmWJAHqGnvYxfTWqJoPSI/ALeX4SawV9rqASd4noas3rn7shxndjX6X0uQTM8CcAM0K7fbIgFev5LTIGkm+7+joAU4RBZi4Nll7wclUfc5AaTTIj2Hn9K8hwRxyY9OvTRltfPEC4nKMn8EF7Xz9lLLhANyhjCYIWGThImCFtUeZ20nK3EdwFhqQFyKGXo6CUFGGW5qrLBamHTShhTwMK+kC3YQkUJDI+E47pejnPt0Z5rIKyT96r+D3XK/L4/nYqQ0HYbNuiJtbdxFSIzRIi8GouBvvsgpdpwbQvK1alFqLhML+8kEvkVsf3RI9l94V2GTsxxtA9Fl8YitZNTTgFK6+Mda2LJ7zgxlfUyLX8DtU7eKjMq/wXzjKdkA5cmw3ncjR2bG0YkurW9+yejQ0Qnj9B0a+nVGi41Cy7sgcdSH5VQp4bymmPDC29WeiHvkD1cULGX8bRI5txAigTcYLXLeSm8Dn+oXJasiTY6Ll5CkR0kJfckcBasGR5jPF60qv0QKP94Ls1LIzhcUlHLRNa67nUN0rRD9BHtQDtJ/AQJG5CESjtCP7E8JLHrKzCe5KrS5ElQEIuPtQETVlinWlpRTmIwv3Ryvxpg5Ma/OVGvLQOLxMb7piCKNFKEdf3/466mpxoQH/tvHpeJKtKmWEV7qYxCcgoN3SbjtS1BzGHB8D3uE3+0M/7+GdMB+sewMOG8uMnKdeCbOISoHPU5H9MizwyHBnCLM36h0dJc+OIU8pY08/sjm1+CNO0JNyWqcEtiODxM9r3xUaOPWbnvIX5BXUxy6eJaBzrCobJjgozFmzRxWmKjYqTN5MEcVTX9eisFg841gXtnZk6IHSg9/MZno954Kxd+ASzUr/OBm4X8uPdjK2cx7vHm8JCBNglu3Sx8MhnfuJxA4U1q1Rq9nSvnj3lweRk3HBfD+8hchfZEcemy6GWTcse/a8aKfQLbU+1Gcx5L9ltZGhVnrrUhwPaGH5AEblZJb4XO9heseL2a9fvJem1p0LPksG5kAZpIZuBsV+nnPYC5OUw7Yg6Fmk/PcXqPBtueIsVVFmFsd36AwFHKFvoRjb0k32CeejMk69EmmvhAJLRBFfEHGIYUq11cPY7m9PVQSDC65D50I7SfIOOlkX4uSParXJY6rmfv6pVOSRltxAu0EZBcbNaHr0u8hfcZy2dePPKT6zQkg3emwCQYW8hS92xlzrgUaFUyQRQbkFjCabcj5MSXuNQgIo9L+oBLmsGpHhy4xoqsJYXK0WD/XuVLe0oDEiArUBJw23I8QFiMtN3fWNpf/L2L2UouWVncowpQR8qvPDJ1OZJ0xqiU50ZlnYPELyHD74I9FVezyNO+lcueAGUXnVqFOXno+bflnFWFr49fhGZU2mmR2XMwaQURYA385JoOp0fQpttMkWrGwy67e2O3cwLXxumi3FJ/IJ2TJIZjjcZ+D6H8rZimN+U0MtLkGGL0v+S8V48JteKBm7qopjEaB+00CC4dz6GRwzAIS1ioi//hEjklkLe9vbDY3AbfK1csQQ/6oNbG5i8HNvk+RRd94Fk0WKR5qjrz8kkWWb+JQMqMDU1gHy985TFKDAJZivbm1emNzdHzWn9ZUFSYiXTHfMjQQaPU0nxWtK1elMC8G2RhYiXs0Xc36vkyWDiLq4tE8mWst2U4dzy7O8sDeA+JC2StPs8VUUVNaaMDkIpkusymtBm6NiX822334RbJ2W4jXI/TzwG9HvxvL5b8hXb3C1f30PbjhUTV31772fMcdV5l4KJ3Fu7Y2Wy3sU2fbg+BQneeZ+dhs8UYggru+FYIvugeHnMiSq4vHvT4rs1oeXX5tky4OSkHWGJeiO9qTPPpxSWT0cTwos08JxbHps0I/QqnUgT5Q5mTFBgOTbglOJA1jLbF8vFj2rjfmm+uF/aWzlEeENBD7g8UqwcV/xtgyUK1/iND2e2d6dbiNbSmuoIeeepdQDgCOJAyxXD+Mf3FsIoi5xeMzI3BOpivhrhCxVD9ZX7R5REwWlDWw2s+TnGWiJhmfwqfb4H3DSjyDeyf9J0TzWrK3XiA5EW4k/AS6maS85u6iXcLOwz0i0CwqTp9pOrwHQuqmQd3M7lU0hqxFnteOVo/Fv088B0uJHIPnqNZ8gndiZCwSNiR/5EscDshu9tjcsGWuZvhMaYQnTOQsdml9J42jleXCsJrrVsDRW9nNggYI48cZTY8+JrGcbxkVsXRPhuxm4IHGIByQzDx+kgV5lZ6RnI1lHhIDH8bDtfsAPOPxpoQMSMQFhAow1rExLougAHoWMuHZZsgNwq7fet0Go1pC/sDhikSHz+b5ORxJMflbdyGcumz5xNqiDr3cjs8hEn8M1FDgK7HK1e/KClytSR5+oC4Icnfyu45puSyrcq2SIQuvHxz4cu+lanxbXsdEPhx9WtsYOoMHZvnhS7hz9BqUjoK4SFEGsvdudATBfBiX7YkGl7uhGo4yTnq1QNrEkEeGLNbDxhdKuaTXC63NU9IjNjkcGUtRGA6PxL3tu9FNrM/xJnh+lOw7lOK4PpiOcyw0s3owsRdhEOgvaOg5BPgY7efNyf4DF5iWR8KHGpf1BUMf9oXAvkcyg/lTcBxTiwF9bHYd6804w7MU6tMBjAGtofbtTUkr/cDxo0tVaRHkSbirYnEFFJU/AVvj/8qPZk2vgLD0PkTkjwZF/PLK57PUNMcsvUaJQCzUnl3PhpkUBAPxcbtvH1BxP4/r4RejQ9BtMeHD6oBw0P32idoaXC6IT9AEW5L4nWyVWZFS/dlkSI6G7BmE0Xp3aIuMh40JGlwr+ewE409csRi6sRYI/s7AomTMBu6E9mcLNif45lhIHmelXtqi/s0o6Q4NutBtIzFqvFB8ZjGIur1roTclabvWQdcVramKLWgeaL/e1/R12JrDWkJLTZzrt5ToFsP29cbUPA8dj8H2WTN6gz3nA2U48E7T/KVLWM8Fdzq7rFJ8CCBqgEADAjBSy5GLTJakcFVAku2zO0r5fu4gxcTC4Suny02OOgxzjULYZyNS2X2QijDF1m/jzMd/SsiItYXh67Au0cuUu0Ffa9vFvs3dflSLBXZOq+4Sl+0IDHCbzjyxFpQKGjjrN8o26ReGgs9MpsaGgMj9Tl3L5RwroBAzgQCAcXuv6m0mFvUCrPKMk/Wb9gOGo69sSwrGoiSP9GsfpfjdiTEgeXUcCUQfasrLlHTQ0vSc8+iYj6TZ5ygiNNlHiMP2xj4nbKv3zqKzAfvVgG2kHONMu9waPZbck0+/wFqi9coTgyIFs7xeJNdUzDj4wBbsvVJmk6imT6zGBdgZhKmneLMlp+c0hwIgOd+JIJBc6OClmCXl4utafu+cLiAX4PSvco/Atuway92QvrK/Hldld6uIPTaXA0AX5Ko3HicQWvIp9/aKxh5SRSN8IC8/kykafna2wnl1nzjE5yv+y25rlukHAOgKBsiEN6TeXO55CuCGEJSlqCriKh9KQmpvNlOF+MSUn+07sZBWS1LBpquE74yKermG5wAp3695Ex0TWtPr5YprHrHwQ28GwsW69GIm33b6q50eqcCSb9JDZRsnGke4NwWnItGPX/OqLD73FJlZO1RXbGau3LGCW56e7bQUTxLzX5sGTFzAhqxedHy7yfLXJtsclcjwn7ubIJ6BbNyqQZN/VmIBu31GHWyr8OidMjyEiBBDaxbp1huMDg62T3MiJTWPbKD5/R7TIGU27/WUeTfVYTfZg+dHfwWz3PbErWCzmEdtDiDgg+mSaBuY/ILFWHZIo3cGIIDLRtYq5tLfJAFW49WWa+AAC98VVwbbxUkIfrJDfJoXJhcDGn9qzg67BBlFV7jzJ5V/FNeWSk4uvXqB6Q0AENhFZNgOyDtEfe8TJXaxfOxGqGY+472rol+BxY9wdC9O4+scER2DLGCStfE2n1drFZLD3ueGoyOYg9m6oCvg4jW7dmdHHpPHwG+eJgllU0aKyeNHloDfKaEXEQY9HRWJ0dl5v+HWudD1ZOr2Z3XwWY5fgsLDR9gbtI4cUAc1Q76+ZSPnXue1cKDDZAaOXn2nurvp2952mJRV/QrQJkr0AtuP9C28jsoeE5Z0IK5fPWKyGkgaliviGDrbpbbDzHmSkOffQYraMOQRP0Px65h0LlnMFXydGkeCZI/Kai4WOpPsMwPHgc0yhtWfheDYYZVwCN+qA05cOth69Xuhrd/2JQ1Qa/fcKH9D+MycoP8SmfV2AMApxloEm+Ba6jOsATcxUyVRdRo2YzlU4hdaiX8ZKXWaTG0q4mza/qlpPqEqa3gdfU13/9X9Ncp5pbFAGgh2iEMv3uQPE1Xch6N+sqmd8n3wThGfzVEVh312UD/quNwoNy4AmcCRvlqArcvgsJPZn5xLFG2H9PuZKpzzzMzzwXjWdZU38eAwyehLl6QUyTk2VT84Gpm8Ub+NmR74NPEawzR1XBrSwkHozLLYH72Fg7swk8cXj2lwDnYqxjOQWF0Or1FprpQJ7pPIJ0d2GUzmg45e/gtMLuhCliRJ5sNMP8AjU3CjcVsBApUqZK813U2a6+Dsr3V3pcW8ey4XPg9epZgTrlYGpPACtkBDG4KjfvlHAifJWVrIK0B32E+bYEyTrk+ougipyc7LLG9M2EPD1D7wNOKd69jYM2sD88T6h3ppGE9SpYOGpBqyXyYgVenEUI84/rUHcmT1J+ibbs+h05eOoche+48ExvFKUPJUdAVq/Mkh7IdlVig7hFwSmJS6486pbG08D+x9ylmOHdj4sB9qwYqmSdKtO296Do/VNeRWrj3sxnEPpQo/gfdoOViSInKgIXU4yRRPzJr04HomGynw5ZsUlgYO4FleaycbQm42h7rULs8iyRQIrvMDS9S/kSZLgfM/c83VrgSzU9pxWsI9jeDXKV73cIwcKMGH0cenq3RmocAvDfflAm/rILRC8A2LfWKBqxD6YcCe4s33EfRxIo6qnxme8nBC5efGjzshKHM2hC1HQMpa8QFFnVY7ROCoLbN4ePCDlFBqiX64vNZ9rQNN92oUXLZ887rVkbNq4iQCXlrDIbM7gpRIZsFqfWoqATNdxdF4W0l/+woBoEb0B2Mk0D+u+ZEH0+gc5+Ab0lSHF0tQLMEe3YFa7gnCgDRg6a+C5VI1xxAG0qLcubwSdXQbDdxIHs0jd6CiBoAJA5+4+F6LbVym5NcPoFiXdzRyH9mni3c4NlQ4q30g7GsMNyMaii1Qb+UXSYeYBvGPBbpfXich/w/P6bydGJRtuAA2gx8UQujAACSZ9A5WjZlBPX3gIJ0x3dUt/vC/gwCfcU6lHTCMB7VX6UVpjh+co7vkPtuy2vZ7FZOOlCQVGtyaLO6nqpRcI63PAI0RvjjLjaFjW1MvUOj445fZmg7EwFvnMj0+UrMhQVEzCNyo3vFQyEEN9E9WUu8QCfVw31IWuwmw8SGp1i+W6F/n6xqCMiw2VpriEo7fUOYWXMeOnpDL58CE7rLttBSke0rI7AAqUviNKetPCnBWvncGksQM7QemscTXYzEMYcW/oFNXNbl8AX6ulAUeXn7xMEsY0A1lHH/1RAyc+MCGv37qvc5VfSB7gXe6U+95xiwoifmg4wtoUDR9U1MHCnOlCd2VP82oKowrBqt6OofW3rX/75M7pxMsQWVh/JIOecZFEY6emnnXwVOBIf7dQ25KKu1hsdnaGu1CSseYEG+W+7kM37gr6pzWpbt2tUQi6G3D+P5FSjry8tL5gIMv3+v6+bOHpwVGB1jKj6A2Y8GNE/63gDfV4REjG3SLrFKLzfDN2T50rF+vyB8r/l5QFUrWMzg52Yvfbm5owh1puRA69L27etCJQatnz158IrG9AMKjDtKOFsih2HzfeoRGetUXMzLkVFomtOevcBzQ+Wo6Gbj4V1Ovr8gRUujG+2PjApoghSZLG2hnzBf4vtl5vtprlPJWARwufgRVk1ZEAjZreifU/YshWG+SF0958wm3tV4E2G1JzkgYHKvj1+jObJk+2vPcejKes0EX1xoLId1UnNSJOl03ikAv4Jr/w2R2huWrUoh6XfeJLlovZN2ybWIFm86SK5VaObHjuy7Xr8cyv8mOy80NcS1aA3mMOP2zV5yh32qBHMnFXmjrjYB42UsR6vlGGSM1S5swHOiQwX9TtXN6qGh+KgenwU4Yl7iHY7NMXhOt15o1pSl6rqbGP2dCUdfAdIe1W3xA7TfPSUGiZrRQKqxFsVIaiuul9effN6ts5XV6GYorBj7T2lx5fZHP/odHo38o0erInNAf6F/74roQ/U9XE1OhHhErkNb9dqxoT8f99jrPixr5cvPTp5kzEJF4OXiXGl1sdRFqpk2xNvz68fUQVkTs1+7I4IwqgKnODkn4wDhkEM0gFYTFUTSKDMcRMq2gGFP8n9/e/scAV1nWMyxw7dsii0Ru0BPXu9yYn9uhLIilmsulz6FV82OTM6E6rZxFdw8lahsmj0f53Sgut67pTDZV0k6ApgjdY4kqYw9F4aXzGHVyn4+KWOaVBhR61dgAQqqRFpjCoKSnm0TF2u1DxHSYJ83KSHITUDGxPcF9RBroVRLKxDYn/OwbzhI0NgdsUytV71pM2nn1BAB8E8gyCw7PES6NK9zOH3dbXARB3LX+ZhsYWZ0Qjfp5Gey2IkzBQyBKwiE2skkvs+HCb4elTxQlCgtF0E5AUZdJ0Yom4eA2L0imMIWJFq9OHmwqBf3UYk5VcP/Du55Ph72+/UcE1S2OMyxWXEi2T9B+cfBHjgZYhTlwdLX3TzBuvAzqOTNXvZhtd/yq5v8nTgWuGgkkrOcpme9TX0vldZWIBWRtLoPqyRvDmK/1CO17hXs/ZO114Vktc8SCHbLn/RQMeMDMNCfY2+aCgZf+I5XLp3xMsk8YphToIHeo2uVqmUK2tEFUbIMbahZqSjajERBi6yu9ufpZ2sVDYCCt6+ooMpYamDfibh5tY5qgMWLHJ6eLTCYIfLtfsByNok4/AKs30T6fZ47YGWqalaHCEB7FKTPS4HCQc8l7B6WsYucNyEoeGC5Kf8pRvaCzGBJlZCw1zAQISxPIlmudjZ71+cBI16vkOJrYhy8pFlbrii+gOefSxC4RGZADagIiwLps45Or6rCt2nuL2ZYBHUXf1v38uIhA1bN02BOjvzCLqIsvbtk3NiwEfWlCbQ5wv4vzpzZWpbb27cvx1aEGXgsDI1gSv8f7ZF0Qjq+t33RqCL8kUvXle/C6tLqFiVI1F3+HyvY2n7G/Jfs7ETOyH/vW4F6wnvZraiwF2bZaffC+EHSXOKOydQN/8I+BX7OKlA9FE+EFsS0+lBMwv5IY39IFJRBPgiZedbJv89T6Mgg9TZLIkg8qrWikaKqqv1dRPsxyg0IeOxT2YlvzonBl/I5g+pAkNdGHknE8gdgyTy/sldtESg2hYV30HNUxMSD8kScVjMDBOJnNIV5OlhJzk8sdCj75HcxfXGPVPzL4ZZFN3vsiGQN8Yq/eaWf3ercYfaMRnh+xVJRKTsTTGRs5mAMLqWL8bOUzgCupCRbcjfQEuH8rSEZ8Gol2hspFeXGLd5xuEJMbq3C9UYzc5t3hvi+FBIrasbv7cb2ClJzQU4mKM1E+zf0gv9BbfkGrF/VNXDcJ4QagIuatcB1gQ8Oaf8a6vzUaJ5CPMnCsIO0n6CKASpp1cBmhz3JyHLzKnDWXCXjmsN4W6Pg+jZjot/Ly9VIfrFHQJoZYxKeidnp6YRGz5EdybvjswY+gaqG5B8cAAxMVXRRuQQNgRC89MSlmKoNs8P2zHqX/+2O06qlFXG3Q334XV1zfvle8RqovT+0WtiueHsMyBGfxjCKFxp4tDnnkUwXAS7JyD8RJQrcXWoheNQCT0inBswmWPvaI46bKHc3yfwEMqDNJF93vyIJV5trm95WHLHGB/6wv4U/EJSY2cuSL2sckzPw1zmZR66Nr7hH5KybjQ4pdzif+970srXftnyx4y3qi02Pfeq4kuosJMRZQCTKvMcEue9FluV7moBrgsqXAYB+2xvUh1W9pZWwgB0qs0n8DGl2RpLH+dZSJnk2V77/GS9G3dws2zye4HyzdmNBNNHh7K00COyyN/zcyBw3Ux0HC200VRz4+BH+QDGoslgMjLVn62XkU+ECJDdRyv0a5dqbZqH+aVaJFFxgnzozkFjNIjYs14lcmPF0TVB9qWhIo7zV/jQZYHCGTlyfgy4HuxGrUmrelJvy+WFK/EzsiEoBjI2yyFO96wXUd7FBrrHnEToRTLTbsnFs71fQ8wgCMDCeaMKf4whuaSBdEqnU1Y+t2kH3XfhB0syBsQtAjXNBb8kfdWt803KiqcfRCM9n6dN327MJpERwMbyhdPUKs+Hqd0CVavjcy6tXOX9tXE7MHPLBp/Rzto9UvLyTKU+B7y97FhnISaxcY94ETHW683Kgs77tg8kRhbo2Q/JPyHGMrmQia0g7FVsgodKeHTg+XzuT67SWNh54rMAKQA2XNu3bFIpue0y9JCDUy0u9n8B8ymWxpbfGb10GhF0cT3LWsjOakxQykEWo1JquTTzNCZCH4fSqXYNB3lWoaaRnq/bD3ZFkpM8jaA3KCgledwgkF9G32yBbXgZyrSPmHkKJTRhJHUBx6tklDnv8KL2CmJw6BnN6NrGfN/2MyX/cxSzXFumW2RibXWSTDoMKly1L6bhxBg16b7ttT2aAIFt+S/gg2bpQg7ACaK18EhZt9LYWPnyPR/hRt9AB93lKo+lmXgDcrYANyaZZSo/YGTynJjNV8zpf6zihZUUfQaXZL5l//hrwuI95x5i1IwiJ5a3+Yc4pAREQ5zLDKXwOVPEDceTt7OxVMC+yB9N4D2W5m44fdaiWwZRHbpmrK5Ux3kBHn5SOeZvhG+sQk7dy030IFO2bif5IgFjlVGevqCWDyVCJzh0n9gUMUkJkPHO6v8+kdx2vx1GR7HWAa8GvGJOb4Q1SsK0e3wixA4QwjzQsZ1CWus3EB+yEEE4KC8d1P0CSxLHmkGCl9egiXbxObbSHYdNfT8OlXqNJW3XBZBrWcZegLP/u+9/glU1S/Ak6x0LXy4xfjD+ofs9I8waizWfyurOpHHPnGee+TBiDBVDmMGp8KUOtzBGH8igM6v9c7xZ0buR5DzE08dFnDQ1FdQxNG+A52eEfubVx3lEZLks6wv3nkaO6TbEnSQGCZtKyOHEzdHkTBvIYW8wQUy95+/3wMxkWr0Ub2MJzGPoBo7Q2wFHnLXpQcilaeB0/ZFXlfT5+hnrn3BL4e2wQxpW1g9CmYClhTcbGP77m6rb1gnkHOb6PsR666Iw6r8ONgk+0qhbo7PszAtcrWoQDu5+QsOnaapVh9kgfRSPaVXjfkJuGQTKPPqnTTre5nyJqSdltzcmC6s8JNsFdk4vUvzuwkpzyu7ajIxx3TsviocAF6w8G0m/rj/ZzVMt0nMCGJPekB8Ks+g7/AK95jL0gyFIYL6xfjvACWsidQF+59ihxkJEzEG5u0U7bMCn9mOQLmP45h6OyB7mE/AZo0tUMD7bQBZzykYsNXUJe0lVGZ2bHKPY5bO2bQ8CVN3TKAyohVK17SXF9KxpYTO9HyccICoe9LgVoMLcCabxvmscO5U6sNfiGucgoM+QiGU6c2+Nz9kgVye1yqBEWfeCKAaG+VbbRWJNsKTCc/qtm28+iFxHAhImgVZhYggXNcbkYueWp9VRBJDqatiVZ3OOy8X0QeupjttfUb/RxO24IrNnRacCQmu8RYLWAyjCL1xA9AoEVM6atONRDMkREh/KmA8BuaUSE4EI0FQBNTGB7tMaQ6XwAx+OjYyVrF88u+jvfc3bzVJmHJrszuS9ITOQFjCqVYLYg00HxFuxYxaCXTN8NceKYLkHrArM6Vsm0hc1P5zr4TC7d9JCX743t6yMJcOmMvOmPxj2IMBMQ9wFUBENA350WFuJlL9z3KCnuve8+ZHeZzrtCGLYAXkQIWEailvv7aI0vaJ70Rwf+XtZvo1POTmG8eALFbGoKyozqBsexIFXW9DdcuqKztSaNTTUTQ80slNdK4QAz/rZ7N5RNbKnRf1Q8nTdWae2dDPsR57IMm8eSp7MCpZiMyNI7qGcqXiUQ27mciXAtEkfZ986rMhLSgTupEx8rk8eRS9VMFga8A2e1pUEdTdztqXx4YdmDHNBaLm0wxDybGiLen44LXTpZnFXvNdXxYiJSxt6w6xgvDcbdnwMR4DhMBWXiYJIl3ctYuj1q8R6A035RRaUPWRr4I/dRKU2kF0mMx/FD5TCWJwJwF2u8CTKjtlmYXpOGJyMs3djmXqhTUExi/Dc82oJPhmsafDVA21V4B+/mIyVHdMCwCM/2jmBmBYKEvysnLvuJG3hdwRLY6T3+oU0MZWDfTGP5jl/eASjyWopCDqTqcYW9CnQBmjIeOsUqeY41hOumCIizEc1GCztt2yjwYdAph7CKPAGYK6dUBRye85lPFYlMpfQpuC9NUSF3fYS0po13uVACdewqMZhfQmoHZ4QAmNR5aonH8hpMqol6dTEPcs3Pev2Azun6DFjdFX4TUlSPeY1p1Q6ano8JqYD3hpvx/RArRW5qjfFkScVI8J4a/qAfceV7fnH0Q1XdaM47BAnmaXE1iRuX1a2zrzfUDXkYxvGPeFmLIdfqpwbMkCHW5Oi/cl35j8ZMJ5efcmIgb4bG9xmQ8VIB24Wf+gYw4wsWeFmVJJKtb0fWGRf9eFcnAUz1fuW+CvPgTnTgCl1dSGx+g+CUlIsV5IEcG6CfVm6U6wNkC/6w4cVIlj0MtvFzcSewyxKeFvkW8qLApbeWJHbiICED5tSzFAyCZzF1Z8mN7iGEFCEZZpGBszlbEEWxrgY8CXm6hutOxrldZ135DqO2F325liTV6yCAwREM4kKOtg286aKVYWecdYcDQQehsrDy790b+hoAVTDOAtEdIR1PTP6pkskpyWh84KenKU9gkr2TbS2fQFBGfKxnIoalKV+oKlB92H2YDclY0tTgNcofbVprONFzWGq++oET0zC1swQcv3VO4ZbjZvJWzhOlkXuJ8tbGuCeK4EtiJWBrj/IfeH9pMM6s8Xe/mNSPR1YFNhLB+3rzugNkk4sKLahM7MhGv4jM/LEdmK7X5SKmoexEWWb9mC95nUJTDXjWL+p16OFvOSFqKbVwhrZGeMFdsypsMxENuape8sb5y/ZsQfe/EimsHOUQq42iUkWj0O7frgpRpkwP4jKtUS55QXPNGw07Mmi7YhxG36kmVdCrl1dEt7VUjUCD51tMQbEx9mfYWhelElEocYmAoFI+O8Lqhf6N4Ls2j3s4C8dUesWsDxnhLouIlP7YHsHUjDQSYH4/LrYfJjrwcBSQdvYPGMgh90jjhAaLKGXvpw+4NIpXdoCnddvVQsl5l4nuNJMLt8znWcukK1kXskHXiUXUr7iu1sJTSGUqzNR5JD3x14uQV6r6ZK0FNR7IscnHrqT66rYuEg08cSg26l8chrkDnJ1O6F09ME6zlT+9L8Mm+j/QuNY6IfVYEZv8H7LfozB1ZhByJrXEOorRBpNRh8QkBTmcIzERbj1xC3aHk6H18w/DKBH8MW3MRMILmgTdKAZEy6GcmGO5tMBz8KKec2vQ76ww38hMgHjA69SCy04cq/vUUPqgzyGOuZmxS7jEeAsvFmgJmhyTRuVVVgzyXpYBccjMqPwowgF+RnU5grII4Nm1BfiWXuFtUThpkN0LTEjEUrh6vtIFQhQRw3CSicBcC/WjRd5s16dVrYae6qc5mbx5qjRLhrN9FEsHOK98L6zf/iPjB6v4hVctmKvldLbbuL+9dErHpdEgCGFmBim6YsJkSNsDBn/l+Osd9wf3xWfNhrtX12VMSJJviL2pbT4c17GT/vj0NJ9WlMB4Bkbe8yHbwCKzFI7/MZWrRnBBTiD24hyyYEN7Qrab6rgNaZXXRYvzQcjFLC/92qmFsv68SacMVmYuapNFt+TtKZHdSNJJSJ0m5eWO/D2oSAaig2CNnApmdM+06ecRt3FgLUdDYCbCntAQ2LSrpVKFWO7DCyLaK09ZO5Riz4vk2rNzR45Oqzh6yQZqtPTEIABiUN/NNMUsx7Kg9M+sgEfvdJtLZOPEGlf1E5R93kmHLN1JhS1eb2scwlW4sBM6fnZ2jZLY0Sa4PDY8yXSlVKJTzkrkgvnOVPy4Z6m8dv4wJfFKij6rK6gkQEX2ebhUwgeOrIcnUBh7YgEMwk31fMC/t+/sXvs6MX4ARgHIBG0ZQwZTkyHC4QLmJW6+F8srZEwf4qypmu8C4R9Wq9m/pEaI85231FW34ePz4ocpYV/6+ZgADlRd4X0Kksh6GqFQzB/A6DsT8F1vxZWFCj/upWuH8V0QsltSuYvMGLUSXF4RmAkqYt0Jp4NT/Q9Vz+Y7I5XBEdN/S4rgevT8NyOZ+yHQm/FxNvQ8AomwFiScc4qHabgwhBUEIFYLmPfqz6OyXEXZztoTme0ty4RMFMV2ZxlJimgp02FUfPhkv6se/FTRS0eAYYzNRlcsN/AtoI0FlR0NEUCg0zick7MXqZ7WQiSxQPS154qGMU0XLDKHVl+2kmUZlaNlyne9NImfztQO5V2hPQA5sye1EoMK6lOmwXvmpx7H1SRoytsAz8j49IYYe4Fm0meRn4VQ5AJ3s3rywhxbC9TaHPvjam2ViCDQsd4fxVecwaKnfUg2+ct25kXVWHb891jOJ/NUweKqjSgyJRv72lYt2hxtn+iU06StwwC24j26HsG/7yE+0THCCcgUwHMPOUSn4eeH9ZmuublOlB2zVVTsEhYoLklWQ8bg3j/gy2Q0McaKWm0s80lNO3Ejgb8Md6q8V4Aqj8g8ANnuN0yaqSlrnCAH96Hgqd6Mj+gqG2IryXmw2hpOAEkcRe3ftcAi7fyZuJwHgjlcqWwo4VIjaf5ZybmfSQClLujB+me5wuTCLcShEE/fXl98cs2nfLGWSyRiaI8P9mznIe5pJFWtf+XyKLzQ5B9kB8FfwxPs7Ju5xEvT1iP8oSxMLS298K2u47iV4y1OvdOcycpHanCqeW2iP61mTY5PygqMlzy1VCB0siL2Ag4wwS7Lb5ZnnKcytZLX3yEz/TcY9lfzLOvc4pfO8ePI/UZOIf5sH9V1hbStyXEZXemwCvilxJC5MzZ9aJVd/UJZZs4/35PqOgvMbfyWElNxSl2smUAXuFjqrGAvIeIi7+DTa2aNxVcN71cfZHnpN6FHw/W8rxg+TWKF7BENn1x2DTypAwBshXQlRJP4bjATfd2AMpwdTUVofiptJjVWFAHaPvXPLqFVgZebUmaJaEqJjc3gcjYGhdiZ8uCXSdBl7a5quMP21rVnt4iNGi37LGPtXVBhaH2Y0pwNWLhaUyPRPBl/7Ei43JSdY5nl+V66mrPbBfOt31AyoTyQzDHQFLqN9qOSY+fcFJaaPCyigk3a6RMhZ6LU/D0V50+rhBlr+Ygn8Nmx4Vrq0e4Ml1/SAwsrsrfWXoTSDUOi3kHV7q98KfPaIDcGyDqbnukltVckc9/wQtFIKeveDH3ThWPguz4PhA2Q+FujlyJ2nGLplScUdMBsSftEQo3rIbDzpPMmle4e49YOLRh1Wv1Y7uFPXubYR7Cm2G6Sp2zpsSOuJrHQ28xzOZQYdZ7aoPqxP1edNdtYOO70bM7VL/etDpb11L/5PYneWPm9LUn3t13kVG2u7fmXSPpXw+0cikN56XlO4fhZqvzITiy6+RtOnsd/IA7yGuto36CiNcsPE60Ebkfhm83RauX5e2RNkEzCjbqKkPzyhIvR9v6OSxD3iO/fgmFx49MvlfULbXSec1sQcztSK6skvXIwlCCQz/EHRK7AViseE0bYXh5XT93b95QZ2aEpP4keI/xh4ijvZ6cN86Ya05b+rqTVQ5jGlmd6xf9cfCw64dudMc7Fa+Dd8PlbAlLgw13IKyueitqaEIG/hT3wpnjqu+6YY/iqau1aDHY0yAXxZyJYqWsCiMlYYGG+zzIbYRPpfaNZVGc3wTj1gH3IXTs4Uu/tnnQjexvwAzVfLkIlQtAISvpxOnr9iqZ0SENOy+YoyOV246OZDkcBp6z3FqD88J0bwlPmHjF55l86qfXRg1l+OUpfnqFeLjy9qiyL5fPdFa2qM8oQhsAb2GoqEEQxZ1ZgwlNutohxJa/fjZhh6t8xRe32TguNPQu/YAU13XdAZxAhvFF9S5S/He4pThWp2jh9FdEOfFsd7R5TC0IMDoTrJcogZFq0mjcBdV+dySLgBwS6fnaCKDXIoDNTyefdvtDcIO4x3dUO3bdqe8QNaSrwjjdx+r6wScwD2RdkSMqqLxgv1I6qaIQUme7tdcbgJ1w8bOE8q3LHdoe6YNYMXLs3I2MMcP6lfgifpNMViRV3CeQhJEWbt+38BSSI4doGYc5wcs8vx7ncv5IaF6BPsQ4I/zwT69aniR4j3AsRH47ZgST3a82m1qjAZvPg5IuKwspuT2g/2ghKUNEAIV79/bEl+StosmINTHQMOxlpXIsyBiXdrvU3v14uqDACDSLCLCLtXCxJtVU1gCOMZpywepkneOb3rObjcD6crxHctbwmGfgTLwL6sxTuvLe7epsG9btLzP6nnR4JQeQXMV6HCLdpCH0FXwoOW13ptq6VrjY0dWbnmVz9N3GGIY5EL+FSPNU8N9tgFdzp3P68SlJ2xrwqOgjrlLk/RE4MHh6n2pecgdyiWxLWh/2oljbuzNAx/QCJc+xtrl8e/INMNgeR+45vaTUfnMWapbPDZMfqkzkqtFPl7PRQGbN3UiaqbpmXnAXhsRu+CCnZqeuorkKcafTsaySH6tONFMweQfUaMt+acpIpy1fRgZqLgeIV/tbU7uw1Z6D7QQZKEVXKgGlohANYwezzY27qrvsYO3u1i3Rc1pm3QNfKWWpgqoNqW9npgR1YWs47JzyLSfHkT1yGKS90Yhx8NITqwKaXV4orJfrq2CPgstcPZ7nFv66EbFJe9h7+GN9AMwNO0Fm3wt7JfvscQkIN9hJ8zUZuBwnVaGkde7seea39a/j+WHKIhGdLl1QPJV6KXKvpuzcR70mG6il8UAKNFi7y+pe0bdwn7DqDSNIep6v3dccndf6ShRbEXMJ2ThLTQw9ZsQH5YK9l2Sj+p6O5AJD8vPjgkupO4phj4Gncq0xiBYc/1QMj4R0t7pMTu6NyfU8XP2qFEsnd975mlAC+4euvqacO4hzACxCTshQJHth98PptNnKrwNpyQQ5WDVOZ+eu1sZ4EkDGwoNilOOI4odi5LPfJoLGP0KlaDCC/FATeFplYjlYoSFB9YEx0Ygmg363laqsVnf18gtmBa96N+wnYNW5Icj8pfuKPR+DLC/lQMvzY8K06tdzF6B+/2zLABREayDMel+Ch8cRyzgxFKxmwX7eFhxzu3SWBH9BlnRfmp3L/pgCL8XwBCnST94Gm0ZMnapOxJ8ZAH+vVpKPRCiSYVtQT1lV7PRZxkBWcHhWJr+cILvnbcb60WsH27b9wUuQB3YzlnVDbnm2LCKumEKNh6zouDsFGrWw1JV1XDxjhqYNWqpSCpCcITKpunbJQAs+kHXB6wet3+T2CRIn82UiuaYVh7TB1VPaxZ3j6kPh5rDlkH6XgmEUfFiDgBipgk5lEIoLumDV32N6U4EUf7BowLYfGBrxidwcTnPS4arPBCWvimEPXSxevJccNLjkRHKDP9x2tx0kgbLKlIAI9ua4No5Upmq/CsHR+BwiCKK9MvEznsd416Fj8d0GwUMXPPjb7aVp+1wpmYtvR/bhiFOV6MaKY73qlCShU9lhIOHUw52Mg3SNcLqZFQ9EjU4Y+r5ARFNn5B/Vpyui3f9vLVypz0L8+4VFsrm7Va1l/tle5vFRbgNVJ/CX33u0yeGkL1rLGCrvVcsMRBKMuP8kUMqWiraMtzwDe2dEz0O4DDPPL9Pzd9NsOdSzd3lttQspw9pS149A6FS92J2Uy7A8GElb3nPXI6+yAu9ecV0dQV/rLaBjsLmllCTb9hyVeE8bx973sc4mBt7hkL3Oe3ABh5RN6CY3v6AVPMVOEFFhu0pR8dIMLhWA8J2S9C4zrND/8or0HEeCRBxocpsbr64ynP9zzvVIRoOfhiZ7n07WVCMXHn/g21SmSpP/1C6Ly8sIiesgGfB6YfOFiqB4QrYGBIZncktLLac3t9xty2tmrHknpxGI673svb2PtlAcahou/3JH4W/NOo9TIkKpfWpQc0qFaIHyWHek6pLvQzRVeg0CL/Nc1TlQHTvEgmQ+kuURENUKMFd1yZdS7eKWloQS4FPbKhS4Wr2a8XmmsT/EUVB3qrLHXtRj3ehuFqrwNJNmeKUboCxfcu2AXwOXYdU0tC0BiUnYMTz2CG4lfv5SDIW4KASUXm+3y2CmQcCyaxPgN+8jRypGd7Se5qfRagv30btUAyWRj64VJ1IREe7/iqcXe36sW309DMX2BlZL46VvjUB7t5x6S+GhKvLhNNVMTCiUtusV5oEzgE2GrwI4RVsRCKf7m9ID1Ais+4BvoYBP0IKXkdMLjBRqukjiDnHNJbV3+o0usJP2cWwHjVq9E2cSOM7VW4QAf3vLuwM1NAiac1ND+bIWkLfgsQiQJtXt9xu4LRsRKLnMoe9oxpNsxJt+onGQgjHvomt3JnpGodqwrEFTGTafP8kpXs6aWWxrzwUPcfwossETC2xXYkEdu5jTf0AGDPV7lx/0LmXR0brTokclBQq/+xMjf01Rj6DhtIUhVgHupIL3dLPMdAgXk3pgNNohTU+l9VGnJXE5sYLJmM299RlMxwl4/CVQ7gl7d2n0O6drHL4S8qDlYO8hihkI9YhABeFDiyVcn03V0wEHBLtO7UOu40Sut6n2K2ji1i9GLChS7fhmN7VMsi+kZNiDORNS44Mue1LkMofziMm3Itn7jXSqf827J95F7LLyVESEAiQ2lLuXdb+h5NYN1mdKUjyBzX8s0VHvxyOqwYFxJoXN3OWC7E11vTyCMe2RtU4xqbb6dS055vHCQ2bux4k1uoyP3SnsGJE30cN+1MrjDrClBsdECfFEvcbnjJDcjdLX0EIxq63j65/BhONe/EwFPdWWXKliArM0tpiNgWxVv/s90+ETPnJukHVJII1uzH0xjCdQzkM+LYnIJtck2C6kl35uSkx0PvB4VBfekKDjUiQmTVhuDftnsQNqrAE4OBAQeb5n8BmDRugH6m4AfMvk8zcpQACZd+OtPFzTnFqewLv2K2if5YtMX/oSRo0nudc6tMCNel+VZeykyoP1nuhxS/ujMWgag2Wge21e4Rr/8d54wNtPfH35te30c5DWp3/dUwMotO12ydEXx1eHXvRZnjlesvPPHxa5kFBvBDEZfWEWRot7so8Jgqqe8flAzh/IHKepVAwLWwcnKihSfS3i/ipffrgLiOvuSyP2igOQ8xQD0h3bjHo5FA4F2pFWfgNzZdtOlsdPIBlRvQacrALayHtBEnZkPhrMIi3C0Pwy1uiewQav5lBRVGiIaCRZrpiRGHDjjaSbZSVIDThwNPrGMughhAAy5DB+Q8vJ967g4zgJ3JlQd/kTBkJebNS+YyigbMhLNkH8sqQz1JmpFGW9DHaR2I8yqMD9yAg6qTJ7p1Lcd5evhHo2ZgyvpZ5NoLEYesKsrYtKmIwNr93YxEXnQvArrS+8TITaEODyO+RpstTpi5BFsb9mNDgcuWm9FsLcbiSA3uzNkQjG25GkrcHTsGNaGNtgv4Z7H3C2nm4NxUYduMxpEmGT82HdGFSUUHCVClDaSE18mbNiz2zsnKeRl8ScWzyiF9n+NIpeAR9hyDrrs6NJgnoLohuhsbfqolecvxoGlrBDFJmZeavpyaTmsRC5D080EU1RED5HPwkrUnUik52C+fgN2INlAONOjwBl6hQrN8vzdLzxV0EhdkHY/XRw6mCkzJgT5bTVKEkTeT5aO9V7m0nM8/pc2xw/VxWL1W1lk8efqkIT3EhuGrq1EJtxzSpkAlxj8cnkRViJ+x37Z4oTFVi/u3LVpsIIu5MqV2v7DmS7OaLn5Tzk9AqHVOaQ/QccwxVDDaDua3j74ekyE/NWaWw+ofJfTVzjT3CzyJpKT5+bJHyPFTf/Q5I0YcobaWWl09RWSqKrRJLVl+dCGVld8ym6k+XUXZiDiOOz4wrAIhdMRlF1ktFdkHyWStt6Dtnfm+vjzY+4LqVZgzGIpvKr7LXT19cPEaYrjku9Qt+ihZbfd33Cr7ym8Ef0SM9dTKkB6BncFk6Y6RjgjHoJbjLhgTp1Nz4df9JP5TLgs3yA7YFHGtQRXUBrxXJFY6z53zJJKNWnOkGsr2z6tZtdJXqPIyYEjdFXHqXTE9utGZbORm0F1dYgrscKxrpDcJ/Wxe2Y9JfXzenLO6SyHrQHJKeNZ1u4sqQseKA6s2N4tySV9uvW2+BrrziAueqn/bEKfFV+UgmoCyt5la96YeJnLo0JtKLSiMmC4J464sVJ8RJ0+c2Pb0Xq3vjjqLpf41JGlxSNOpL452mBybC3FUQCfud1ZRgGuzPfauKwK7a6WFGv/R9Kwao0qKe0eP6qXgvWRRArlZ72ZVZe5Y+nPCSNgQlA3RIdNv4jUVmBEIS3GIQo4EmPBxuuqvydMHJaYEmVvURceo/X73xDTRUMNExZpYE2Dlk3WUVPTHY/jvsznQxQg995GzKEaSUKrKPGpZHJlYQjuYXy25x0RwL2glSZZEAo2sxumD1lvP13kRP3L/xY4jLusfegfLewNjLETUz7GGaMSKqhL88a8BO/NB1nzrYCf9AXhKYuCZRg0yh4CubcJQN4SpW+GcqiY4f6gNxIL13S6MPxkAU+N7MSuq04eyKvxIE7ftwAUCz11x71Rz0puP1X7NjcYwu0+wpLgG6W22fZXaXTbpUzbWL6X6s5I8wBb3obL7bRexbXGTMhkwDqtMR5IDDCi4hbuJT5iOd3NJ/W5evSqm8Jwr4UcPpNGGq8+RI2x4TVozFlAd2NwUG8mebZ31an9c51b7e582rWRahjcL8x1xQtLtYjH5OLCmDp12fIHd2tgZ3WUrFDjDa+tgmF4upvXgKkXYVskIoWzHwiIIr/nVzZ/isb/VPKdVbFmbPTUpapArD5CXGmjn/uwzGCLh2IVl4YTI6xBcwuyPYEmMFJpBsm3HYTLswR+im2jCdMVZeQwcoQw7e0SzPZ6WIqMB1IZLaKBR3Kx7dsterxMf9GTIGqXoPK2P4XGb5vZ/SQR5kDzGUKvzG+Sno3E93rMFUJIX6GxE6NnJHvfo3msgJEE6jBDh3b4WaPQ1jnqC7VDbQltF/HteSuldDFJJNt4x44tJDoQ/KPZH7b/bhTyIPJNPREmoNZzS29wvyTh/f84O+0pYez1GgViastH12f+N/Y4a/uIDWd1T5qBM2KkrjOFO2o5gLo+A2T2s4UOTgMF3ub6IZvyCU39lvvQVNe4BCEuDpzrCRYT8PDHV3wlOulrkTpm/p1z2L1INIGxurzoeNwv/UtM/O3e/wVvhvcTnI+FFSVBalSg46U5NBec2afYuOdi/VbAz+cjQBGxsjCWyUxI3zyp+JgYcz6HXR79T5OjL4DFpN+7ClvP1Hnv6w1Fmnu4tHZVxM3GpvvkQLIYF8PgKuavYmNKtfh43VYX42a3Ft0HPbf7qWLxT0E8d6TE46MTNuR9dVNL1aie3+FqR+wRuQZECyjg+a7X1aXp4mHYgl9nE/nDDXbYUWrDTKLaLT8N4RN6dIvzSXh1fGlKKkLHE1+PMZtDTvCaP5wcMctNYDm6nm/bzFiSBvkFeP1+goh0GuzO/t45tgqROD2UUI7dwXW0JjReo8EeHG18Ior3YYz+qPbWiuBOpHwvkkNCLt+pfuJ57e76sU+m+InogBAY0oyc5lXWaafDMofWcPCBEBB6+u94XTFWmDZNViSNjLQBr1WoJBlQNVatdbbki0KnaQbS3Pr9uFzoHz6UepMyQlojWuJSlR69RD5UQQfbvIT6UHsKw9DYoqZeW1zcYVosQ6O7+WTfUBJR2j/xEv3Di1CKlgtWRBZvAu6x6Q2Lpup9UgjNPFSPW+NoikW+5X6MSbq9zYfx3KwyFQ/UVCjP75nEo8hpsSnp1VvJFm20YlR47VhKgF9VGdoUe4ldV1CXq1QnVQUdRdxkAEFvq5W03da0XYcDEb9TyIgeryH222bwG3m9J6FLUNq5DBqBHoOKRuSD8DHywMSat2bgxgeO6fxmIByjof5qecPOOjI20c8sIFi7DKw2U3r3XJvFPBVeXErnFDrIfI96KykwLFkY3Ifl9T2YIEjTLVN5pFKQMMvaHXLmVRTeaUJwd1LBwGOUb122KQy4bpQcHWj6G7JjboGmb/95FgGciUzAxSOSs+rYsipWnUJcH9gAmMu2xIsJFA4Y/1MwKYIfcANTSFnQuvqFJmS08xIErUsw1I4k3z9aziE5qiJs8rHxRvtcQ7yWPXdHC9qacAW5ayxspP34qw+bOqgTES8+1D1xDs0XLtCc/8PHcegmJSL/CIkMmEHOwPEnWXi2x3HG+AQmdDoDxVQdYGyDwCV+DSXjsLiUfWOLHgooUf1TMKuZaPNiBisyo6zMhp1DEdiRwsunma5bic5Me4yCawGNiWcH7eC6GMyEjOb/cMupGI2oLe0f8qaV9H+uhuXOblRDC318ekOnNMAE2rnCXMCKwqcCeOSMC0J6vpCK6U29Jabvh1o9iJD8bJa0U89gqdngJ/35+fWQ9SKIB6ky5GxtkT59ZZ0nmkLFoS+E0YPc56zQTogQg1aR+yoft66a1KFmfsuPj+LLgWW1EY+fP4rtvCDw9bs3jUdHu9238lGvoeydgmg6ZeFpJLeogMdTpOdek9ev+8QkXrtknzsNvvuYMMz9ZMwqCJATgFgKnqwzOJJAJDmANhOSPm39AAu+DorQUTMO/XAOGZn4xLgcG5bNoIE4kxEEhJpYsHlDH/pjvL2CVHwVHC4WRQkD5c+GvyS+wVLqPUJh9s06OevX40QAL9qTWCifcBR9BYmz3qlN1eHEKdwx+FI2DRAgpQfV2jqOlsSv+CGNTCHPhxDeyfBdHHtXXdGMQsnDJ/INvxgI87PBE+vHieAt7WMTLq6viqx6SDPjGYEy+6uzyO6/PJ3bahYhbPGdU0rIovu380mxQFMQI+zY2Nxp5uhfKW/fWGt/kuGeWicaqAwNkp196GMz//1I1GoxJ+wxCgVoDBjCYx2q2zrXGvRbpxUd8cH7sFnxyS4NhcTZb0Bl3HrRKuRjEPWRDvnFSOnwH0aJCndYDITlYs4PHRrA6CzqHpgGmJzi+AFhsXkLYq6MqM2Wrm/ykH5oujjDkOUGj2E3GjqXCqak0kuD/tAOnNHW1HOif8R17Eo4UCNKNRhQDU3fQIjiHWCKrS5k6zJxpnkvoSSSVDwLRMiD/bXaDiZvepCg06Wc63BTHcCKtsvgdRcfEIZRql1U5mKVwskFawuPk4uFmrdCGpXwlcHOHTebcJYefXGyQamYH4sw13plbpvxfdyA9zhVgDjBtYcyn/twdScavJ3udmMuHAvWMpkQ760KKyzi+cjLWZUtIzb3NyxtnwOJWds2CpSyNXLyOJgvPhA3W0WlHdavl36y3Hq9z81pWDcKqhBQr6XWNGwkwrphMQ/Qe/gufpeaiHDlbHmH+7VpwhBncFawQJrow6kbHe9/n2M86vGD84uR5Zh3YuGH7fiQ7RH+Zd5rOZPBJAOSiRpXqzYJPgbRZ1B9Ue2zl/Qaioee5pOhYU3c5BxomMKGcv0zUvg2mqlwD4czZ0HKE5fNprjbHSHcr4lDK8mv6k/eTa3cKbv/30rYrp9Zc0nCMKckKJIFXHS30/g/MgjeAFq3CZzzZl5+sKLUGZdGiq/ArdSA3jHVaeIUhUXHOEJ34T4E8S3eWEakDiZJHnVg8klVG5fRF5Ap1+MTqjD6e9T8qDDs1kj+ghfffzz3UwIvNR3id4fZRfRV8ppAy1O9PK8JbJtClGI+l3XM7ZIGuq2dmZg81604JLTQTTxMhO8qHwUOM4N2lgti0UCINCYa3g/osvSUpntnK1STkKpw5p1trNtwPt6XnwzsbTiBh99k7idj3iT0rUnUf8oqdE5Z3a84AyLr5lT0//HT0BDeOx/meDrCrZy3/6g7a58aR9aKZHqP2KznEEM3wuuyKU4/eevNVFmAGnhQ1joDv/7Re0/Y7/4IOF2ElZJZKTmK1p5ZQWe0/wtceCFSukF+mZr7hUCfj+WwbRwJyDImOAoW4KalTEtFBoLkebhK/dpo/fZHhPyoiCMmoXUQ0taehtldXHqV3Ov36N3tfxNgML16VsaFJK8LEqaGwgNujyBfCF8T4kdenMcHZCh5ts0CIAgDS64leHDC5IMEuweJQ6u0r+qbsszP7iajDSaQL+DWZk5ji3ZdLuO24mBg4wKKpBr8oc/L3UAL3jOcWf+HCuKZWLMf+f2DJBHdfsiAnZTuroIiksZ40Hao+cyY0Q8u7OEJpfH3umwKAgDtWcA/KAXSWoagVRik/Vp0m5sgDAfOKkcDoqsQWHuhOSaa1TyfRnNQ8fghKBS6iu4iJVYbhvLny8nxYaRXx+9RSjydbenT1QSx8aLoordmLReMmg9dJXSPdsS4jNfX3qRFhmRJKWlelZ5gDBZn1rbOYBDWWUXPHro8V7dPVmVQZPMiS5wMKuucF/HyiHFXRb2aZPYO1/Qiow7fvGCg5T/HV2gfFFlovvPeQQzbWEpV+K0p3ZrnPcgXvQXPii3XK3jzDwVVhtpTBepEySUzliiZjvActdNFEmM+GdcBT0a0NUXMg/+z+OX5VppSEK72oBCb3mQ4cFJJXecRzImsyn47k9I9U2HTexgYdVhXIm2gZZmGiwJ+z0slgUMzB2SHVRXTiPlYDTdglNWHrEA6o/CLkB34r4zU2lebzIftRla8HZz+1bhrsIDbPASuwL2NjnlAJquMGV4JMaC0OdFXZ/n1Ki6nzUdVq77XsIGp+9Kd0OnV2LTraUe7MHdPdD74OgpJGEpghLFpPrBhvarLlXnlkephMoO0+Yt8N77DJOWFdlwezjA/ZEF7lDgBpGPQJoYoY8yc5GiXGAgJs1ctyQEwkcSlbAzC/KFH/rT7TB+lR8ZLSNVO5v9NI7y0n5ga+lEvI3iUdJwnGWVD30/yE81X98Sdbdc5iST0Xhyu2IgxgpG5nQa/9IWQ7r2IkABA6R4m0tZlExqSZKyjE0ztQSlt+4aUKNGNG7bQs46CbZnJMW3io/E2Xd4/sLn4CxCoDLUy5xbDjzqfHzvfFbjzVLF1bzokAmMzGh22+YiXIKoOXgPgpAP4EZpOE4+Zeq1FD67kJdOSKxLcozH/5HjY2/70ZXDkOdd1V4QQo64AwKXLenmeNn2rTAvnjFgF8kdBSoI3Lo9W3mXs3mfNugc04l0RQK81YhinSvTHQj9VIb4bgbs9j+gaeilcntpWuNtbNSB9hLIivrUTzVgBoxeKfbhquZ4nZidtiOdYjidXoaUu3ZMrwqC1OnglOaNeOuCv47Fki9K5umXrbLP7Dq2ZQbEt+KSn2UgEgbN9nfA5VOc8CRsSJy0LtsNS3Nbm5HAp7RdUbcoKg+/TtsM7GivJpkuNqKlSeYgPGc0/Kqzsr2oEKldK22hsd4Sf0Ud5XsD7Xm5lwlIij2WSggGI3Zr6Yktxp8b4pG5Gw0y/aepdJ6RWRofVgVA8Qp7r1O+Pe/0WWYH6zmeLvsGvOaC6o2hjlxILwGqQlI/6TYaVoJD01544ZfraIeTMf3+k9KEhM0BshG451hWQJ8c7M/TMnha3EPVXsB/uCQFAiUv8gUpwS0stW3vdqrIf42b6bMmMcP6ONXygAL63J4blxTBS/BcOApE6OeVDCQY8QKN6PdtDyEwOOmhlgxiwH2VatYyW8NHwiddJPrklA/EgahdjHUrzECGHDYfiEEPdS64FMqmSHnFKdFBuzomUixvVtAgiGuZdNiGkaUtxBl19fewbesuWlfjZemVzdtKThn3g10Za2tAD0nED2kJOwJAi/pTqSIJOKlJMp7SwR4h3qyglHpbrHBzxSL+Mj5EbZT3DQthfZPZ3qtl8z7KFJj/2nnC+n9SRoOfavSOEZN/39jyPdLxbBclMuny3OPk63XbLGAXgS0BtkP5eNOuBZMJKbCxP+Gw8L8DZakqXOuDzOsGGKK9KX6s34ynN6WzT6FvVnSJz3vR2VQv2cFd1EUVoXdZmoTyf/DWsoRMwvfsKzaq2qy+IUD42pjk5DGSNkcLcPKCMsuLTFBGHfMbsoB7zgEPK057qnBE67LD8inY4A0oAinvGcVtVGzC7XacbQPqrEMCKhGjPD1tvsozlPManmIRFZKzsKi5VSSPBCdS9FjxfphJmoKYZ1P2oxzht5QXUx2kOgFzquEHNVrUsxj2YrDsv9vnGBgatvC7Y0YwSMPH08cJt/LkQeDLBSmAh4r0ZDuuwdx5E+ZytaRG5cfOeIDuR4kCRBpn2RjaXT+3xQqwhOCWIXDnuWmW+8qah4KO4zMLO9q4EB76027n1IIINpv8hJPxs1bna/EbDSPu2p9KSnioNsj14ddgeFXKWjQlIgrJ9FcdpmwQCnmoG3GXlpY10pvCzSb/QHEI0c4Ei+k+OHiloKsyGmjCSRIKau8eE7z4TGPHGp7ei21rbGpu1438gsOD8/4O+6PSbuOMVJOLDVZ+EMUQ6iFEN7hEY35DggHHEArJF3xOwR0/hqom3R7dBLK8IkRznxjQalxibbo3s424jEN5FQ5Oucl9BGoCbU0853VlGw5kPFeCkGc0h7W2m7KRHYyANhAaGerPPbs7g7eyv7QGeLniGUIZESgmby9Y+EM01+82x1wkE8M7GDk6wyIcwrqz5AdQyM7uvfutySeIWnJyz6v4ZLp2tFUkoowE7GG/crNEcvXS5Jo4opLvnUPtWjE4Qt5vlSVbr5F6V7NaIokQh3tU02wCxok6dBjxz/j+fKqJXa2JVUe8DBYX0FA1W1fo83k4oP625yoWf7F5X/6eOYjqAR3bMvqcD3AD/foKuZqtO2AD4unywa5sOJpgOYgdungPSyNZwfMWh7vZC6/FwnpeHgDOrassexIGebY8bcnV+WE0B2Hkq5DKTWZe/mHO3VQOPKVnkqYRr8DM8FMbFHSEIbT6J7aFieQjSZiYhrlqriup2C8jmnFN6mtSzpujsmcjnj+Oepq1qFdeFWN17SsrtsE8m7kRqfsXaST2zoUx21Ic1D2L4LHa5zPSpF2KbKwcl2CSy2szcmDZc8zMIeE3wZ3eKmdUNR45SjbcG3gLbuacFSmHp3DVCEK94oe/FhDH1XEZAcN+O/ofqehV8oJOhzliO0ZY9S4/MWiknVoNLabrOsnt8nZrC8DbIWfOCegyWENChRJ3uYx2simfDkuKboNlJKtq6tWJUFc9favvv/W6H+1vbfgkCstWSC75rS9x86Ltlac5FMb1YsuIxhzSSAY3hTMMya5NWppShl+blBqRao/rRfokvly+Vy/1Ol1jFD+pkuDSo4RXfYFurXoGlE1DT0hWx0yp1xcrs4grbyNQjaoawqrZTonS/CMC6uM+vhM15i8X0SGz5PypQVuLVMW1I6KliEYEndR4IyHIA26bNvTLbZTVioHzRPYG0c7DJRs8Dxd+ure0Ds1saKGMZmHCjEoYN94Aq5MsWJg9KJf23B0lMGCptilwsEaZw3odZlsoTw7026XL7URAU85P7WsraLjryBnaFLXfDPwQL63W5aMVHsiLd6PqKHKveyWJAwFEOha0Msjy/2Hwb6Cwd8mCPgZeWW4wJIoRCfKc9Z99A9eyTp57tOMGNH0hFFQj0jWl01B05mnhIZeINfkEU7GegoWVxxJeoBE+EnPQ1cwJQDBn5F1Bx47Mr8gaaY6JGg81f0gAFCVHONvY53QTyyglShF3edrZrOkTupYaLm/rlcc1rw/l/Mque6u+ioQM38qOrBpdehFDSun2tXv3sx+c1jr06T7psrAJe3qUaCAYfQYqIqFkOLgpLrycel2hHuxnDbAM2hW6C8oxQJb0UvjHy/HANHzfm5H3UB3vCwtIEniQueQia2DMqsFk+cgliHJ6JIevLAs/8/co1/h5HpMnQJkhJ2e1e2ep3hk83uDpSuDWiNZL8kskW7chMktkoAR/23XoQOXzKoVr4UkgNWyaaggkR7HOQGLzQUf77z+2SMtrVW09DThbb8bbIvKtZHgc/Z2WwL52JiFHp1omjZoPD/SJ28EKe40I9+52JtkJZlar9LpNhFwmbDcXbtqRq9/0h6zsMLaVB0mM6KlUScqB3s5RJaa65a1ZLl3yrwekuofiq9s0ftPDROfi0WKxxO+pDkaZCyHbPRi8FR1L+Aa29hogzo2c3pDlUKY7wclfV+MOfbpxWH/r2An1GtUrawiTQUGZJTrEqC3FT+RIAD2nRts6+aUxyrI0jopQt0nabVvwyiTZM4vlgKBcPjn0M9qfRq+udQg9vyrhgND+q26fYkGRod7fI5D+704gWAEmNBtons2gp7TF5IMMsvriowmIyR88Y3UyuZ0BQnhoSkshDR9gOnovnY5MTtS8/O7uNOk9ZA+NoAjUDxkBe5fbO2bFrv25MlvrS03J6wi/QKZf9jCrG9dsZVs4bWRQ3aGz3FRaLrTbaPdZpdvwQs5gjevqLCCqhMRQ/LreYeeHvTFXtrHJZwH/kkIpeXTq1WpEGcCPJaYhT2VmkgizQfXaMm9I5bfHUgcIKY0AhLNpxyIBu9NM5sfMApdJEe2w6Owg6XkrOZP89P/Q/jM7OzkXk0SZqhAYYfBTN2Rum1WeOpXqXotvCCIoqEPC6mzN5Jm5Jx1p/6r+tf/OqgR9pUYuHNeIxei8w2sux2W659qAIDV7nDhpXf9BenQRx2NiYEXMlYZ8ho/jwWZFzA8ZjrVgaELxJorSrJ0n2dHXPboZu4LOPAyVdfq2w6JGvDanElz87B7pPOJAEoNqe9OMddHCdJ1HcVDMz76wG4EfJjRBK9OvO/WM4c8pxcbl7NHT+RgeTXRgISkoTjYYMxjUfnJPWIkgp3CHYzWVqWoPbGLjVV5SxutGLdiF0fq2rGbHRMnqRJNIX5jtE3uuM/aatqF/HQH0Pfc/HPqxPeQJ4nP3dCR/z1ANwnRoqlyoCF68BK1lsrzbAnp4GZuh4edU4RPVHDT6u9HF93bv9kA3vD9mr486sOTiYmMe4HUdCvnfesXKchpiKL+j8RFZWDS+jGU8bkX6js0IxT8aMrF8pfKXWNDTjBj/a1ubWrzYwIgGt8Q7QIM1NFCc3aW3QF/Jzf0yuLFXHoanRheG/TPwsOIkuEjnWmyLjdSX8Ueesps9dPe2STjri2uoPafXGWNiR27RWDkDQ1E7Mqs3Oe8zJ8shOmbw2X1kYYOjffhO6Ct319vSKxAa2+Js9KGkb9Y8xJm9wsz+RpxL/TgSq/wqjioe4Rkb+4KUcSd61MX9HcJVUV8LQoahqnavUzS2+Qv0WLnp9RO0UCssFFduAV/h9Y9dUXufQbnHLUx8AGc9uj/7ZEi0fvPZbzX1OIPTX2Us+dqKOtAWpO7hB4d9Az/5Cu2SCA+FYVQ6Wej960SbnrAm73iXwjeOUq3kIiOHoRtObhRKMbuTRh7CX9RdaCZq9SXjcdgOUvzmMldZuwoYWE3GFOjW7UGwFr0m5LsBtXs6qqxJPyCXkecoQY5iXaubvueR8Fqg7BiddxeBZjxX0WHBEwCTGp1vkUgjvvDivVPf7/IVf2942jrKSzF+DTdNHUrUMjR0PA7KLoSBHvke7ZOYjrAZv1LlIrEwDqnJhEgrDfITc6IobALKfUCNmfK9hBZAyLEnXjYv1de9Rnuc7jc0AYGZtB81S6BIeZZWVwfErSn3cVo3WYzmAKWKyOCvQJDA9q4kTRiTVe3IM/1wqn/UGwWRluosx65O1Q7MW48ciz43KUUObauChid+RqWOLgXXzHXM1y54m3HB+tl3SW4+mPytOKV2eDgkOeeAk0eCUh/99ABvYDiBx78KG1inKP2bpVNmKZ9fTWfNrSoQHkN5kPCLwUzBQyg0o5KLP1Nns8iaG2Cze/k26anKuCwkxtTfIkoFhx81bsKoyTl+GAi5QddgJzC1ObvPdAE6w01gmerrDDubZpV0W8zbrgHfrIWjkotz8KTVp+Ttr37Re4pZ+11NoPurHJ/KN8w2DjPqu0/7cD3Eepf4U5XqQIrwQhM9IfzoqlCWjPIkyEm0QzJ0TvzkqCSLidHT5aZRdXNC/H5z3oarIzzXweBC91KrKn/nxThNUSykC490OZKVq5PS6vLVXm3wfWLrlOId8NIWHiZSJ7+cEwHBwomZPuVrs6JmA2Nvdz3f2xTVUxOPcAOkESi9hQYJcTqyys5gK0SanRfbLIabNH9k4Q0tXndD8R2LDXdPbgpf5gxITkjcGObIqK3nqKWVo6vvf9Jti+W6S10eAna8EPhgyz5wMmGS0zeFwBTNgWEM0kk7nIUpIb0xO7/36C5rz43+5H6SGSj+W9XlWROw+yOE+WrkjAyAhFuU7Yvyouv5Csw5rdcRwkhH9K3DRPzltTBY+F/CTy9Hioxq3bRAUtqyIAW+wsjZxYA+LLXE1w2AuwBgtXxt8OwaPSxz0ZHmmTRSbTvINVBcYWMbK0Gfn2Xa3BTKKt3eWrQ0kovOfcMm9xcqzpTB6jEko+FKf1iq7sYS6ZrO9DJ+VRJljucraOoVafw20b38Au0+ScfMyDF10khqy2lExGUQQoTFfOzfS1W4ZC0B/KnUpIqeJ9EJPLnAk/sgnsJorD7AsVm/3UWVdzgcfHdSPIgMKLaQPcgKqPik50UmH6Erg86mg7+fZZPVONFNx376tUGXe0r3Bh53Ns5uK2rCEsBfbTUQwxCHqxykOk3dMcXKQWzQ2fPeaskOB0gzat7CE0ew47I8nWGWixsP3gHvxj64aBVi3Xzi21EKQYmL5Pkfr8Ab+k4sgi5Vs409DEFDGBHgx1hAjpTD9jjw9qJrRLerrHLa5kM8qJoAcp+XtlD2//OacZYfKnJoD8rCxLczAr9BA6XKu+6Qo6ZKb7L+sNnGDbgmmtYOOnzSlT5KdUrDM039GhgsyXCIYf/eavYXTaYqe6Zgqk1r/HJSt1KADex11e+shUnHzkP8cz8H+ClD4WEAKkmm9dTQwgfPZdc+T5iFIMtJFm5jpYVYAgCHTFsYwibXAuuGK3GdN4QbxnUdan/klrJKrrrWywI0lo60dgEJj5LlBkJ8cJrFbinISdP1WrmI7F76tcz0aBB6vE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gx7GMuYKKrp0cwvRUMw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O5HNmC_lg6virNGr7FO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sFGNMgO_Q7afNNRNZS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7dbJ35YNVV3_LAHYJ6Q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G.5skCY82baEKIg.dH8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8jbynGg6THpFaXkGKc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MLOChtuWBQ93d3EX3Gf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of4.grwjHB.w6m01qv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1xAkT_SrylKrQtNxbx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sSZ7.QHKOBbzR2ixRT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V3blhn8jcvrbPkALTv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hZVBgQm5dHvxwMeBeAL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qESvvx3Bs8HL.N2zuLl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2YL_IDatrAoIO.Y1AHr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VX.VUcmwRnaAiCzW2Y7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YV6sJW6WQfEm1OtBtQ7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1LGw4HibRTWnIl46hHp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pWl5EpAVuQmq4lKhDMr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dfs1PsePd4D0B6HxY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7BM_Fil5sGZEznrlte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hEkNcwVt9tCy3smC0A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OfIUoQ.z1zD9R12Pus7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AzywM33XfxTo3fjQk3P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U6wvKElPk_U5q_sTWVE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EHdlq1agDahZjMjXe74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VysgYIE4VfiGxW5CoWh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dXjp9Uqg2slX5ZHNm09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JB_l7upmCQKnf.kBKsW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ORg.NYcPQoIiV.Eij5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GVxkcl729zqRdzXggH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b.fvR4E2gFze3QHY8.Y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Z82kqxZtTtJguxml5SB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8DOShFU_fdglcJB_UHm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NmynnpVLFOfYkFzcftA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M4XhnMTPwhdyEwtsbj0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F5.89L2cAPNKl32OEvE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WaRvFd5g5QeQrUyzsx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WgnYv0aSZoeI.AS91HE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jMzt7fw.zAsjfbWQNw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PJsHDDaYG7trkhsYqm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cid7dQ+Kub8ulUpaRu+ZvkeQKYThSehVAux+2Z6ekEhlACpPBIDl4idFwS+LkSsn2aCAhAzE7txIQZBtXYAPdDOlkIzHanGiRji3OnqMlu0vTb6pQS0Ql8VqEqDL8dlM6DYLfMBLbD5jGVMWQFBfVVvP26XGrMkkUhOvDZOKFsJaUQnmmUUL3yQqu+MO+Ysyp5mTwX6m5oFYKMLMuHdHCrAwRT+mNfE5UyfTYISoA0BQdwYZ0oe1kINApzc1vidfQodMYcCEO9jg4wmmiZbDcvNSa2KCI0GbH72oaCpIRwSsXxUAYL/Hc90jI+dZVDTwXPIpK2CEPqf33dh14L3Ut6gUhpKGZJcaV3hUOeJqclfsLnd/h6SjqcEsdi0LACtaxdC6GG76pTdyGYNZXlJYlwWoQ5cVHdRiwUs3b615IsjXcPZVNFHtYnXEbAqxqX8bLCsLBVrYTHBRY2jsegWi/+ydXpp62AgSxUbQlAnnCiDZ7WdndiLmWHDXyy9a+BbjoJomCIR4d+atEnRmIBwgN85A1s/eLNSQC+P7BziSFapTy9CDuJ3NWVwiXz0ANUzeH/VoJqPHZ76vvRmAoHWKSB1m3ZxiGIsPR/JmTtaGenwdyAPAlJUEy6Q0g9h2tY3ggkzDAHWqHty4vIJ8PSHnTxOd3GTCQh8UGCEl1CkqBuJo0pDeKD1yxWecVfug/CqBxyudWLw4Psn7rlmIg6LAdMUVSdmXQU5hEa6OccFhtnUQXjwJdhF9IeKwt82QCacnIRKrLoSkk7iSbGh7GDw/HSpyzwFuPJxpXlZVuLp+hVR8d2+hbpyVJIBEeC85c1LItnplmNeVmLZ0SVkL3+XSsBtWJ4gFKcFnMH1AXevh05ugrGALsxvTjCgasdzpC5rLRcwKNV9Myk9dACdG5OcpnD+Vdpr4bByu+aEEgbdZh+0wDAjeArzwDLCoY6/kz4E3yPaviql7Rt/33nKMWwO9Itdlk4Z2Vrt1Irlw+q74PQC2GafM5Ph0A+UuQdFNIltKXWBZ+hiiB5adynckMNHy8OJcvc6jXatoaM8VffEw7g7MzFp7hf/0Or2ZgvVDWwOsSvdfx4a3EgQuQYmrQtuaZhW+VqTc+yBSYtFTrCH42cZeHNAaKQndA7Hjzkc3F9ml818iU9VgcFwjZG9yPO/A+msX96E0Ia9XTO/Tajye8jGdgn7Q3fKu+4mZf96K6bZ7q0X3Dj5xKP78SfId02W7ujxdhS7beByCSe9UTZzFjm1GGGLaFdOVYfAyERbs0QpCYc0T1F9qXnCW9kMS2uXFnBn6KD5bAXxozvDbKa4lYHCBlYJf0XMISGLwDLjqpyb4AgLw/bqpEHl5og1swyPViJyg4FO+FbqLcB1ekLutTfLL8MJ5kIp8df20XvUOoEFTrl5vZlDIuu5dsRrrBLxuV1E2MF/IdEkJI5hzwQESJocEh2DQnCvOJcKwU8On7DhjIlTRVG4Cg/eG/T7/a5HxBePN/qzSPPXtCUkEoBoA8Jk8ecd3gpYLTEd7nYM5ZPR73aOxDuiVru2IXVvWJ49fEW84qo5i4nbWC3bvSNFdMfmO+u6EYD5OBlxC518+Bzjv/fkY+jv5rd1omcl7Z0vng/7wJEv9y8Vv187hzPtmL8449AtvMIX9aJ2muakgs05/6TcM8grZfKZ/h9yY9ocqZG/fXwFBnDAZhaxIi/HCzCHOeeesC1m4SwJsPnPQyAJ2k+hZpS72aAFeTr/27wMrGuM/1wB4SOP8vfEEEgxs47K3dq3aFPL053PzMUwbMhuf59jxvuh6F4wEGBvY9vxQ3yskDFM7M4a29lXbHgsVuPS7j5brPA/k7dz9JFTwWuDf0W/qC7c6spIhYRbHuQsN3V/baZHbtmEzelZb9+OasffUqPO24vINAUMZPo6NrzC8799d1pkWcCAw5lVVYLKr1ZzaMkf7EZ7n49PeEnoZzSuTDJ5ip78xbnEQPrnYY9rtstBTumoyN1HSwwDAzIRNxKa6zd54wzbjpDIDyGQAVfv0CXPwlT5CrvK5cUHQAbQvVQOQYoBFtozk/a6/Nvyjtz0dAImCe1y2H4cXtwEeN59G4coZ2pFTMOJSwYUWEv+EF34afoFlSoB6OK92jwKacosuo2iW9XBnIznRn4nEiC6bVNdLmj4EaNbV3Bwl6RQugrVCluKcbM9WJKhAEu/XVPpwOAjFYuasZLSJ/RVCQ9PaFRd2dQbCe9nZ1BbfHMvSRFblZZH8Rz0poccdo2b0aG1RQrMz2aq07E5znMmqzQ4m+f7q8hx2BXSdyPqTXhLHVd/8go04O3aSDRUN0SXpH8RGauhb9UfGkKq1UwnEjX97ATZYARf/RYZ7/zVZ2wiNTJrL7vmIzz3uSq8j6NNmMkMDTE784lCg8hHCxOC9q3CVGy6AVLARuciC7jw4jGFacdW/P7xleedZgk7TfDm/Nwm7aGhqDm1VyALjPmbDBPqrDYLuIMHVTyH61/hIwVPm04vWjwt6zdS0bF0ZDIJGAC8lhEyw1/gGMRBC07jX8qytRsd4uOdVJYDMXWAXU5cUR1kqtn5bJel53ILqzTkiC2gk8rToAsSxFRGC3cie8jR3Fo0kxNNKpKU9tIeI6q9RkQloiBbg7jQrVXbHqJcAXBmRUdz6xeTCeTS2t32vqDfijIWH4/0jikI4l44apXTv+woiXtbFB+9qhH3+Q0sfjPBI2FRjulMmov/q8nh2WIx+uvzm5ASqbWFHfvQw/EjI75NCQUHBFFhsEPaXcavBhqoI+ihkkG3k2VaK3WS+Do3o9s4A/haATVRt3vTXyOEYl3NHzECSpnkiCbm790pFN4MWfIxeQZNHYDjYMc69en4y5SXiEysIKIyYtpNh/iq3gyjKywrcZyZIAVbEOMOLa6GM3aTxajz7EKBVb0VbxJ+SN1NtoGT6nsTxooUOKPqqSPn7jcNaYCFqka5KoiHJnrgqyDh2j7ob1FljA10NTnGRY5gF5oh1YzNGcMzZul5IQwru8FXbjy/BcOSp5FQ0q5WbJdoxTedPVcBnpIRhh4650SJMvbP05D5lyww6n1E6zJyF81Agz4s0Or/Dp6NsfSySVJ9TAE1crxQ+NxMz0MLv8V83VzKeQxbyIeo5cPjyDw0WtHmzdVmWoRcmwpu0TDzfv9XSgS4jOzj768QlUtA+f9SB11OR+B0L9qGQhQBPecrwGY7q5FvIm90PRQ1fP/W3uysCu2kylIHuEJRYfmITkpTzXcrHaP6chTYQfUEJQ4gFauyo+01iWtnF+sBnxqZQFTLrZtyV5m9LQX4zUZC/+xo6Sr57BfTpmZGqKQesPg/f6ojDVWIFFQEmrz8TsiTdWLYv6oQb3yIDwYfxcSCdXJ/ehKQkbHlG5nVfn5eoWTGAcf3JrzPAT4Q6VgyjB5pQyIZJmko02/P7X8OLXZBqvp5Adq8KYroJmrs60XcobLZ/X2dlKHYCD9qK/dvlD4MiOp/11oJ0KX64zIeEYXNwcOMOI41NqbXahabhDsUMDryrIsXpBUd/bA3D7Cq97ll1HM8flbL6ARrDOKA1gZ33zDnGPXgpsJOkJHQxxGN16tYGpb5WFt3jKAi3RjFHVTjw7hbdPZLjHYmExfOcOTm3jzoiyLwxJxue2yWv0emDjc56CmhOd7DRpl+AVt9sx4ZT3IpbZONafjHlaRYkAXJakIdTjZDZCQjsns+Ji6SFF0GodSiNYiySl8W4IIk+3AkfXQ5xvXuxOqle/eayW2+W9LioAzo7pZcyUol8zZW1B+gKPOlb0WYBAPH1T7APvvM1TblA6BjwZA2TuaW391P3sg9vrLLOmbf92lPX5a8NYdgpn4GOoqWbbMP4jGlIcaBNiiq4z/wSeDHj/5H4PEburwFcJv2oQx/AV1+hKCMDPx4d3ykfT2aRcYa9Va4Rg+RtYlRAISrIJGFfM9x0APFiPxzFZT0O6ta2J9Z2pX7ZUkfmYhmWmbo4cmtHIC6v2PD9IWlII+DyQj0zU3w8GsSX8b7JvZMDLWQDAU9Qh55qbWLopiQi9TXpK9yW+7kmX9hvYJPexTNZX36e3ocdnggeSu59jv7kmBJGZB7q6PxXN5bbOYLFXb/HfGiy8q0lQkmuN3Gvu0SJMmh00oRox5oBP2NmqtGJZxjmTeNwPVOSDOK74FCy54XSMhnL/3e1/VS2s/Qcm4ZzwP8mRZfZkAXeOz0dXN6cDF5b4bMBoKNns5Wiwp6AKVuAdaJ1WQ/l2S2NtjJslwqRC1zht2xiA6bgD/yAlAL52KaRjI0nQafSkFvUtZD6P8AdGMXCLbQfBxQSs8JqiuosNZc8uiz90AQrXb3oPVOabw5ec34k6xdQ8SfcVANhR0eSl7H277QbbVMhnlgrHdmw0EEJh91sIX81zdPDNOmKeiBJU5wtrUYjL7wRK/vyrvyk0OakpaLoSIP6X+OCMbnHLeA7vt/FKtvajPHnT6VkTb2aW1P/Elmw9OwcbjHXSVLOUOt0jlmTB8fNyeclDkfXPrWn/Ke3+dheVAJOB76BgnGqrdDj3ug/njA0ghpkqLDn3TOvOCd0oRAEiaHUaiBOK3XC8zK9106tSwS+ROKFoe3a/SaZQ1plHNQGB+P9ldOsKz14UVuMOW2OnZvnh/Su0A4zM17EvMRtAqG88BRsCvBnP05Zu/CI168lTgVHRufC2OgHdnjorrxSV9zR+/x0eSJs0lqiamfxUwg5W0EfqUiZu+E9i5YgaEt74+5/8+b5dzcMsEVyKcOh4XBVI6C5urEpjrXKUZ1gfbQqRHiMrPF5dxKS1KNm1XdpfSnG3wlwUQbyYaFtLjFqHWG3AzHacSedJiCITz8gmyo53qBxOMNn4KN9vzBD2quw46ecUtTPa3PtjsJ6xkgEz9JEuI7hQX3UpNlHFowioHKPZPxE2isauxj+jwh3pZZNDUQW185Efwvwi4fLCDKM098HW3QN/XcotOKDBGiaqUZ+hBOnVKyc/sd9YCoRu6W+nxfIz8l7lIbXx3RfmOH9sZSEduCjmEDJaZ4NDSlYNetlSKi2XHdQigFcqOc2vFxIMd4JQLCsgj2ASbZ8HxdBtvfONhBtj8OmPQOEHJ9eKcOsj33bfDf2+8lnyUYtuVox77rAf2eqBh6IVTrFFWZ+11ujxrcMO60NLilgrEpSW/PFznDBaN4t4OJA5HAFtBRI1UhTFR1+tO5p4eLsPuSHD5+m/K7LixCw6LQeaZEFUQv/QxJjAqOFMEdibCTTfFy/uQT1AU7a0jY2FHwJQTGy4++8SpbVUMVjw1vV7rW/5HAHjDHQa7lg0HSp4Xn/EPECuCp31A+Zgk1LJPgZ2sSSwe6kFVdU+v8/JfiC/eDEFS6goAfJSPJuM9IwwhjwTuyXCXFUo3cYlNrP/uf4a6/n2WjYlTR5tZTUp4xjEjNCynZfXqsbKqXMas2sHLROOly9GwpjA3JnzrRbkAcdKdhKJFDIyJGiwJkjfinXRsdnq9aZv2l5lPK6YRDWpph/ZxhwEnt2yjW55elswZmsAtVUx/BxmqOBtei5Hy7oLBFEWIoEziJfRckzDWpK89aqKE09k6DU6n+2lusSoBwzN0S69ZEqaEkTeSyzFvTNQo6JYGLdf7qw0eIcCIDiTa8kPbyKzppb6f+SHFxv2C2/5dsy9ecodprEl7/p+B5/YSAyFWbjM3jejojuVXrCYxiOYNNlKQLHxoPkWCyuSZMpwZLTbdy9hj5vnTWuEkvsNoeEITqRaHxby18qEdZRyjuGG5FTUH3zYso7keRXFWKr9nm7OtgIXwSPlr9yPWenF/hFDcqCsulPzFbbZGZUOEJR/5MXgWF23xThcO3hnaIAnABL64uan+V40R6s43ypYbe0fjAqud1RwgHh0FLncSanRM+xByELOJl1DuqialWJ4Ew/X/9hVrSvh4u3z1SI8dr/CvbGU1ZVrBplmMIwVq2WrkHz2vqx3TJyBYYBF+kbVcRBSuiObjk5IsulyHrk6TzkyY3zkT6dWLPlN+v/YHRFE/3wbFir4R1vTREh5teJuL7gzzGVl3tMRswWt1mww2AMHwI9zR1uR0cRfx8K2xDc0fbnKhQvJnMuyNM+lHDb+JdaQdj/S5OrVF3PkI+lndoIfpETr+HLRu4u4cY7SGX8lvfYxfPNEU3e8gBafhUKdW+bGNouTY4uMKuOb7q0hnjPZXZfhr3IOHUJZcbgKl/s6NOp4FSz8fgdXi+1rs+2UlWf1cXjUPpCRf6ywV85zBCT433fCqh8DB/qboLlB0+L29Z+96CmbrJFqs8tSM7AinxaqSWhf+JlOTjOtxYbC+hm+w2bD3aIl+RodRK5BeAMTlx+2z6SFEPK2zBO7CK/awV/RMPF/KWbsKsBf1/jdGNJ08LfU4hN5e77lOn8CsFOg+45hKyz75tKOyb9VElKGm7J5V2FRY1ymroKf3vgO3bYjliieSk+4zowIn0J0ArMmmuh2VuyDIc4DkFDq/H2FXT8xcVNwHWkV250H5RwwobFOI7BGfctWiN73J1920EZvSGbU97hokVDZD243aoF13DakkQUHBhV6vM2pBYw3rfMu4i+UdGRYTlpe2LDc+4y0JruVi8+Pby46ySI++LUF9VSiPGSgXWEOt08LxD7A3xJSGeL0cpQ95F9efDxSNbC9SuhbFabKw5orboZCZO+iGrUCZopmRQ/z61Y/KHFeMedmC1JUU1ngwL+/EpFL05cDSLhPjNlfeocXq28ntpeF2IpOkBopar+YErnMt9ziRWxhwRHRga/LKkv03yJmkqnjdx8rL/OzrP1yjy3ELIuXGFwAjNTEYCc6r7swbd4jGo6Hwcu6Z71D3xB+V670+gIjhWe9381xMv1N4M44oKUjtZbmJyjO6oJBeRZTWX4lzlmAORBD65Of+x2cZxWCPIyo+xMWUHNG3Tm5XQ1pqjuBT/OUL1USXcpmf0Gw/SmA2wiUA1+LDz1lLj77gfU7P640vs3Rx2a2CMD06MFqmVrcdGDDPkppzHNLlcoCmCIFv5ORmYiClS8l5LmniROffVxTEEgD7ozl154fEN5ROAwuF2N6Wk6E/RDpsT0Mw9Vbzu4rc0YAFzyWinKL2ghFksEuTh1fiw8Z0s0QeXxcWf0pO8/gei75tSsqSb2nFlyYhaB059Z3qmwlhqXDb0zX+MnchTqX13Lxlrw2wcfn0h4szR/XQI8ue7KQix2a4dyGN9asuG3qCdbN6Rbl/op8MFCHlLKD6TeBGd3uxs2z68bPYXeerZaeC8YXfVI8ERkK+Gp4akSHOIGWfdzK6Fo2hd1KG52AYUo2DsrhDFUanBP3nimMgB0qsAYqp6ajoRxK5AQY18C6B2O9QHjmyofnycyGu5EcHo6XbMdUeb1GkMcU69eGKqNyhjiG3emdrT5nKeWaNHxNymg3a8J06Bv5rhNdOlyQerUsOXS1eJK4G7L/JtNIoFAvSt6SaQdNjcLIs/HxsOBj44IRh5ckxMFlZM8ivyE6FyGuMPIDYj5PfLN3qcmhijGnZvOWPUA5UPq+IoJZr/XWjOfUOh6W2hU/YAlW32OBdgJ5nyLjnaHMgahLNp6fc5jh3l90cBfLwbFh4+OoRN0P+4AEBshKWk4Pl9tt6zZmYerui8RIBxQBl+EjKzSfpB7HRBibehmVQ9aY3OTxP6agx3SzE2/aH8UCbBfpY7oXhM8vcHBKhNBFHvoQoeUtwrqPlYXZVdxsv4wzeUPkizlCplVfzajnco8gSuUgur78qwt/4oOKgqFGRsFLvloL5sYt1Xf8rLXizNGSwBPn8UZiSJmphCPFw8pR0vet0rBuqUjFE1txBX3gTT4oZ4xKPW5rMXsU+aSo9E8HceY4t2vswAl8OkXZZ0yG9gzP/BHGPAY9XSmP+lTsXNBbrULDF3O8u2Xoy8PXzpGDawEyrPDmY2BexJXlZvsTToHGr/QVD4xphYWHUsB5CLdooHD7s0av+/j3f0W+a6x5BzvW/WztKKozL/zlxi238DIaUBgnDnLB7KgnIjanLNYn4U7u+vHLcpudDY01gIT+XYjOORwPnWSX9gfZ68/RuGaOraAosGqVIkVaWYY+DqJZmmUjNM7fmQKBvfphFuBUxB7sWvClhHswOE1BhJDK6IB4heCVYaR7HzXHiL78l9vTzAhNhVFXHV5SuwB/4bLbUS5p47+gw+4JWWPcgWMS8RpbuLNle3pQvJefUuWb67abpwv9S5dGHzYaGaUG4kWMtTfDpW5MWm9aexnjymxem8enwV9om2rNr7J9pYYcwcdfL4bQw5TLr6hKbRstDTFX7pGKqNpi17fsgaYq0U0hyC73kOy+yct2v5eUqeXFYStbPA7W//Vms5L7d6c6sRXepXNXZEnNllslHavu1gQh/AsuCGerJ+1zkv/KMzgUuBCtlOTCFsoTQQS08DkHJ/uCtpwQdHNNJS6/MgRl/JjbUYk9hXK9vGERDfuKg1W2Zu2FTwDIyLUjejQBrY99n87IMiPDCj32aCtgTkNO8Yf8jJk4m2QSitq0baNBvjnNiCQgsFt4h5QTjxqA2AjkOBnjsP+carCeql1CBbTccgArcdgPMwg7LvU89mMfadqcn9JUqKQzw/7j0j9zvAgHkE2HxZGZjjs4CaqwH8KXLU8Uln+ffmZNtGFf9SOymNcW7afZ/Hxf1Xyd7Ijr+EC7wa7zzwegWmaz7Nt7HOZ3Pi949jFzrn/ikIKeJK1CeTqN9xnIwLtbGOHfgdbRrY85SMwN7USbcTKjbE+tJU5bI2G0faFtCSzLqkk8Ztp7DqzxfANP27ILLdOaYlKUH7kgX0HHJmTuo2z8Kx1KYpQT55K/BAH0tXv5eygubmdQZEjKEosF+8nHmCZ3g0HCB+Qm6eo8H+9b6oDBg0DarotWDHxWb/qe/8yjWZ4jjTyrkbY7uYFZ8a+5klq2Yi4koOoYDcOTzeNMdIjOdYbfDu5DVQtCqKBK1yhFYkThRteSW0pxdvMgccB5SCUec67wiGc9a4KNyWKioQQzurCG24C7LG5yYdiKGquLJSNCoptetD1GU27ix61v5FQTMafu8VQvHbDl9a9gI5TBH1fOAZ3Vpp+j7UwoPmuwqPl4Mgx4dzKH6JKzbagFcT+vUbarzzpu2poPio4TVxb3z0jXMG2SoaueokTnfpz9vty5YXH997mZhilH3ulOxe/wvZ2LE0CL+jD3p9qW0cTIBc7uyO1OgRyJnH22f9rX7EHCAXKVa8gpWsvu+PX5JUXDCQpK9cPO16L78i+J98iI/nH19cdEU+fZ3dAdDmfD6I6qisBjW+rdNHngeh5sEhSm4yG035uQZTMwl8s45eF5qyfoGuDmiuAwkOh87eLnLn3aS/ONnMmEFyiYREN3EFz5+zfeZKEwj8tjUmXGQvpARiS7SA3c58n8WRMJs9FInKXVsS2mlQXkwBF1aVXslTKkxyRdx9NVjwxqDI9gZS8AVHlg/5r1H/Z1RRUqAlEOYmTaB/ZJqo9popQcEgeaOCOYdjn9V496TzrgenrVuWFeqP2RMWx23HGIwTJFfBjFzO4plSeI7UxNKFjl7Rd9omunruOU/2VvcijPcQ2IMTgNLTAQJ9DIT2NFW83njxMrmfd13IfWEjXbenPr6caHUC5PLVx0ohSkepgQG5V+TlgMCtsdvj0ytYHnNwZRXX0kYUA39hyE5rQH9sgihy9EscLVuaeJ6NPwJyb+lIkNIb2UkOBWhn7EeaBK86S0xBKckU8sTKlFVYjkMveKx0RaG1ihOR5qTnyXzS3froXq1AuLNQ9ybtRWicn4Oi6mnXGKXznFuQyD8jE9I9i1DXrVyuKnEi6IqmjuwaOB+GLrmsa6MzcHbdsr3jSLEOkmR7Gl1iLVZJ57ccMOnIbbXpJYPLP9C4/DLBF2M2qJVcMrrPnma/j+n0QGj5YzHDxWQBgLiITS/qhMvjLPrBMH8Lq6eNfRpij9ULaK+ELBZaiZD8yYGn3qXJDZkZ3YqKL3p72O0PU0G6Cm3wXcai38a+0SadOroUipObv8xhg5q2q1pfMFugnXeBp1O/axLn16qjoB78YaE1pnsDcLywNdb2oIksddH4J2oQPrPXPvvAKI/q6g9lda2kDUtNtwbB2814+gizEL/5fUpOdy02txlmcZddoIzLsNVvtO4loUa83xyQ9lhP6ChTWRFnOUOkRx4ecwYSuDw2fo2v3lt1IcCemejBsGR+WMsGAQOiEdR6NE3/BFVMcVkGfRqvJuoXiXzmomwSj6kB1XkO/6DYISCojKp8eae+DHoPkBIj/4xaql23To3wp0e9H291N/2kXm/+FZCHs1mlrL53fU2AFjqH6nHNniWaGHQba9czebMb13vH6a5wBa5fmDJEhVMcIOJEDv2eZ6XcbWg2Mvx/6cgECnYhFdkPM9xUgOMQNq5aJpm9wZhN/ZG4hWG5Y4FmJiO79pvvpx9p8YJN2YPvHZkvhU5k7abnuoS3wEryTralaK+QfByUFqRb/EGUPSKCQHL4Igc61avQRuRtECYOzJsG+mkg8T03AVnJlHLklV7QRPNSHWZgZ8eJmoCuhLVrE1fJ9950O6YHasdrGs/511TZ0faBe015CO08DeOZz4cblr37HhhaLUz1MHfHzIFwDLdRgBH4JRePUwPhK4WusUqeCjUT2RKtAKlw0vPOURjddLQIbwW7WicuTypVhvcm7WZ5I9K34Qk5NC1F1dK9Yoorvnw+up1Q9ea2lDbalf4WCd9/eaL52mWmHt55D8Ud3E/8X8J1kdqNr+KCRfUVxZQG7vdkKM2V5JxA5VobE5RUoN5tHQvJ04rT7SIzgX0Ujl6+wFFOOkF+HeomrQrYcmrs+k0ttUSgjLp0rbOmBmP4zpHMDo5hUGnSyv9aA/2VsOwHxi0TFm8KxWNLCpgG8fn23/NZP38cCZ17de+aWHAoQdhtwH29LLe9f8ytLp3OMBZJSInZN7i4T4oN0MXme2EYmM8x7UMDBh3ZBrezWe9EMWfNU3NyRrqNuIi2UkREPulLESGgCoXLY4x+0DXP/mnVN0R70AjWoVqKXknUPLzCtGXuRfB31vlXZj8F7YoFZVXqyAQ21sXzmNnFn6qoZrGa8g3qn54OBeUsQRh69qdW4+6XzxTa5KOJcPWIImOqB63FZtjxHYKKqX9JyZanAcdDApNc8m667Ozo2l8DCCc/2vBXTj33aF5fSW34FB9v8pSRi06EVUPY3ppSxsfmn7ei9mpb3/AvCx1QHAU1hNdy7ddM2BmwZx2Re43/u2IEfnmYpyhDt2tci/rmYGtUBoe8cUAVG03ZgDO8JEMwd3Rn0e7Ads30+/71pDEi/19omjBIKvPRstGupqnOdKZd/Y8/ew+DOUvb19OHHCCnU3npfZl5WmjCUGYMjnvf9XdOL5jdLZa04A9B1ourKOPtx7Y7rju5WJPWdvvxEwWpAHj+2jnhvqfCGEyWWX95Fb3l1ZONmSRiKtmK4PRpJpVS8uzka6jvkqwajKUC0zUcEuNjoAEVdHuUH6yuXhzfOaHXdGOCUoGlwp46ikaRBzEGwW2lkgk3I1z+0eip6AgpU4Dp3Kv5cMRcTJ1zw0HEogUNsD/DgVfyM8k3tIqOzA+IEvRkWFcnOOIHDoT4HvSZYrHeO6hty49fu+g+laqI3yD6US5n1o/4WCgpcV4VbHMJJ4InjFN7Q+9VdRpIhrflKlDF/QIbQ8RG53ccucsci9vNmeActGhkICDKrZvmDN/oZWtGaS2T5nJVsiOo4awpmoUP1ZGKg6zAD/Opu7wmww84C310RcUWipZhVjbHv0HLzpxjeWnbGprVOJ1nydPOkkacK1OS3UsMyHRjqr7T1Cv3floY0Os0CJ4y9EIplTA8IhUDLh9AdmWZvPKyzAld1pGqbaAaOON5Pa51DtdQoXPSG1f4ZJ/vUEoFmUGFcGh0p+bS/lWT92/rPbeIe6Na+xKA3k/VTtkkwMYKqUPy7MLxNrgfv+amyp88KtGB2Zws3d/OxWBgpCi8HZ+Db+kcFwp0YThH/+I9ABZzTobhuklvSDe9w7aPLWOCSDWVdrWuzwrhZ5cWNKQ5t9yw0bVCMxEXIzqt+ZWIgImeHG2eknBfc1H8s6LVOagKJaObHrm4h4FE8DENFCuF63LgAwpUkHovAbU+U4XrTtjK6bVVKAkXoB6xwzqmcUdCEGTafEL0yAzWlddFeih7d1pyFeH7V50hIYrFqZn5PE1fCPx7wY/budv90REEDCQ6QPHsMT91TfmhOPeRxY0eCZOd+bHM9RQmDYrHt0MBYH68jNM8UZlOJcljE2K0qJKlrShatcm2y/Zs4LyzWCPuf0d1uFPNFD8p6Q0V9YaGjg3ZiZhTI3ZUZ2YHlWzrLA9WAdTAYV+uWIF/2hJX/qJUC5C5pa3gMsTQo1LM9I4ydWCExnNCoX1VqEII872fRU09JylqGcMpOECBfXImC3mX9EcPrO8Nq2BWXMsy4uVdxHfyegeo2qN26eaUZDzqp6kAnNPgAxA1AB+EbUWb9ed028kvfh1m+f10VBy/q0ExFXY6QB6XBv80CDyMw4540IA8EbuOakk1eApBh+jsD15u/2W5EQiAt87QThjdqmITlgEsTBvVmuijG3ZykHmuV8doEYJHSBt60MELpyNaONY9KQBpuTTiVAJw6zrJ2qeSoqX4X69aci0QK3G8MtHIYt8mXbK6NGa/xlJNpYlfdJ8kW+/oluHMSyzqdEEXli8StSqw5M0/E4yXtm+1kkkbmBxwDbF08GhBx77WH4VpSaecMyWlLXIId/kd9dFkBtQ+g6S0BKgx72/ZI1B4wZj3clxjjCtgPzFi68lo293EOFHObeKt487e0dwXamwFNd97rBPJyBfxZP7RYEp2hH6HNqVzJ4439gRLcItIaHabh9EKt2SlX7EEpthBwwA7X+xgJj9t22Hxh3MOuxwF8xreCNrEzoTSNgZXC8upkJl32zeoCoPUf5yEMhy2yfiJS+Evb7wbFi6KZFRzQaOqu5x7j1xHcQllUqotFfPhq5I+Ruy9Q9EKoOoiyKWoMdjBm6XwZU5BSEVA/r/4cRacSC7rgTuR81CXVrRHOw9Z/A9Kw7EwsppQIo2vaLpGKhKVtwgGremsyD70k/h05enATmsWnl0tx9YUHHX/kkF3rqAjG5QLS/ipPPL4qioMePxwMN5GI5nKQ9pPW2QEQuqjDnilaZE1G+ZHdRlg/NlS7YaYcPKs6Ib1FDU9iFck0JRAjer71QgbkkYb53jPKJLq2bXo6rlrBotW8uP8du61g8wLTmgqhqKZjUuZIv8m5BW59CALw1YTv1Fi7TQJyiid6S3iohs5OgKq7wzz2oBmqudP0jescUR1GliUc9uMubkYeFNHi+0MnPthzpNlBhcbvcXOgJZwuG2vsOCh4SDYy1XGxc1/utpz/quHZdkOb8qFOIX7rEBhB3WC/2pyJCn86Q3PNYwkTIIj7QxFud6n+Lgbm7vm4mrkBgQm5PsO4dzggznpiCnXptIjrfLaXlanOvu1ioEhXVYvTi5yRxCGjaEYBLRLZxfXggIk5hLOUAouihHr/+fd8Xo9zGGMu6N481o8aRbUXEdjqDiw6DT12uFfPFnToSnKDrogwcUO6aIXY6yVeOEjmvybOJy8aBgNrAkK3zI1mweiTzp/gO2pizxh9JlmE8rA5fcDMmfgA5ZvbLk6/UQkYdAFJ1/bMNIVdRb1xAR2f/9LusWrPMDxltcJfZaj/GpWmnSGeXH0CyEgjaRSNjwm1qgLSkcrcj5jL+prVfeQrRXFA9nsF89j7ey8KDCb3jKkGiiEC59bEwoxTZmyDcLHyw5hugjeNom7QkFw0+dy6kEMpNuggMTf4L6RYlaySHbN8bouJvMBxY+vyCmL7sxjyeHQQPpUaV/qNuNSpKNlYudBkMAlAHAi9iif7ffFZJX0vGnYdr8bUdAQBkfain6NrmWYXa5BV5BkRPkbtsuzt+Urn5C4o8cPIpkM8yAoFfGYpFzTI+esKaGmS/bPlDR+7MwYiMQq80RPWp45+qGt8C7527Z+CcKTGDZ/pZHKsmJ6ZPys+uxR212gTHAWyX9NB2sK/j220jv2REBSEe4kDmReYUdTKaKft0a+VcdwAW0Wgaa67VU3FjNDZeQOgFfIOiJ2uDgI+3rberq5QuU835oJFYK4uGA+9+ehSI9i0+ZxajyHeqHL6QJfp2bgGbFcouevbuye7i/RbEGX2bFKpIfSlkgnWa4Mq8W3WF0qkEVnkyCxsXsW6X5SNkNe6qMKzzOM6lFZDtZL+LpRBwb4ShSms8z8tGyHYK2fIkyO7rpa5jviDrlVtVMcDSbasfv0tWkwTx3gHOOm/bqHgb/6K7PDjagPl5iz0c0dtt1jXBK4YQn96iZW+cEsy5uNCC3tNKcPOQEDVUq+/cQUI29FXQqOlR5lt4mX9uk5ebRJlRZpkeG4KOI98v8MuH0hQqVhs1vt/fBGBPQoGUHYiTN1PYOfjpAJW2+Qt9PcS+gshv0dQuNxIsZdt33nqV5PGYlt2IKx61vVsa/lrN0uzr4cbElJ0T9pRxiL1e4ZBswyJwYwCInMFhxVzA+Np23QPaUF6NuYI7rnmDzRONEwEkCJ962o2QYQyGMRgnLLZ3qR8aQkcKb6G8KT/zcDxv/vxHDRYOiANAxrotL26vMscrEWqHr4YU4huMmlcIN3HEJEKjo+cm3x63GvUEwGP13KDoLSh5JHdI+4yvTixUjc4pl/kEwm6Nlzo84d8nkSgi15rklutu1Lvxk7jSNWxV69S9cFe2BtbskeFGxnGO7LQxPRKNwXs32LTRrqo8TCPyIF/fsZtfUZxmCnZSVDs1u5uLLHRCbBwGh57VlnD1YBaH+QUe432Pq+43+iPYuyNsBRimEI/SYAuBabS5RUsgt6XshLIDjFI7k1wKDBMHxzR1naOwPwAr9dyQZZufxOXii4xdmhunDa91Z3NGp64wRZwmHkQR5PKLGn31i98EiV4uOprVg8sN6fYfCTEb0TFJ8/bmS/RxpJIJ0JZqywrFU7eKd4viMLz1XkIkv//nr6Ls7M5huQ+2LtKV9WUncaTeGxU8VgOdWVjUGY78XiuWbqhBDloFDzfL5SmVNu6l6MrenNyWUUWXAAzEA8UTn1VNoFQpLgwvGe3IeT/4THnc/WUSR7P+citOMc+pbcuyuVHXqYIkTZmJNFOXynZl3YKnTfD4XfkvZ0rka4pzYdRb0z9/vF2amJS/aDhnLajYAu6Bd4aFhsP0Sux6gqlKuJYca0D7hyvGE+AwxJ0goRttx1z88n5W1cIbljpRn7ny0LkoRGkA6BmgezSnZcYpu4+a4xj0AQN2SQA02MV48kjMiA2xEGVXT/CuSsx6CSlebPNNFfolmkaIt4ly+rBDSwcNIYt+/nPC7zLLK7yCIb8Yy2Q6QAbu/QucVDJW/pyaVvkYuI7e9ZmaSOee5Jos2CUrElkcHMMDSgM1vcxcj1NixUglFoR6fVDxXczTXvr2Zw9M8Pmi/DW5LgeilD8fdt/pXY4v/t+TgRDUidk4pGi+bs0ewIjo1mXdGeagg24NZT5oe8+eMuvFxZn18YbJs4ZfHVzAjyNqFNWmH5GbxOfw8d0dDai55eV5LLNK0q3RTg7RchT31y68zKGPbk+3bR6XddewzFxqKdAnUGrcZXliAL1kO8E5kucZ+gU0FZQ28pD1cPock+V7WeIu/hBEIIQBNGTySbv85nzBGuJAUO6mBJQUfMu9Yv2RwsQHLOHd+aIA+gJcUoKUQXw3tH0A/b1XS0eI0lbxk5yelGXZoW40MhlQOZTpToyFLJsF8z4MeSYfItNUV0vREXHBBoiuZBATGHLigWGj+jizgUSeFuMDApAyt0aXYivJLO4hk5WhbafG01eZT+PTMscoBAHyjfggs5zSwl0vpKPejOkga7Wzp/uu/wsIzNXdHskJ5XLsJnmf0+8TpYx6iIqQr/PkN4UFf9ZiWS+Ipx7m7/wqrBJnIoDF/HoKYQ2/1p+iNqOmfXkmnGXUy28JKzfqOHdgwJjcn3xo9pYFayCQx0hFjeugRblFTZM6B5t3cvUYm+34AOQrBr44Y1C5xOg+taDAzTh5qBHOzHfkdsZySKUgQHEvWrMPowNsoYhsDrik1iCdZxp8qAMdLbebJ38xRgvksmU7vt6XF1Qx4PK1Ql9uXj2q9wvmJv9pzJA0qGhCtZvSiU4tAzc+PqPiutV/EozeCqSDJU0Ns+RgSirIWMfhgBTBk5POfUlViU5nP06n4piy/QDtVsFAxTB6zWvyRsGVCoaq8xQjtiB00XU/kltvsxIrbVgnP/ZOliMVw7RoGQkqwhayNSv5ZMBVcU8wJ1IP5v7ZCKMLx+k7cTKuMD86bd1m9qEGLj+ApEaTp8q0Ps4+AaM77ppJVys2hn/31ZgduOYfhwzV+SENzaVC0xwz8Ro8wSy2dklYX1kU3uIxdEBtiAD0YzyYapdZ95JGsVY6RviHzbjhYKcsQ0EHimPc32ekbot0ddz/ldRGuZ7MNcgg1iTY3J2TiLkHEZ0CF3zu4ZZdOwFF76MOGEkGa4mVEJ9GC9W5UZSdjdt053WoJ7jtes1X1eJYv04/8TL7EQ/Ofg5Io465BAw0S2havT9mu1Tjge5fSVbXGQYS0guCcp8TDfzfo0j54xUg5CKIKH9HYpvoiJMyYLl2sginuRuzG1iiz/yqTXqmvWnkHu1TmyXKStLpi6TuEKgUL0Ms0v6GnG0BbAG0QGJkwy5/tGZzmzEMrrtOVq+Cy+1y9YLDo0INcDbpBng32pklVsMs4uabrBmJf7Pxr3Fks4Ynvy/DEfdYE8i8qadF/7E3dZos1z8EcjP2mLqqNWtAgD2R1Jyx4JjIVwYcoeJfyJ0Ro6nlgq9kxra+3h+XAIPRfxrmGJc0XF8OcEHSOqz7G7vrVn96mSAoGkUyZA5xGwwPL2OxKh/3Y7KG8y5tkjgeNNQHijOXhtKqdznxGqDmsLD6+zUJRNuzbIjd+D75GNi1XzjHssNShZaq612wQw/CAVNcWvd5NtR3zR+SKvWBpOJZ82HL5lzgiDSbcj5SpgHgH5u7GEitzlO4mWhc1Te3newdKW9du/aGPhBt8BBTb02k9GTPyhMxkvppliTRYk/qplw9Sz64pqJ5yDX8EaDsJfMwQHspj69rUgAhIzfYOnCVNqX/9dNR3UboH26gXbUib0CesFO8+jkTBJJncfA517yaSAF2PaKfTFfCsoWm6zLyrmcvZ6Jh5QVyLWiPadJbWri0CmQjeN1EOh3pqs7G40Yj+Hao+gMpc7eZPU9CCq2ue2eV7VoxZhGyils8tOGn5GrtZ8VmosJw5TvYqHiMWzOcQsmt731noXRP0EtnHHa4BaGN5DrBCKyHv9AlHQjvCTekVRq/8qXlMZ0pDLiCfd+pF6iW1fkyt4rDS3foKq6mXtX1uKLIdnvTz9E//gE40mXBaUc+A3WKE+aGp2e9256yTobNEvcQNo8lPAC7ENANEoMFgIMxT+uMQyvPC1QO+h/riKJGLof+bclNhs4LThcG3zMN8a3uxlwmXszTSH4/OpeN/JS/sBVWfwWTxp3W/XXAk/eHTjYPaAedI8dTRY06Xe4P6NRTAvM42ZjRvi/2OaFCZMRxiNFMj6aitA3NqYJbfDZT1pkI7OrpnDtsWYGQORg7DCyOOP6M8fbHYZljfzv08k5CrS0QNwntLqIugZDzeacvgdTpLLa0mFTnaK9RUvbRxmoehRz4hni+feGc4I17rVd8V0L/i7FZoEUfpF4nj4doRRrC4U0USq7s7yAAogPq9/sBMBv3HZmJssnlQrF+SkSzs0w3leKSbnFQrVP4YC7uN4dCxaIxKHCYh4/2qxyo5m0cKmCrr+JHHf8anXMEV5YKj00JozM2Z9CM+ftwpPoBWg0DZ6dg6g+6+qoXH4NVf+cMS/G/sf27QmQAPEgFVz4S84vqD7rs+Wsl+LSd8KDPQfFJ9P9JukU1PSSmLUZRMZu21HZbY8ECvXAzDvSx2iZD19S4L6EOxjp0J+XUtk7bD2eA6E1Jo+ZvuQo/q8QgMaJxZ6/ozkx5loxRBSYoohU8exyJHYoKuUCu91plw6+7YbzMfcxmvdKGE0BWHLpRZSoS6AOb072aPFaeXKN25ltn0Nq2lJkccBOdsR/ezVyxrCjYyPmq0qDA0s30HNFBrCCsu3SRkAkAOyEde2kUWfRC1LgT5xR7n6Y/Aa6xq95sXCRydyWAeMnb5DKQMNnasM+3Dbuc26YncW1ntAmeMklIkO355r2PT0cbfDIwebbPvlSW0jD89lh9Ze0e2TbUASBLBf9D/+kllZa4A5pRr/NSGns7rbbLh+pagSay2JR8ydqSdHTWvjqxw5SZmzYyKRtaNOgBS53DEkld7lCybHySUJSjXVjiLPvqE0mjnrZFUN5nmtFkWg9vjt81VHOM6+ayOi7dgp+0Ki+QgTG7H0RabmrnwZDLa5Wtg0jf3YQIRXFsZiY3riTEBtivSwuhQpF5ZRXXPRgqpt8/RKYTnmFCQPUFv1eDKWpslmlEhtfhOUy+QfH7KQUc0L1FMcUieh0X3prcBkhM2EvuM2ThRg7dPTZrlXXwQDxhmUfy1w4NdFncCMBpnJJJ4NeUWn5kXN6Mz7kk50v2nnHmfz35EsJ2HQDFQsoKfp18jC8RGpVVQngz2+AmTBZuMre4NcLj3e6IgqeYUMWbRs+8or/8g1mcaxuKb5Y/Z7GE5mu/jYbbXTRl+HcfZeaGuyNJ1atWOoB01HJK5wBaV3eHgr+OAdbQU6HV0hYwXPDnxsNoVA2aJ7MDmOd+Ysf/WQkh40Wb1CWSQlQZ7Q/oqWxtGceJwduw8EEZIzqSnkx7x0jkKI8/oi7Id62b7CIlPwoY24dCKklZuXK1sdsWng11caBnSA6RnzoJTOBdKnOQ5VSW05L+PUAp2JJraOdsw3WglQ/EA1duy+PLtykGJXOwrDyg6CqryevR/eDkEN00e1EvL3tcna5O1ZCjEmqt1bOouVIXzMN5riZvDu+t2ok+lIl0SBjk8eZjy9qXb5oqze3n4JCyHqUMTKvXlhdojUlwTUUV+maJi1yH2ZRPk0RPHzpTm+t8WwFAW5dDPXXoNHJ1Lz4Wk8VCF0GvyYmcdsnUNiQJQZto5WnHKwymQCnr6L++eBkbwvrAYvQ6a0ytU2xqFZai06ZJQpbjwHCkGnY1jxQRpGUiiHCXYr9IA09tCfGNJXkt/izoVdi3/G7miYV00S/95IaPEhBoyK+7g6F3080C10cIbaDW4e78ouykqoK7lzH4NVYXyrTYAvawncvlUD1C4/eTBV5mJXP6sBHzUa+CuTWoIiQRPKHTuAU4HndOlfT/mMjf/uMEyHlap2YnTM0i3qjBl3/6uD+XcvxeS92Xy8LX4ZAMkhqfs1NL5JOgCeK6YRek38+d68Qf3EyLAbnWARBV9FwtMmDutBvtoZg6WAhXKoP52pk62BwHMQypPayaeOwYkogWShsmwUVbF5m1Kbut8cFXZ+cuFeNxceXoBXpHwestIRHaPkbRBryal//nRsi2wmdJLqWMd0rVMpKqGGIFDSAy3VEMbY7TN2WGtuA5tYLWPTV2OgtFGiTo395+ignrnKTViNEGAdrlAJo8oVe/nUCvAX1LqecqHJhBjcRoa9oYpBCnNzfgvg8HCSCy516dNkIxNe1MkBZAckfH+LQyx80ocKafABMSdezMizZkR4WsWgb16V/iuthlA7aWVIJ4IkWpFGWaC6OLGOT30JXZFzpRxDn0fEyLn+9OD0PdmT931ZF524satnmPE9Kzo4UO1Ct+cu3Uq5TKxR0cN0lKUGzcbEzEajOG+w30rUYsDghsU7Ao9PFiM69Bid5lQk9PhhW9J2kHeQI0GhbUNjc9HSP6c+xnI0HTfoPOAVQ8j9Yj+9jSawdciNCnvDnUJHT7kIE72nmlGbbu8/dMxw1s4F4RvJeuDIPQ0VaR6pxpAq2Cyc9UaRZjSH70l9VlibdiGAtA7RhEtRvCC//WP87pTdCaaiymHM5e4LjG0THi41bkb6IaEFz0E3Z/tArrRYYirdEzlcz3BpIvZp4lGGmq4uvZh9utwULl5mesbKcd55Kjfxp1ofDKiCdfVf6J7kLWMcrOLfydnUuVDVe6AhlaIsbuZhGCHxjs/Wup78U+InR6iCVDsVGb8eaPmYOQRYbJUejf1rVxzsacMbjeRHm4KCqpXYjtbwSWnjNaZYJHivDT8PiUE0DdvIZCrwCfO5XD2EBqcK9bwaO2ujtvnw2GJsubnEhwj3tCKq3+2aK79BaozE3uflMJs9huuG5fRA7exF93iHxc+KR7gZqnByOZGrnRKNPFE8HddE3ap59Bbo7Ti8xKIY3vga2/UIsp41OIW27XseXKWcNtX4vlv5GyPeNgPVK7UnI0SVBV8Fr1sHGAzNqt9C0rDfELAA4TmMslermXOT6nzZHjsfdhRciQfRjJmdFgOJqQuPeujphG8bYm0yneyQ+zfmhjzRBSWQ4PlTn4rAv5LbURqJaDgXHPJ1cDt1sEZnS4DjhD89IQsYiq2o2NbBMzWdquLZBp5LSOOHxvXpxSF0oG2TrtFhRElE6Oaqj8WsSvvQnl7jByutYvjCyBOrLTdD7T8oLa1zFPw49WFaNIjrU98TQKS+sPi1ZrzLaFISCn4Na+tbge8NutGpjg9GWJAuaUCCu6A8FNnvewGhL6JyG/ibV0Y2QmcFzrmKYQ8f5tljKlnPNRV4jWMcWbOkuAQf4Fox+4UnrPywW7e96gL1lfcraZofTwRWljZQVljn+pFY0x6kn+3Fb82rX72U0b+OtDH2vdLvE5I4OBGJyVjA6hggY07f55CCI/hWTj5xdAqlaU1Yjot9GxCO8QIDxF4TsBJpiLAEBvgR1gzd+tmWYfIw+sVKq5bXRjWXXHQGfIfftqeb0RUKJnyZBsMhGBtv1hBVsvyAherAA0hgFsCemyB8WyXafkYXUBDNiTC/zbkYsX2yYnuuSa0gnBHdx9u050Yrd1buTENoE91w/SQDUbID3GcPptzoSebBF7gl5hV/b21+HDlp3W9EprwxD/Bsbum3mt+zcwOI0Lv2sIwlZIKs2bFgk2nQ13jcwL37gvq8WIxrBtEfJOuMMFcLxyGdq5y9R+OWAHR6A11+EKXC5ZUHy2tI6HXVhl2/v3GEq5FJcewcyeSugHI56LxItSXldjlabeZzdRyHxTvVI+CV8jyqF8RAdxCJQKrh6axcovFTsz0w7xWyJ4wC3Rf785dXEOwfk0Ei3H0guC1giSIh8+W2ylROh9b3PYtldG1FV84OXy/SfWPeFkJixNjJ0x/9CSRrFGZCZvyqJFC1vIqEcBAySsRXfYc7AYAFtd7Hvwhf97NX3cHzxNtE6OhtTUra7xLn7r91AXB+omVpX5SyYXqDHCN4EmoW1Eif3bhehvTjSKyEJsEPyCgfGGOu8nB6U1yfkYKYd9bIVSykBqW0JsdA7qlQJwf1dxjuqJoQ78I5D03GlOJ9M93nkgfRNDJ6otfX0jyQ5nuOHhVE1e9XPoeeU7QysKw62OKgJ7HZMMpWIGnqclBnne8/y+sVmFM68aJNSDZGiNqqDeEvGY48X1q7BFijriR9yAYN+Nr9jyX7xx3+3WR8fVw/+X42S82IQyGf5p3ZAcyl9A+tyLEeOgRaxJF8MmhAbvyE2rSWB5MFwVsDJH1Q5qXsidy0oGwj1hx9UBnW477vsWcr5Lj2CBkMHkouA5+Rsz1ty+1i/6htZP6aQFu4n43XQbMlMRJSfe5p3gn6V7Na+MxJ29BXIHWNSoIaIOhd77+a/bzDOS1+uG2Xfiy5a8XTOpik0hrq4iJdBMmC38k9TjpEtCTJIkGYtNsfID+gkwWgszMxvl6lSDhhYU9683tti+5nbeDS4aTJn53sSNJJfUoV4At2yJpJd2ywus4PunvHnovntVpOr/J0dnOK9vZbw3m0M2sGXm2y5Fj4txYxUi77T6Q8GOd65V6Ospa1G/JncTHKHE6HeuxSOgn4n4Nj0oPxO4oj3kW3gptKvjITq1nW8p9fUgBbA73p4yk7zUGsNkNG65eOdk98MnOkX2eZe6VLMpfqIXtBLAeejNCqW24NXHEL+tgPdQQxTlcGNBITlVEX2uRe0SAuuaLt7OrkNoHOuYtbvSslzJJM6JDfGdYt6LuIVXA6xjMredFWWu8kTPSiFWC3qBDcL0vvDOdRda3kDGxoIGNZaDNxW8K8tbDecOTrBbVSFtB32xxL+FfRdtFbqp0XyrSlwYe96zofsT1VKVZY50XjV+9+6D3soFYOvmoqDM2vh4lryjWjc+aL+t/CghUcGyj3ohPG4uTUmprFtWeeHHDNEukM3/MVGHpCFkjSA51NDtnWfYbIVRkYGvmx4SXMND+pW5Xgf9hlzUTCqfJkW0B+fySt+5AaH0Yx2x+bflI7DeiET1/15Y+Vck94f9D5kQqOmtmUfQk0RQkrgy33YUyKjmUghxVpxBps/460L565QhUWRWOXww4F7gndH5weAObhpeEB7MEvgXFkxKWNunDRclM8/uKOXghMPJJk6/ubTekdSYqdVyVsQIvWuXSXFYQToXViprfPtF9K1lyxnKV1z3xBJvHLum6c0TzdSWlBJ1dv7l73HCVZS/RbMOO2Fu4jipXismAcv9ovF0HYcHZI8Jjy4R12NkiQC5S/WKnNqxRVsA8CqDV71HVKqBA1wyGrYWLd3X1a/BvfbszyGJm69jWkrwGFy0bJa0ichNu3XgjmUsjz+UYdwIetn8lxQV4MMzPwt5rSWbPxxKthTjcwe5IquiK8cxofipBbraoCc9UKZquSULTdriC/UvOKKhm7e5E6gQodlRzt6oN794MBssIFnJUgclx4x+w081B4mS39j7aBUGhRPasAXNEiBxfAp0+1pmddqbvBkRNM3rWn/EOfL/Lesj/aZt5iuEwU964mnyc1pUYCfTLd1eycUGQk43IuPcTe7B16Pj8kcL9wz3TwuRarBkuP0SnTb90+fCJ9IE1glOrF1rjDNKLmBGxk6hwy/nxsJVBk4s5c7aPuXXeq9uoNhojvkCwNRPTlZFrCKxkyMiH6rjBwqdND2coSRxLwjREjOjVam/grd56bISX+HRXdivZlHthavQv1EmPdoX7l3VtE4QQiYQeTsDCxolzpTyQJ1SUP4NM6iWtr7ZohnB2m2iiJZPvscv4a5DAdzLHVhL2Sp2FdrPrvFypsofIwEt7wGexeVRSi2oSStq+uZEYGGVynCSNG9U4qP0NR7qvSBNdSqc1JhNrb4lyj1QtBkLUZEjmq2NlTogqsEIT0u1yqutFzTpiv+mud3qrHOdyim7acAUp6rrMyTTwQTECttQvMBNdX0G0h/eeAY/5iEEVIt2HcjzuEU+u3LaX6fTD5TyiOLFTY8+/o7PXccyyaTVc2597jUIcrBztD1sTNbEKmi4uTAOMdGo1FVc7d58vUujpBB3YUL+CtLC/kJ8lOFJrQxJNPgREuziF4n2V4KvwqfXfmE2B8ULMRUtENr52RYK7/Ngq2trq1RWc0ubKshkcWZVPjhXZWpp+ktpRsSGNM5L5TagacUwOZoPW3TAGKfEjXfTv33wtTtgNc0dg+OAqw49pKhc+9sEyK/PGeGgZPHVHIJf3mBDGKuUirXdmtjy6xWVOdLSLFPiT29JkbIobQ7nNMkKuAH11FNTxQfemhXMsX0RJW/T9FmIHmxKeeI1hjoyS1N0lD+ShUxoeb5drIhx1a0V5LCxI6st7ga1cWO00omWR2ahvdConZjI4u74zaTrwLWxEQhrFxhyCFu4gC8IkMWY+HQa7zSU5tPRkD0e/GktA2qFcBrC1QQJLJmAlH51ekeSNPA9gfXqENiLrs1ubtnVXKS3PD+YyK4x6MeX6EIbBmbDcXIa87F3znaggoc6dGEjodCmVd17YMMT7GXzRtxjLk/kCf9Z5gipZWrJIxAUkfNPI+L8ekcFVX1IOV73vrAU4FOz50aaWYxujQmJYAYggO85JfEjuwlwbhJ0EPu+xUFlFD7TGn1i42vV9yiq8i6ONKJtyj+/b5xpVnIMtUsbvHR8H04Kkv+Rtrbj0dhayI2gpEpYzPZLhnRlhu1NMJOSkpWZf7K0HcClyQMLjQL8VMtwZsYY1yQ7XcfX+AK1owSfFIE89vzoZleB+xTSK92+BTEDgcw9vhozXVnifcr6BOgqPPyov2qRC0FKY/VSmXTRywQnwOoJs7RGZbI59KxyyTJ5pP+iU77XrMqr/fTRCp477QbxFWX2bthrtYNQcFHLua5QNqW+6y0Fz76vq1rFEEplMRsaqAXhGS76SB4V5eUEvWaGZdLGU5BpzWF9PBEHW77jfJd8OTZoeiT5Ozs9mehQXXr3LzpJMutJj5W2mY7Ib3JCxlLLJEfMgGCcp8EEQvaKnn+AUohOXgkIoylFMDjxAmr6bNXGqRW3AQABoHUyvxlAaQnZOJiyQNDxrGPpZPCeJfiAR46979i3vp0GKqPAjnrdKIffAgiqtssfJI7ETJ54GGRxMS6aeYe4qFSZ60laZHl3YQg2NMpa+7M0CLdRXgAxE0r6/OytuXtArsjYUixxBva3XI1rgpr9TeBIEOEpWLgGVTO/g+tgasjhD71H44fvVyFwFYr7DJw7jzkaN4KH3vbu8ZG7epUGSlYF7I7VPi/tR7xgJfNM7HJ+5/+2yW8pkO17/Z3DVCzfo60hBwctNBMvIbX0cRUMjRsCv50kK0bzey+wFXXa6lO7lSGMDEfspztrnOTqcS3VYgEfISrJjYLriduTwr1fVnHz9y24twVitP7m58eNddGblXt09o61LmcOISAUaj6HMyDhefxXxLijNJRWhFaY1V9hkmMHTHFD8gChEz+slXGO6xsjT8incF5JdMaHERxx0oUBcJlWlvjVQsNJeFQvb45DH7I+Emt13D1ST2WU+6Gkxl7efcwxmNw0bF8PI3E3kZu4sS68cQV1tg7PSJwYcUDQv1YOQxcbNBjE9j4DHiCNqv2DupHP3Up48HO8t4paQwOVdXPHXgttSx/0rB2AwTBaQZ5boFOjf/9PleH/zzl3V+ERjBYeS2BeELiBW68yuJ7Ne7cyfaXzqOW0kpPv7fLfvTtWLeMNDaQ8bbPcWcmWlST5zOgLtryq/sYHHa/rPwYqTVzbOhjUW3YPtNrdvxCKu/BnuHDr31Hs807fQBG2lu9KM+P+GuIrN+fTqlkO8e0OJzIuTYAS7FY0CII85P0Beuiu6OqfuJ+DwBEwaJKcGIislNpcS9SX29dblgDJe+nrzFn3uNDNcXn49/Hz0h0PW0Gb4Q3MAA+v+ZYBytFsppnr49UhyYLU+VoL5ElR+dHX6bhafwEq35nAttcF8luHPhBmJBwFy5rL6MQ/n+CkjNIb6GzzFsnl/WEpy7Onu4l+hZOeFA/BAMiW6fROycQIKCWyZHh4aFKJ3T523i/yfKeqN3zUcDtpogezGWzAhG125IexBdzfF60xJyy85xszHDetUp83vS8xC68O+sSfovoc8BreMLB8q8f0/gIThbu4BpxDDb8DQ7ER1qquczNU4njSUcAj0Y/SoTx19YMNVA2CUKzhKyHDqyqSm0g9P/IzXkLzU4Jwj91E/UXnI2maxzWYg3Iz1dpypatEfbjXW+Bzca5ncS4it7K4SikUnPB3Kni/Cuwb0r4Aom/Wh18in0hhDst7Otc6mLyIGsfqiUfqRZO725CsVR3fE73CJylBnfdFveBXjsdWNTwwmlhBdppevjilA8s6Hh8z2orZ6EbCw/q3+8+Lsjg88JIh99LsKTVWMgP/LB4AKcStTmONn2siTZgGrHB6ACjl4grTJNDRUkxJ3a+3epZpba2Afnj0vFf6kLj6eUVFPSUmGSdE8TpO5OlOjlLNHOuv2hDIjkw+Wk93d+MD8HXzFLB6pyr8bIslR+GNd/VtEQ89fNHieoAHUsjcxxw0F2+Z2QtNgpjVIEM6MnJIbjDnyP6+mlXK2/myiodrtH8l7lwK2mZWZ7CbbBUHcE/QIR/Moo3/RIdLVX0+hCWJWn3zp26d/GQG9k5Cqt2RtFRgZD1YKdLDVMaVlg/bI9YuK7+5xEMP+KLkV+txEeoYOPpYm3GqCVAX0Y8dTIbzAf96rx0yua3G1g99td7eJGpgXQALzQ45W10yrHnUaLls/vRTFlW6VJtJ3A6zhFRiGU7E+kyshKxhu1+lY5YtXASd62M5GT01GA2bBk7QfP5bprRRssaA773iUnbR9r58mx7Yy8+3YSVKBvDagX2dY2eK//iaWjShyg8omtlDfr7LUSsL9mGbCgde+tRaXNBQ9iz+O/W8MURZLeiAHK6L18lviz46cIW22zHzWSdoxsPKQLZAr2BUdSHvPk3RuA76m6sOhs7p1Bihy8RS5rn7/MV6Nzbo2bO8hTribbXzr/hWQoWwYfVNV2z1ZDCY6zDXUxcQnbM84hpLmhPfBeqItqb3ZMNzmzvxhpjDplcJwViau4V5S6nn5o1Z7IFmSE6qiYVf2DM0yDziJmNhWZcr66WBa7Xo8FZoQbL1coDB7TyoqJ4K0gYWwjavi2bwu92xrHoalGxa2xwTtSh9ae2sCo/rhpS0/lVxrbl5zlzSUnn0CA4r287b8cEVYD+EzXgyBNvVoMveTQpIq09CAcfLiNVaXM4ZbfOabVYt/HEf0yXXNmoofIuVpmHMX1R0vuXvtor2c5YjIFAR2RjtlBAYaUfNXrfdkl7+E+FksUY6hMJfw5bLbbfEaUUHszbbAM0Wm4PPG5Noj5U/zEnXrLf095XP4Gfz4RStcRD+iCbg6XfTx51ER626eyjlX/18dLO9AvDmjPTBt7eoziuODwGmAw8iNy7yj7cB8ZCAcvsiHY9fXI75oJGfyV6xTdWccXqKvb5iPdqZO5zv0QPGobc4FNnwnWbuSSK7UoJziT4i1426/c2gqT4xcSc80+vzQRqFmdBiXwq43z/krf7VYwY+GHTbSLwbedLvffwysSu3aq6D4uYajPrD7yWm/pCiIZr8S7+LQpHuJnK7dMImKSp45IQyUxx+4ZbsClUfhs7l8cfw1ilbP2+ymUTEj/xCIFqJq57FPXFAyS00J66q+ozz6wpjrUvrBI9OTrmA08hdDFwSM2I7Np6N8CthcZDkgBdbkUTy0GZIU7DZIRm2QbdR0kuAKwwFnF1spsMKjUpO/QMluZe+i4P71KjnFj/9LoxnEZGAYhXhqUauu/ib9vysMdC6X7Xd/p7UrZXIRKrNTbT1JSvcYfXSiquAJ/gHLGUTSr989nkXvEe6HITu7G7sDPTaXh9EHGCTRo5978PShWPbu0bXflte5W3/Lvs8FQEp6gns9hECe0Af1rd5IQ40khDGrRRXb+BO6pTco10Lc9CW7ibHHtEsvpW72CEjKnVtxxYCI7f0ULNsLVbYyOPxKGgc5Xf8dTfi+XCPxtJUwWQ87hwcU+iX9Ze/gExzGc3sjHM5Z7tFjc3GE2TPfdDng440Q6V3/A8rCek5cjroUEDGdHuKbqxXi0DvARnf+FP85GFn4OCnxHU/tpU0Rf8FQm9dMYEkI3U9x1Ykm7qMUi/4WpdJng0soOagef5t7RN0S/nJDw103RHGAVCze0jyJ2PCa1cH0rrT8vQKCbNedfGNzL6SNv+aU2IZnMmuGb9DkZFDfyJSQI7WOwKrJ0/wrOY9aAj+cwixmNcOUnc5hRLFUG8i+J4U/TdoPSh5oaLdxYVHy7sHLyU89fJ//ew7nuPa+BwWKhVB5H1bOcL1UNVI7j9J662rYOdPNCEArMoS0ipebPIiMvGWf3x76cxAs8loWebgVVe3apcoRzYJaJm0v5U6oM+2ukz+cBmjuPTtWqpPQetx3Jo767AQt3huFDixPmzokt0W85QBniy0RbWpVTn7ujHiQr4rDnXNVZdOLOugUQxfJ8H59kiaSGIJDB72UKOogyP/RtAHh7m1P4KDIOiKT8mdIX5Z/ziLixShNY2EK/6n5D3eyB5FHxZm7EBFh1uDWCcGmt+pfYautopYwjhRueRag2vGHgFrBit7v211RsZwgDhbGVBjLCa+Ri1dg4iidVpJP2H22A3cy72Y+mUyCPbiHZSmokLOMjUCTORBX4t5LvtYCKOuma/IiQcyivQ0FMzc8mNaQfgpwTPLRM8x2N2MlgMGKsWlgiMcguStjWNTDixNTP39ZPlzPmhfkzAZ23cn5Lh49TLZA0hLSnNthqs7tGNZWWjvNzudBbUiILkrz5pJ5T4LBlyElJNARPYpHHX0fxIfiT4GiAYFGQkJwNNtWvJ5VMYJPc0+CIFCGW7f3FNfMUqG90WZrm1pWL/mG2PhbMAFqCE0wIr4G/vnhkDMn9Y1h7XYqmfi+cvv+t+u0gu3B5yts/AdqFVWttjvu8kBRJJdd7wThqAiMLuCBjjrKrXU+cn9PhkVDGcuvf0o7IMuHzijYF8dw9RemZxjIw83EhJ0knMMMBFt3ZbMPpNjbNZHn3j8ykUtBX4pRwcreeIFyzsc/QVN/gA/TBSbo7iECgLZE4Zw1FCDZGc1yQw47B+JWUP5JuDN4qQ3eiQpFvDrgqGklZLbeBfgFDoSRHm1rAwbXt+CQSlXqi09XocDvG+JWsO94RfW5I/axGNsEktFp9lY8/dYkovZoWNirdkeuKRmrkD1lqwztDvpAwupoE7zRjEl/hfg235IXQX06d8twADyJTxpJw27NX2zwq32AtToYC8p8tyoYZF19y+wldfl64CBEFM7o4IW4/+CViKuuwvJ1DnErOzYufSEfz+MzKaifI2x7ktXzUuIo5jA93I5vuVGkfAEZN9ZMiSiX4zzA+MWczLi3EryqQN8Jz/GG/MLUcJxyg8NdOV55QurHvaLhFrCa1+/NAwBh14rETGG1U02ynHybyO18PNDMvjA5MCZLMQHn2K3sdea+VDCP2kAK1fuR0/Ma7R4LJLjeHv0XxCCM1rKckxaL0u+Qn7S5RI+GhHu+JCYm7GYNn6dCLeq8YjV0UxQ9JWzvn1SXwiPN+O59U87eDY6Sg0Fc580g0a4LoGyXd6JDcgLsvWWo5yVuOX4QT4U5BzMwPkfM3fe0olZWKFPNujPz3hW681c+akvYbxq5HilswS2pxz5HnF6+fCWvzMejif8A3kvzWzCCrqrsZ9TX5anRy/NMGzsODktxqCAUImmeOCGYm9I1hb1q5Ssj+z/BVt093fG12FnbDHCGfVCwfdXw9C55PxoLwzEvTZDZRYivW4opLMXet1PNtvNl950EklHDSrmWZRHs6ZLFUReKxwNRAzief0z38WUIkTW+WswFFcFnUOo0V2THdTptcpaPitgHjwcWzKXtsZj2K76OwUHDy1R7Tz6BBjvZAegQbQkkdkNswz7fNFy+G2NUamO4mZ7v5+pgVHcfPvjFRctFGBkI3qdBabw9GtCO0kST4xHpvCif6pNxLZrzU3ECNcqX7qTu69MXDqeDzdD2OWLOM7mAOM8gBNoTv5AfjFISgaOaHEliDDPszrIr3jwDpXNSQCFtr1ZPav4Sb+n6z5ONOlTJ/swpqc6nrwgUPTYhgwKeD1GdphytzkTNOunroVoWsCZS5O+/ZKJ4jFy6e/gCRELHh4VW8GXVCbw5DTRgXlL/24oY17AqGRXQ5hJPO08rtGjhvezcxNNNCKFV1ZtmCb61LPBJnjVl3R9jzkeuhSPsi5TwKyMVrhpwCfVxYs9Swk0qiKApBVDwknBkSWEPIkRCe6r6daOnviZl/mTWkbQBpEkeaKV/uwPL9b+oB4xHOxKg/GDLn1gCesoi2JzSK8KtvJwiZdwmrIW6zT2LG1d6Tq0u+iJb39x/BW8UbCXM8QspbkAp8W/XS7ZVYDhGILuOUkUaRF/xK5xC+6397lFyNQMj2lEAQe5+fopL6zW0eOH0OmQfmOU4LxMj2I0OZmbwA5h8Oy0euUQjZ53onGmPg1uHr9aORM6OshNtwni2kjOgUkcmbT6bMAxd6gHnu1hUVWz2cM9tSRQCbXB7mzX0N8R/ZCQs+tEACSQ/EoBf885Pd5UHR97r0yw88Y3tuq6tfNDONP6m//pD8ytquzI5JBAERiedHUzvmde/zELa3Dq9e0KH8pjmCVd1NdqyBATMPnUMG7h+iNl0Oj05Zk5Ei8J5Y+AfDWEJKxoXTvnpb7WoHFmbmK6dqu/V87vBIDfXpdEk3aEYrMTU0U8YJpm7LGRZkznYgIj5KXK2Ou8+H673+jRB8x2xaxmih4NaacsIa7HBK1tHyhP/ruIL4I6reWirjq0+vi+9/i3GfqdCfpQ+0Hyi+9K5JZYCTQekNDBvnfbwfcLblTAqnW24M59PYd1GrgkmyLZodq9YQcdnI4jQtbid1/ht5wQDIjZm6AqoN2WYoBAKOwbtL9u6zXA7eJMB94BfnCF4ofh3Ozy8sl5gmgPR/m+YhLgxTlQ+ekbnHhv+ffJoh5Mb6ZcYe3nmJeyPT7FBRYNjr9+Q8fruVpC8Bx1OVLrBaqnk1AzFR19YUZaxR/xzLc+l9Z4MaySYH7YocYDBzwO49VedPJenw8YPMP+kC12rffbYsBiVzKt1JOvSQimV9zuN2VrdaXeEfrFLBj/vwmekrVUocWgYDbMcSl//iXwpI/0k3nh2GqurNkJejQYYsK7v899NoP/ynpBx3Fz8JJpV00r4TgA4aULSD/4XOQLONOjJe2dZ1MrdNpqSmCiy7sI3JT3XkpnFAMNOhX0qwJPmn7o/xsuzrlt1YB8wOoeA5FeB70L6LeVn2ZEnIHfpJ8lsqW1C8qvekHWGL5+Q8PioFb+kufVJ36/YzAzTUPwgEipxmK9/e61QCURrLOeg21hOfr2AFskIRlHclQR6Y6gdTbetA8AKTdZ+/zz0cQ5JEDn96E1rySVzIWaMW0ManLAkAros6eJ37hXD/hwLNVDY324eWGIZQOl9BxSAACoMXhmMIzPtcrNXsDAQ93qpUTFDcbxImyEuOh0APq2UEKoKWxw08H4G4Tp9x4nRwjAJAv9mSXOKLgHZVWgRtjMAqUlESOFZz5dp1jHtrySA7Ys9IQxNHGlqTu2f4dCud8HfJ19EEMnVAdozyk/pSqZhSLJTjmLe+T8NIBBsg1yanuVvXs60Bfq/RMgRNMOB8ot3Hg18ySa+I4y31GtOFTsFl6ADa8EBHzhrNdQnzMSAqRXcTR1PB/duyaIijmS58qhQTeR7EX01NTa5Hdh+ey3Plw3Rce64JBUDnxEUWR6wf8vLs1347nmo0ewjPleGikGuY12M8Mh7nKoKrIg5yy4ceqAXqFkjt/KtAilLRh570rNoLr5E4JQoRiX5IpSSMMHKLTRLhEn+D0yYss188jZp/o4DgYDO1T7lX+7nLfheahl7isOCct7mJxPx+2ziVD3SYsz1a6Sz9wMVZSOE7209/t2QeIVxUwrOX0Q9RD618UvcO5wyDLF8/LIlNPNcXwDNL26pbzE4ME2474HyFqYBLew16S/maWTGU9WSsDNr20WWpCW+MgwfUptemDr0w0yXsZD8D/HE+d8zTAloSl9jnGURx2eWGB7bNU9aaub3OODCo7vj4qUihAt7VpyRCSzRfi7x3hpANAGWRbnjLvit+Y7GFrua5lmWLkkjMSY4xJTP1R86jUHeIIbvTH4NhgN7NtOc45uuqDtUaU7LXGRVKk2JITWccNSngN7ubO0NJ+5jIqzd0tTEjN1Oo4xpZjTgksZzuyOS/WqiiMnM5Xq48/6pzZyyK4k3HIw1z22stNYB1CDKfxUHBv6R+mo7IEk3ZHGaRwY7zbPPL9eHO8aSUo5nVUZPLFDzZd5CaHweDoFxX5DWI4nWB+CpE826EI1Z+jFWiCkOy5M93KEBgsOlFI+1x3jy84UyH/XqE1jcQO6Ni3IuvtRqJlwskFMlwdWlDYXCEDLR/hZrZDbgUKQIKxpxSL4vLSrccH/BntgRtMoCy7M4pTvNKKH+BjXGFQMf1Gogr63UuPotgiRjfoB11T1TCLqreRTf5Xthlfah8jegqnRAI6of/7flc4o8sxixcrF27AoisFPP3hUth+7PADcusB9ATCyd2RJEKK4clsfydNBvYAfeRxQtVvLyROdo4pxVQkemGDJfCrkopNM1ZAt5myQh0QJvFxKzmNMPS7nEcZugqLMR2Ie3XgDPZgbMdgA7HrAN9DmPVODV8E3INRaobpUqiRTVcuAN4cwGR7E1FSVWc8gE9EtSN67G+4zEREXU/AQhPO/CcaNx06airOfs+9+xxRwE4PwJu6Nl6/9z4ZCeYXA5QsWaarBTjfiRF7m8h8WtT6JsbxLfZI8dIkSk6DW3wscMJvPE75t5Ur7EF8Kwksbd5Y+Zg49153pV8/mcLkNjV/lmE3JZCreo/WevPouTaz7Xj1QTl0rXJovuF2MdBY/MtRwy3tH6HwaheI7o5KWn7eEyV1U2R1JUJv6108OAzB1LQJxwQno99lr+i/dxhzTDM2/1VXHIr7NkMQdv/39W9I0ysGQW2Wb/YF/iTKWLJ2eLjP7BeNuvXAsqlwJL4sECW/nNG6dOWG4yLkBLF1Au3YEy/eROxInvO2qgnGJDX0+vP2O1QGMscl5OyP9gZCs/L1s7gcUfJcZnRxXusuMPKvDFaJ7Nd1H02fUg5t002Ia5TDEC8Mp/PlHa+9rYgpBeocbolgoqmOxKPjzBDhml1xI7lSpfTfk9nOh9SJGI7XeDnq0CSkNES0ZGefL5lTCYjDTHyQMUnYkBzM6Z6mqLn4aXSN35vteffqhPL5xdAJmZ1oZ9qiOu9ryJXAI5gUEUxqFue3ZXhYc36LmgdOWpUspRe21c7ukaWo9sHR3jdUoLiDRNfZELOijP2LaSqIDV0QorCgp8Fzd+EgQ/NzPb6twXKuzPTs3ya00QBi6MoMdqiSmaq54NNstiLC2Gn4rC1KrvC6KYHuhSq5QP+TYYe7kRHIGcjoE/VhDEtlAlhDGH4qwKdxg1Xeirl/b1ssgAdrVJrJi1CBx0s+sa6JnPbyaF/77lw46neSb8KWNvFsxPaCLvx3GR3LK96LdvRdep0XcuC0HGOXmnrPAdeQDsV5QoArP3Vbcz5vh0Q3dGnbqBjsKjmBrONw6QDE32x0aHTLbTgit29OQs7KOSqBpaZdnom9OY2VVs32CSiHCQOW/RiRRtNCEU0w6QCubx07ur6cczUJelzvQyfAhgMGn3vXGl6al9SiwK/0ZuKF8PFz3Dm0GNrYmZuJUaqHpxOILEchc4eTHNpCl3/BHyeEnuriq17XbftCMZA9FlQ6sPYy9iRya0VLPvgnbyLcLKs3ShaVf8ZgoD1Myz5DUWlXIpJKBXrcZXZQmqe3Mm10nwZpQr0ISfXESK8JbtM8UUcabfD1rH6b1w2C1PwAnL0iR2FnoUZmdwuOfj4rFxo5DPm9TQWKQlQle0xRx4ge6cRgD2tnln8PdgWYupaWp4Rr4pUqH3qCEgUaqtmwqJUwk68ipigoRyX6t5UUDD87DuJyxZPgPayAC3E+SPikKLgAJtVxDHdfH+6wwnyGzOmOgf3xkjlRlO+K/E13lxW5iDdvRwxmGHSwYye1tPCh3VaQr41MeF+4olp8WViBclwq82tXrwlXnz558AjhCSlg+yfZU2yrPSfsgRotIHyCPtJYZsZXxmlqW8gn5t6ISWKPuDo2HkZA/SGv6vZavJ4grnMj0u05DHoKripR+Cfr8VLISste6xj1+aQiZjnMCb16qhGLhDXtHH6deW5UAhjzkHRyx3ygtRZN6II05badY6wIeZ97vqWUrgnq5NzE/P0I1yKD+u80cc7hmC6NNzxcCKet3JiKIIJhu6Q8IrBCcxLj/hYBHSEDQ9/x7dZF7b8QbhVsluLmZafL6bHqUmaLEa3M22k1DTdarlwItc/teMTJBQkbg9sMAtEBFiydlgJCS+aVjcorH6UYFFI2uz8qS++xJiJSDq3kdw3slbwTfV8opHbC8gMeycTE7gUdICNl3JAybGMy7Gin/EfyOBLH+1ODAkso1RVwYGMOMHUt4naqR+vfnbPzIKohuYcv7gDYQMJ8BU7aIrTvrbPecK6iDUJV1QgASYSGzv1DTUv3NhNCl8Izi0eGnCYxfW3+Lb6qCpDzBcGPCotdvFSgHQ8MAOwkJTL0uYcJCAjDA4aGcE1ESbKabChSl+uXNNf6Y6k7R7UaRstUJSA913SYqlWE+Y5ghBPqtMfND7xPtJzR3SzUEWxjOglx3UhKpBMYYQ8ON5wil3O57EqTXXFTZHiMk8cxjgLBYwRWAT0yYO/MEkydiMmHGpOyHtOTsZSJdpcgxtUzCqXqfuihRXt35DZWwmbW9asKtuHcmiDiNL27s5xh4nuDHBcf9DqdKLGPP+N2sA7pDmK1sQNy/DNjFTlOL+7bOG7I43YwZf82IDVqlasI555tXekJnRDkVgxDDB5UIPAZtzX/LyU+uEws900Y+BJC+N1EFHl/26G7qmq/uBh8bDANV4bx3c7BuVKyR5ZY8q8I0ndOUb4q9T9yy+q5UaDFxMojh126oHLecTbmaSvE9vT+JNhgOEb/2+Wa5SB7N/XYqZBFJeh5j/GCE+fT/frkbHW7xXJIM9FSYZAF+1nSTG1lEpd4A6QAldE7hCqXJtnjYybLnxlPrTNf/cmE5Zn9NyI2Nta/01ji5q8lDPf1PMNWna5MbQaKtpISfIYVDNybmddKJL6yB7FNiau2FiLF3fcT/iGg3hQrB7cwkesd/U7ourwGJBv+k9QZsKdx/ebE/y9UWG72byI5NfD4OjtkRM0ZVpfbmn0rxa0kcH0mw1Bu5MxyxOcYeJ7g6Dr3o8euOAXqIKW3Rcd74LfWtXJoepuChe8R23DQ8fwgpRyZLrHiPYLBTn3HDs7c8OP+ZqAHurSkla5F6qdv4ftLVdgjNwi7BkX2Qnc2ReESyWI/ZUWZt505Dcd9MO+TyxnKe6UQ6CtRfMY4lfnrPJ8NfO+I1CP+SwcRzePBa1VbAteVQFISGi0/H3Y0asXM9niQlLnRNPi+MIBn5xz74pg7i26fBLqgPnsmwnMr7duQwljoPlsm40vnHTpNQL4KYpUGZ+Xd/zJ6GSUa4kzD8UqmVO9tF1W8JW2Oel7O48spCk7rB9efYb1dl57W/puxO4fWRRn83WH1DfF7B9TaaqEjrp1E7f22Td2sXGf95F1WiLH5HNS481ZwjqMBzmLZ2kz7Hqs7oId0jD48LZua0iMQARYKAsJEOMT0Wvv+nWapRe+g87hW0DvutqQeZSY/ZfUSRuB6fn/R7jvQt4eUxCj5YMNdL3p7poVbIfvLwXb9vGBtqMjX1hKdB38AP8CVDyXVjfNxzQ9XwAO3UlCN2Ond9+LN8dN8PjxsTueN//Gu+cAQv1iyqNPm8NH5WLez8s0rqHy7qhicFtoUU4cUEJt3bp/EHLJb+z43Cihf/HawC1A0LrQ/lVoSdKDqdENo5Qpw0f3TltTDIoeaO61/E5Y/AXzbp0k90/66IdHuUozpTKQ89cKxRPF/Us8tvknlNeXY/xIAGGCgZguFs6vLOzJCW53umH0EC50IMWVk13R6JT4KtW0lLiVLCXqm2nHuz+lW+KPp1J8g03tO3PFNFgBv/rBJ4jkDxHy/EecMlEcKKF6ceim8hy23T5o7RokJ7H3ZR3QhBwgN1q3Fnl6z4Tivd/drnZk8UbwmM0eIqdAxw1VdrBHKZV44cTHWJYw5sKGq5Llc4h69S02R/T5cItp4ql+J3nsp7V8qhGVFqBKd9KKsqS7Kva6uqObdIc3OhsEMymqmTTEz5UvKC9V3gD1ZZP5aaemO+704m899hWK5e1apoGHet5c4V8/mWuPc3yEgs6LN4YviYUBonFTqFb585wcMj/etV0WhHxX4MEkWuwlpC2c4UsSPtcp2AtFSQv+Xcyv+ZLNbXd/G9siXO95Xj5CqdWUgUdsk/roCnScy3EVJc3iWw+CFQt51S7FRJEaKnbkCkdr5R0pfqBdDMrF0ZD0m0YS1ESs1Cgf5ewPFkze1wB7j8Pwu1h/cD3k0rpukHmivEkSZuc/o8dfZPM2DBP0wTXg0q5hm/ImgTNiyk0uoeflocuJvI+sc4duuoAyz8aH9u7IAWEqnTtS9kwzXxeyRQoDk4cki7BgljFK/TKYfX2kHfZMziRS6y8SCA1tPVxNciPihWttpwYex1AgfS09swIsze79KiLsyfrGHU5QoTUlVVhJXC80c6ECOBrPC7Kgf8zhyshjERwheXv29B10mgNufjJHCMnwxbYQxDRwdajA5QgJM9hKjaKG4fy0kyhOLpSPjhpMsyHbVZDb+3uVmQtEOXLqjk8RF6O3RnhRmfkC74wLw3AXsODqcK3pwXxO1A/3aDRYoqKIeAHY6WFkNrVBNfg4ms3i37z5IBYuCCs7fB0h2vhrvlZnjztiJiKQAALJ7CN2ZyiPzPq/l4RK0STQ4v45ILATxtzyKT7upWlHF4I5TZOxviJBqR1CuFcnKSevzuZ1a1YvCFmalBmsJCtSqJej6dzK1tR3JBWibk+Zen06wb3Qbl/wasEuVd0RarrUizrXFwfV39wmqJdh+Meu5RkZRlDtKZ7OTMXoQpy5uI4gNzl7xs0ANuhOWsg0M55ck/IzyebxspWRZ19i0NmjCTF8xSUvNPSqtuThQVTfYRb8jPC2Kj+ZuBzt+wkCuixEBM+giIotnawVTRCGxoCG6sJXfgYdjicWquNzStbgnwb/q9LR1YGbBAR4VHoBTTE4RPBJnGMHQh+2aeX4sNwPBlJ0u2QBKo1qmR/ISf/nglJwnb3nlfJwedj+F56Pjv5HwkK0jJxvu+8hMVSyA7uNP+iX/Qn7p0hErgZrRnsG08uhkM/z9KYOxfdfQtj4aUWzz/UlIc9HVdwGXHx0KmhTKRDS3WLvMZcte8bRbyaMZV5lvtwHdIVJorvE9kfNTzNQnwIbc9zb6kXS2gQALCO3VOFhQZo38yCHz5uMcCUShzvCti6TNYufcNUwLTSa9QNpbIAusnK7Yi8W5EToJ3sN5E6tDjbJQ+hwUz69qTXCU4WqcMRbslG+f7s+lxlqjOc+c7ObbfmJeYfAMyODYqF/cFCZA6WYPiUaNbngr2b3LdW3PlGfs88OUqZ84GRwdZia+3O7zxs0rpN2krd6CguEVOliWR1tWYMuYj7fAzJZ6w4wzTpQVt8mbijRLnn3FWT1Mp7AnEmIPmoyP4Ded2zGYBFGkiM8LFAQ6sUuWY1ae+YYDPgTnM2dJnSsxZKwToKOA5KIxJ276lfMF3n3WSRzpb0O/3rZAun71RG4dVI0e9Smk6XlM3GfsSzrAFvC2FLAo3Lm/UR1oBTWMgdROIB9rrkqcKlUB3olI0IzxZcjV1QSpaW8MsFrRXPesmxg/GGQjSf+hrHsJjiB+e7rR9GpmioUMJJuDlr6b1PpEe9mNCcFs+qaSCEE3LPtZ2NBPqAA4ONxpoENSHgnUI34bsZifUrH/lgndEdpXHvW+wZD1mT2clNkhlhBU8EtOvMqZeWrWEvLlNtbAz9hVzx0Pcu846Gm/z4AB3cEVBolLmMcTWx8X3OfGE7aeKslt/vW6ytVYaZmQrJKUsPMHCq8KxM+1M7n3t3D9v0XBdqjeblWrw8IaaCaKZTlkH2TVvWEspFONWjVVlOFfKQ1B+fk/gLs6YNxF7vYyl5/euONpqSvdqlwkE+2xpIgRgZHGlzEac9YiI6H2/oeHva5eYB5zHd2eqhM2ClR4YiZ/f1d5yZT3OoXreWUjRtKbr4yF1DAUb9XdBJXaD3EEd0bXAYDkB3S1cjHonLras9KdtnTYUBHFI63DL7ja0ckfsWks1KJDItAHZHwHMfYqyDf4zqZveJbJpSwCFLulmvved2LFBScTdho82vgT8wXfeNk8duEDQhGhpuDe+pSbb6SqAYt1Yz05CpKsrZFX7eZR9GQAzQJ8JSVPfmagL2LsU+SS1SQkCSexY8IZOLixzwC8tc1BSdZ5JVSwownjDdtmhVa55x1cHMU7mmAyxtrBRBrHNqRmwdIt4B1Z0uNkYDpiiRcVEg0UCOP5lSoC+QEM518j5V0RgQTK4QJwSkKEFJVI8TYQwI9CoB1w+oC3rLc015YsOvRkCk2tJrEFFmY7DuNFThFqPKFU7S7HvPZrIz+pKqq5EbITuQFoNbDO3L3iSpcy1AXM4hyjjQUICwywagMBcTjOzXYlImZd6G8XqWkIWLzf6M1Ra6ltNpcItCYafWlkUPu8pw8qBnWxJbnn0l0t+oUEFyoMlg6N/Hy6EeIfKno7lqxW1AQB5pFHf69TwMfJW+GGgqmUKiXAKynUdhqkS+DPmJz1zlP5WR9PpMuXWYmaUfVEjE+VCbophoU/xBzPu55+WMSEaBafdAtEZ3KcH04S+HtP2hJF8BGmEe6cW+qPUMk467huRDX0lZHa2hHqTQfF05rflBERLZFKHKD7V0Kukd3zTvfdJTsKDNj1jc/diHzu1EfYKypV/wZqJRam6MLdb2WmD2iY8L3xfEsoBJM9Noz/9MnisCYXRCkr05QFnffGZ0Z73rP+BGKN9kgSh2618tmylVDgmdmAkXkopt6AiyIf7E3qlBbokW7Iygb9Egj6x/b5TgbHXDyFntrPUKuJ/UKqloezGz1Zr5IUXpTwK0EUWIAdJAZq/yDUDyN3rj0dmG/oVI0E5E+nQarE5l4w52RPNfkz3iqvnT770H3exk/0oPPe6E+a/mdt0q1nZ9wqdjblESSB6aLEF513Ew9Dx2fI+y7i9bmbibqc14WnJIX6F//utDeqmEJ4q8ULwim1Pn4NjOqRsBUuD3DJwR+4GfpCxb9/k16a62AQJMOYeQe1StotQrKUGN/0NAxxVnzxfFfN1EGsFW4eRIjAyjEZ7Ffu0BPmBxPefGgAscHpavbOJrFQ2pKkFcGimjX+CGGqywtxJz/vy3fbq9x2ICmSGZDF74JQgb0MtCZ4Xwum4hUO8+pzHqNKBXRwClrsqVp44E7TJcI2yFTWWbeuz6ySYqed4O71O2wpiC+daltmFcePdIi1aYymKMo75LXAl6VDdYNKbUBHaDwrp9dsdtOvJl1G+K1UVV8nGItuBT4qTDMDEeLbxAsWI/1KSwGIrxVzHbNChcjBWzPqaO4iQgKm/yfH9JOESMG5x+O3Dz/xZ7WDm64m/7LGhBoYoAzwZFNhp99d2hD992rk5ab/Zad9PxeG1YrF+G5df4QtXb+w8zHktACEDptNiPyGxM1kPcSNoNPDf4qQwfUTUDmPopKYh8qXnHqFyzn0nGVMXdT162rglEHqdQTURA2wE+s9U19fK/VR+e7ANQipUzPRfi52GAkyqcjdb1pt2L+qi3ovC9hI6gq9k+IG4Vgd00weibljxqC5WfVbGijv/Sf7mN9tR4qRm2vruejnMsz6C2/09V5CosqBuiMqhPjA3EO6hHop1yHBXfF6wEygAMlzUVoBqWVjHygLQEXG+AuAjjhB3jo9qQI8nUCcANUe9nVsT5KaGe5+BKq5aOFPcoOkdC3oNY+dKk7u5pMxL1UdO73nEWyExlpGm4vh8RBwm3C19rbCDFQYol+AGsV3XzkQW3aaTvbhO9AQ2ckuS8c+GJLctmypPzUslBqQL7rZLwftnHKSRsaDdDUbdw6ZoKQSRtU4L+Li1fhqwD0B0R5xQAhcmqlPaoM9Ss9lc4HwpuiMJJq9+8AGIiMhyi9lcDUXmFqAP/KALHCHx77QU4RBSNLNRJgMk3MKSyywq9xhHvJKM9Cs+C0jG9xY51gGvnGl1kN/+lcS7mHD7pM+kZqd4Tld9x4qyyJfmKH+vGIa58TVvq+QccDkPKQ6GJCvs+A+bYY9cLZebIlGtzQJWMcFvC6TAle2pthzXBNwkI4KDEJD3n7hEIzxlWJl8ugSQjfNh7qFQ4Ht01DFp5saWNmXU1PUhdJCqzvwO0cLlxByP0QGlpIo8zHiSP4I9yaCrRlggiNCjLuad7cnQ+w48fp2VN0+FUbBYkVGn0QCWFZ7rBQ94qc9a1pAT//RR9LWwlJZMoXi+cgEPjYe3aNAFZ9iHr868gVzp6uWDxFlAqeDiXinDDX6ttMPVMOswmSzeYQiCPh3MkdTxNs7cZV4IcS5fQCQrM+Nhq2xvX8qgf/GUmUcUYG7SKFpPn31shIhhre60W0oZ8jIvwxSUxNzsQlDp29Q7GZmYuY8a3fWDU+uLi9YIauiEkdOCyMMM88nPj0WfsOgRzk3/RpLda5vlTWU0V83E+F9F51MDqpsBQp6qxkeyflydgnHPUyxC7AH881/dAKTEr6pO1G/pGqSq3lDyyzgR2SfjJCabauNE6+5MGbhTyN1coqSmem6x0QIUHwZQaWnKZO8a8AIb5exd+2NrrHStaJRC9u37TtTXOIozQa251BfpYaN0oFTG16E6F6XhPGTOmKbl1/msjXpQnvMiqfZD60xOWQsvwD4E3Kt393xMrPerFRlG3jdngRxhNC8bbBBuTa37cByeLtwTOPCcEWtA8kFIy9EZHiuSKzqDo8LSR2OB+ZNLlcTAi6Q8poANO9w2p9pXF810PnHXkfHHA3tonb1rOaCm5cRm7F0F2cpGZcQlWH4V0wCgI5n84ClieyjP5pOpTJfrKR7WTCvP5d4QJTcw7AU1E/3anG9jgoiPwDrsHh7ehM7nNiFs/gkBh2NZCrSV1CxYFK09rTd6OAAalJskR33zKoVL/C1zdgC/kEhtMKU+G5WRYf8vXC3qoNHF0H2hhlFY0aqKnx3BZ1BQR/ct/m4Lt1lqIHcp3hJvGb3NTf0l90aR2d+vRebC1cLcpW6jqUMbxGbxBfQ98Uk3BRKC+TNmT6TkOD1bOcsxtbmIsj/BYVx8IpBtMu36pGrYMtoDv90j/hEG5mbt1JwVvlkhqBcktgyMEWLaHkOMVqjlYltKcr9lBBCXwxL3uT/62qJOGyG5SIBQYZTuxYK3ygIeE0a1NQlMdFbyzRuI1IPqhd48pkznS8AC53zTW/2cramHacEjcYf8mfFW/yghxulR87jXyCdJcBCYFuKHZ95F+78OB87Hlykhv6BFG8409iIe9/+eXySgTAtu46OEnB3V8gV4okHrYEFUWERitFeKdbGPVFoVeXA6QdtPhec6RgEEtjdLQmtBkK7GR75Gu6ranZD1zEY5uH8VipO/eUo6EALW9nv69bl3Ke44keiCXG7wb93SXUARy7r4SmPl+8JfMqDlEtNG6lah24zW9NyTh3X3j2Rx2rlrHrb+uS7yfu2AbQEi8Hwn2eKWBYzFImiO2J2q7MnVbO0mMLXD6qpBw1P06cnZauJPWxvcJS0k1BrcrmfYG1wKt33IvP86RukiFETHagfVyzBfc+3TzjuJsI5dNOaoMfibGeAaALLB+2ziKmaQCuGaPhA0aluEOhZAcrvj+1WWLE6UqEhebvOMX8I+QsGh4rP3FbO0VROF/B2tqm2ixscOYegyfdcCUK1LY7s6EmWAVd3k2nThQMtwmB8raE1x2Umg/CZ44Ja4doRYUWJlIGH52thkVsqhE4E1dzYB5DJV+BJoXi0nY12pmAgUvADDwu27wf6Vdj2SKZy1Mx3SEsTeAvc8PaTZ2YhFVv0PlhrptAl3FcUXIXNFnb2M71uo9o4tuy45wVhpqTd2+LQOdJjNUyvLQ8o22B1PNeLwzJjC1q4P1NRlWnl4DeaYdyw9I65c5+fGY+XEStEGQE/pnFdDnTK8nrJAwixfx232rrQ39LkW3mYtC+hZr9F7ftBVmRfgz4ZlVPnLA1wRs7MEJ926CAPnCm4PrpVib9EBsdQOhI7Y5eo7H82i/IdqFDxpbo7A/5TGYQ0roKktEpfRehizQFoZi51N4T0aj/LIlK/r7NR8MDN2ezuwg4gM4lu3OgHZEsMHoV0CQpRRZedMgxO9Oyymd1cQWMCHuUthvhcCFseaWaRysD9h68A+ftV8FJBQ6kPjIGIq0gkS7tEJul50sxk6mnQCAgfdTn8aaiLy2ubL9hOtoVGIQa1RQbXynN6Su9oJu4a973dd8DzetqUABhUkcv4+sp4PdAe3HSbKPhjiaZcCbxV/3xGzsOzLPEUhAQuOFEeyGuDyeJiNGneQgmb2DaChZQisYbuibJ0SHVvQL389iYUL97FlEjiegEVcFrs1NZiUJp96n/udqe8tgXKv4fHu9AGhUHAiNPJRebUJZySy7cu4WTSR4hsLGA1LLZMlCUZCPQtmH7cwP2h+6L4AsUdXLhtTK3LPxqcXzBwdaKute66o72fIg9qvE9Xa0TODYLB7mac7ad4c6WbpyCRoocG8nGbA8PqjP12mpFe1MKa9/cdCpZ6z4iUy6SLqWOlqkWF/dfJ/24/PB3QgKmvIpNKTAEwQKgkAAjvtOO/xrHiIaNwNJ9YbJy2D0lkyAtxNi75jfqaFRWSjaIwmDtG3XKU/bg8f7MhpQ7z6isfUsTtz9ijp7QRcDXa2kHQvqMK5hKUZrckkAQkYLZ2yOQw/B/Trh5Ld1Lpo12O0oAdPhgyM3YNG7I/MPuVIXzWgIetey587Ms/0SXRmrxxPnhLt2U93r+Mba+mFQreFk+/30bBMCYoCjHfuUbr8mpHFSc0k+jLR01PSIxhJsRYNjickLsD3hPpadqpibSpTKkDITwLy2iBIkHG10HysLXO49hzcjrUp1BzlivauRVHCIKgzlVoYPc2pmIKRhKEVnHLuzEZsExBD8gs9DLEaY2sWFAQ1205vZ4pBOY6AkCD9UiANxQb0Fclb0w2jUkP2f/56c1fUiE5wkmJfCYqP2koXCePoq+Q9gezJk6/z/3R/rY7TttJdclaXLFM4aNyc87PSWfXyjjKFAFy6fdcbJ6Uk9VbB5qoaJSnDX7kpVo5vbdIw/oRJJnHPGUGHcXzjdzcP1Q81VXJoxpzkREU2flbmMGOrYgp+iKecvGNkiLSs/dRN7tBrf38XcJTOkG+qrrQ0h7yH77n5S1X6HEtPNOyFSKcaVa/KStEjkVDIs5qc+BBbcpNOVJ23FnoVkw28iQJpSdntr/Ya7G2w8uKgptTX+uGsU2+2uAvuVwKmyorDHqu0qjTwJ9WlZx1dG/pNsPkmtJCXdS80N+pNV0OqUaINYxoiGnNamXtHJ0vVxP39xniUxdWhJEZ9EFoFXiepxRla50Vtq4+mdt9M39qXQV8/L+dGiuWLKYoX+Qjan/OuPj/sU1llKvjhlT58v6wtJSXFjm537Hq1SqYbYW38ygVkMsJKXG15d7V59XvJuBvCvWbxpwjCtcsTAy1rKjtkoTK9KoHNLBgRD4Rgusd9UkUQ7DirUl9qac058sKwPsv/cY41w0xxeeV0jkONgVDjbTTU/QErbmrLsdwlFak4g9c0rZXldxt+hXUPwEeiCbVSgkwOzff+fPanOcjGGhZUGXwmkaCn6LstQQjRpio0HFiVFgvXWMl5rEL36TuQi3k+Tm9OobJvS4xA7K55FEqCzVP7iFe4egasdqxGqVT7mAV5IEeln71rMyrpX1vAsZn3uR7B1LjL7HshI7ILh3VaQK+fRdktHovQMGj5xDwDaBPj4bszhb6MRvqqfhop/ogwJlti1GjtReErbtznY9bH/1d7uiQ49suTqnWCHwFBo0buJuv8E3Zwym7WAXjOcJZcdP6whl5y2vW86g2aUWV0dj/EZezmwcvjE2f+FQBWFIkzZs2rEKrn7LV6jyCCaIcH4gWEgwo5QsOoEl09xlTW/VRTAmkhJq/dzVDOPpAPHX7qTUoYVAWjBbZIYDE8sh3PoM6nYiwFwRuC+BzmQjjP4AGQe6MRvBnlrZhsNb+2Yon/RGdCcxOOSzc2dGh84c8Xlr7HDnFAJO9zA/BqMWUqhcqfsWBbff5aPLQxOYlVWuvZLiZ28kLTT635t7jtiViuknmjvYlItjK+flaJ1iX1e6qh0d2v4qsrcyGXjacx6dHAUmVqYnnU9ZmDwu9A8sTuxR0+FGU3SWqSRE4ugyylwGsk3WeIsKhcuYGUIcVoVxR/HBe7swa6cCd8VsfsX4NrMAm9A74Vd8Bcxknoo5e3xhknHrL4zScq+PNWemI1wEMUl29D9Q33bb4ieY71/75llXo665lmyEM/JVh0JbG6+ZBHEILJ/+0phq0JWZg4cXmdFMHOeuxnssV7QQ8HjAhdSEsO/H3B3U52viWt+s3rrPO/3lQHAe8h7TsOwHzyC8xc31r4hue8YBYzxw0eYxi2kmR11SZMELcP54DDoANOH3rwxRTfcpjKUSIjx3+HwmXQOLaYUfMR2qf/h4h+7gntVb38URDwysm05F1t6ayRab1rlpErKrefsHp4XHzGVOKyXFrHCLnfB/mp7BHkvuFlHlCxYys+PyhtUTiKsH3zUm88Pqe9+sSsJI84l1dZ8qKvXNBSWlipjOekwYxx+HF+naulFxwH9IvHF6m5+L+PILQbUrqWxdq+AHkBrw9YsoXZdxEHR+nSMehVGOll/Er7PC/u+GANqGff0kbiWxy8gH1Fprh2cYa+Sis58i2K/NLZCa5gffKAX4iGqyEXR8hlRXbnDMm/SzzhK56+RjVW0AxsqT5jFUinykrOvblkDqwK7u9iR55/JaTVtYM98Uqg6enZY8AcCy4qps5BI8LosRnTt8GoiAU5MRQAUQDgc+dOlm/Ec5xMSbeMxc4tCWRTnr0dtEG+43LpdMnJZpyGrwtoM/czIKnLrlxtA3kBoOq1Vn3PW6xzxgqdylc4lBYFOjYW2mcVphFieZKF8wmSwAo7sxVSqrTePRQzTX/WgFCKPrxS58eYc72Fcg0uvDXQ7w3HVZIduaAcdGrnWobgRbU5cRzNoXrw5mWoJz2gb9u8nAnI8haCKIF6oQYicfEc+P2NLCcRIavGXWg/G8V9lAuaegShi9Zgd/Y6KnSsDu10dkbxmPC5d30HEcQrv8/YXjbzN27vTj/166M2m2+yQAcAJEQq43YK7oMh5RBPo9mXK/CvFF/8rkibjMZvo+ToP7m3G/czIqtkCR95GgeL2O1pABPcPm2dhzni/vf5baCgR9ruZ7eJsfIBrj3QPzuxuKRQ4hqOEaLPZKpXKD193FUTBlUyOPvreX9W+KSdOTutdcFGHevGPjyJyo5uUx7LUMUaPhC1OXfWOkCTApD2RbWbZ0O2bOyM/W6kkhYswb2fzgTH+D74ZuxEQg2FruC7qA3gf16zGrQFNLhXs7mbm82Si2+Ob+yISuxjh1UvwcrKtf5WGqueEf2Dee53Otp9Sf8BC/wSwkL079GBa5PwivNxpYxgOBWZDfX/nGompcS63sQQas34hyPL6A95ClT4pyBOq0yGJXsZo0vnqqAJ7xQn77d91D1mMYa9T5s7f4GTv3HSJwkGDMehyiSVo9yuIpiHC9unCQ3mOwP+RnKwdsrd2KCSddKg6bNnAm1GSm2yBTNBR/oFhiPSiHEugyX/eW2oyKpwGIRlLPpK4rShAGdbj8OW9tFjM2Q4M8h9qS4gJWcubXMaK6jBAWflrU4gZPo4hKy1vyYOtL0JuVtwknb3oftjK9rfItWckAdSaTfm0Ug/7U4mb5TT5MIZVKdCWtNTLjzzDzii6wD0WFZr2lzGTx5QBL3bZKwramOuQDviBuXTyYN9QRYLtdALdSlIac85NEdNHsFjRt+ce6LT94RIMc7pv7IbM7CmUefnxp3ZMtBnO3i2ZaakuVR33O6hiaTcpE6U5dYELw6+uoVjD39LfsUzMlOhdlrGBiM2Sxs3IgT0KvrWDcpV9rZmxxX0BPovQLeWfhPgyy1I3v8PR0nd5THLw+B4ABGvngTMlhT+Kv+5J0wwIDvolS9Ej9CRo5lhYXeEX1n/UDblltSuFJ4N6zMb8fI5w5hfIV3K/W8jQPuAPS3TK8J94hI9SkCphheMvO2NWPYdoMXeoZ6OD5hqUVVyQYBAezU7yNETSoouzmlTAJIgp4mKWKGBIoyeLGNd6onE1cFhaC/hpM/7GMtApm1759tzvMN7sQrO7rboCuDiY8WmvdvClmm7Vx/2QX25DZrKji+Et33WMrJXzD5xHO8GHAfGwpUVLAf4Qk96l+whdL7zOgOxxcr6tqmi0H26DmMLdccOSnpiR0S35qvRC98mnAkFNghioERjB1cIg/IQIgLOdqG1XlLUil/mG9UOgOuTuNWcuFEphldDQtE5fIIYee7NSnIMeNTYafVSf8Ro5+PxBcuZ7/oBgRgQp4kV54F6WYzFjg84pQX7bK9XDDtzHQs7dpskv5dMS/1mzDSd0w0zi/5ER/Wz9ILDWgmRAZigID7oWB+Q4j0CaajGc9/4bcD/NvxtGLz+ZkEU76KVv3sT22jGte33oQ57Qa0GOEwrIx0q/E2ScysWsgXuxReBPC0nVBmxBTTJFsvhXjmE/apZfuzqx7ntXOi73oAsSiCZZbhMWQEsRobKzFHMO8oMgkw/JSeTJ333KhD4CPGYiOdKkHdRTF/awpemluWAkpowcyw/5bWVsbKK1JYVV9+IjapvMq0X1NMqqwCWZkpJdZNd1DGy2QwV8KHruUosbOpcW3TQq5635S21wv3B8AqZTYfQ+meY/rLCdx7cEU3mitBvyPqUSquOyqgIbP7L7Luh2HLZFROuCny+jxG0yeIJRxW5m8tyUEEK/WceI9wSvPx0gYpypmxtyk87kJrFRGO6j4iWM81T5KuP8PYhqf9ehhBafpFrtXu1G6bpbmdJ5LJ9ieo27Z3MxSfHnPK8/c1rV5Efql/Voumt7qV5IEXPfycpcOzDSCtT6W1qYWx1S8FC8Guapl78KhAfwMwcS6C30yFeJ5Ac8sqbdZeyne1kFuV1Ht7o8b5oCj+LwVgY2S7v8ar+T5GWt4blXACQxu+r2WQBkyiN74IQBO9DtAk9N9GKicGRyNyTtdyTMqYqQ5uTaS9LUek7w01Ldj7vOHUzSltxz8GkyIEU1R/d3lZIBxYZ9c9M/UXlLLoFu5wyD7L0O+Pi3+3UDHv7JFb+DItV/fuWHQFmtmDApcazmRw64J6QZzsp4tT12zPIEbD2RcQfrQyZJGXlqYE5mtMUuL6Zu/SsHKUqok00KMIJAmk8XoR5DPqpGypnk6rFFECLNsIIdpaiD92Xc+fzN09Llt9JPJnmxQ1njuRYVaq4LF9I/dAImOtvs70Pa/4ur0w4IwOnNfVr0Pph/TjE+xDXpbBY8IXl6KyupzrJ9zT0mUducJQ3Gcxez332rmHh2HJKMJkwCvJvTWa0FoMc6kSE4ey1iIEKmFcK3y5BqAFxBDpZ2Lfqj6xzY/jm9jIWztgMEsziX99FIlw/LC1MhUNROGKAXaS/0hFBa9g4iaeCmjctVUUCVo2sVTRRtoEHZrqI6NidTbmog+jHguOBbZpJzqezK+JhukmWQ2R/9/zjS0MAVcGf4Hb6y0gUTIgkVQIh1nwNK0yEzwMtO2REmfMZbRDYf3ohM177CpC8n/58DmPu1p4UJPd3i/8PnKJcaBOqKNzXn5I7hx4isB6+9URRCos8xP+E4+TyXFpt5QJosXTxReYnw7GTboN0rlW6K2u7sDm03BxKLJ9KIdSYFpwHlQgUiN5OW/KCOKStNT4Q+Qdj2xsWnOF07K0Xug4BM4zblAy8bTbqlbBjNFzWwwiUA8oIbPx/56Z5Tp/OvP1q5e02kkqy/D11M0grBx1lWMKiRuoMSGr4kh3QvPkkmNeb7IAFSxp0vci3c/fBhTUemg+hN0WILR3BJFEYcqmB1QwyX21C8Tn6UDil8skhX6+ouhyGL4y+Qx92q2xDTSXWg1eufZVbRpuZahDAAAWq+4ZzJbdVBTSGHsxsGKLAUuENCAn1ej7xDGVAWp2grqlXsnIy8/P8ebyk8k4WB6353Icd2o7IW2WwdY6qYnGv0GUrMdj9jKy7j2c9gfThx0OX/pDMFMuqwCppaTC/ZhMtZOIfOMmDotvkW5efQdcvx/QQXnd6ZmGzfLu3O24CY3JSKVUf61EOuhSbCoQyNJw7qF9jz42VclPOcvaBfB6N62IWVLnnjP81yayaZt2aOk7P0tZJp8g2IdiKwVYkKLSt4UnfyqOpozLm6xtaKDYOA+X5zGkG9dnXgZYiPmOPlarR030gnreQdnAkTd6sov166/VfRFnAVBwcgLetSG+DuNd0lwlv2WbXG68XP2mGbW0uG3uMZ19vPAu+FmVwtvO0bllUDSw/JX8m6RqfauX+9imTo2ILvtQF6FxyOulT84TwLaWUG4PKHypk2DnO0onzUyLC+w3ub+JySojMuRW3x+yxPAVGKAAWUU6jTRYyy72zw2zkz4XOVWXT3CWRu7uJ0r1oAdky0tGcqyC+ovR2TyOUKkSlcpVGzSTtmrdeYM9aHvKyHBp2Et+vGhspuVvEBjQZOnmqccgrgwG+x4gdJLfFAKqvWP4JeNx2muEMIgmvtySajNDtCo/etib/Vdw3gEVFL8mnAvEHN3jlFkkWrZi00MWTLqN8DC6WmlhEcL8J53pHlCja0R/0UCdweZczGuIQOLLzVyNF6U/j7onQjNswzWAZEuJ7R0mThH1RZhtum7wYfPnw9oesRYDERRthcaVBp1yTXt3skTXSwkrqiuLl0D3ggXsMJ0PI+VnKY4R7Bbip3MG3H1kjW3I2j6BED73ZbQJgpo9J+gVBepd4DNcmM6Z53uXRPsXiJNxnD3vaoEBTnUOegZVY9HjwhFLWzEFhQWaiX9CwLzJCLMqqEMHEGmtHevokH3URu8fpGaEc2mtJk6BzXHQIk8E/saj7aQ7PHbnLEAURwdXGxwM3ggXvvSKxjLOk5vqZbTZ5ektakJCAr+Ogha4+f1eza06UHW3u7GtAcQEaJwgXisyFbEtP9vusQ7YXeA/7wQTsC5YONXWFhon9UjoCViyYxJ7hrVzRVWwMJx9yotYtjlf/tpujs23Zw+8xNUkfFQHZGdJulFYYEtIHGBSwfYJr7Az2T7ayNfQ4m0T4H6ltAnhoMk3puAPnfFqDFVEDT26EYckb6UvGQSVbktNpYl0xiwtrOFWcvMN4f9WiMsMjOAsg1fiEqPgDxiF6ye/zW/fJNJSyAGWiqajPO2Amq1jJ3w3OpfhBRw2oUmw8cABt818rQZxOk4LAv2wxiQLD5pZ+D5tJ224ewBvSy1B8Q/KsFQ1EmXrs8QUQF7xqNOSkEeZnupAj638hz0K2hx1SOpwD8zIzPdpG8zlqpkbk+yJRTEL3cyp7HnQF8sk1dCBbCbyjAeBdLUhOm/K4KGiYSGtV24Bjybd9H0aVnfkxgdJU3PYRufSjkucjx4TI848ljCKzKrDQKxiwVZXlfeLidjptx5NLY65nIvFh2MIE8F1AZ14qFJb82XV4ZO0LYngMlpcHtEN35iYNkuEGEmR5S0wM8WuYLAN4uWOtqXgQCg3qs2QXkBlK+V7YM640LRIzTtAIYAIBEmbpVBCSDu2gTldLrtQKrF+mpP8UXukUBWA1etCmvgJJx29cZTHGo7Oy0CGrze3/akIbt/b5y1x+ooGz+8gC6519BWOEbBN0acnFR/ovUB/HzPZVbfx0+Xu8cNAoY6egInYARykuLRg93JVrM5BkzQq8S1lEE8cDy+EPzgsd/oKhnHLJtScIR+uzgzMalq1Tra98tJVvIIj2yysFYt0tOPc9bJxusAY5iaz3u4mD89o1Z/7+VP0Xjd6QUQYuiQ4e3XtJmfMAED/4q5TKab7Vhid15lx/ViA0QB6kZQH10ADJPyXZhQFZrbYJEvQJybCUWTjavg3qZr6CkylglMR4e4NiRMYmf2T4HxldX5YTUvmwTnom/9VDAW2zL7i8cnxv+yFJic7N78mRTMTPJrGLFx43qocuyPc8iPGGCuxInKpDNLpxCGr4BVjspXraZUI1DOBHm4pT5PY2WEiRefmq0s64seaLN1FITwhQC5TvI7B/9auNN9FEzZhUwwPBj7zXxVl5NWBWiLsAu3NkpUS046ixu/tIkSgZnImNFKNlDwyAScKrLAOb1Sib+OXg7zk0L3cB+/SV2tMp16pV7Y8rk67diGA05yPWkykRKCcH+CcmC69pZhHgupzkkaE2NVl637ZRSDOMkSBbBAhZQF6JekF01X6ZzsfNhQpc9J7hNuhuIxa65A3KK+zXM/2reQ5MDH8YAtUi9Amw52dk4xfXzli/vEfGBuRR7FbVmHK5z63iveZWMi2rvVoOJhSmoAoc1wtc8nQk8wcZT6FRFGNxsdecrtx1gBMlRdaJ7tYGlS1s3Kan9+n4y/wM2OgTFs3S/6zQWXZnXV7uT3Y0Jer036J0K3ZTkFAXxzpdBvxo4O8tjZzlTiQfCh9lk/5YNgQaWBTsJ8bkIAh/Supyy/POR7bf5NZaWDQrhiIi1DvU3idz5x2yLFrcp8K6MY8bKUWM6r1P4xs+kFuBiqzQwKDJC510AGiYdsgUm8l6cThv7+M6sVLNOumJ5llrX2q023A2VNEdkEsKKq/G9og6yVfj+tyBqFdLKoLElFcyP7DqAneEk484uci3zDctaOwdzn0pNpZd1cuTntcuTZxktV5sYg78Ucw0TeSIGp4Z27qdLuspjL0r6BfNAT3iunVYTF/yp4npAlIJCjKMKKBqNmR+99qZdtRwNExMM13Dw2Rc9ZKAnePirN9HshfS4s6yQgzi2FVd208aIcD7L5JQLq0qaJo+5/3/ajQ7P8WHOSexuL4u7ZUYIbDbcpkod8c+dBQI2lwqHOBHYDwAQ5puQH4gq6rTCihiXQwdoMee14dhaQfM0yCcerYQ4N047hlFqqpu5WM4zY7R+hoZDUxcBwgbU+UBEojCactYF5AzxkTxN+/Yt9gtpFnEOwLvgZlHpsvssW2kBB4Idm5ISONlhBPLfjjx7xLYPIDfarrRdYECU5hGgMAH2VGXrMOqmaTqSECPiAju1vfi4L8VgEYSJmWM++ITgmcvT7fjqoUUvbiuH+9dbK//3cFpgZNHZqm5kL2SdJ1s9pHTq8/k/2RY5HIZDhu0+Hcd3dl3qCc3sGa/UMQQ/oTblxpvJN5L++MdtbmBDlKALONTbzC3gegfwl2bWljsghxTNncrl9lZ42UqY3GP28uVTT0Axtu8+yRaYjm80u/qn8JivlZ28TvcRIKMZSVSvTZdLfvuFEm8Z6B7LFK5pZRw9iiyqOOa/VqKdAWtwMEwsERUpz9if4stZRok52gBLFRuUIXi6zjo16r3+IifsVBzrNy1p19w7OZcq1zsoAcOiyKPWMrdHGLBtCq4IrMIswHtI1ml+JBKSJbHC/TpQpwZDou595zvwx6r9n6YLnx57W+gq09OCTqyCVheu9/fKqVxCSeLFU6EzcRyD2i/U1paHBm8mUM6g4hp4++QGoZDrYKmi3yxm78aOIbg0MKlMWeH1nTVRtizYgp6USPqmth9aPgMwIGUtm21+jaWqp3cPgY8QEsGeAg4CxkxrQeID2dLZlbmEioHJNWlOUQSMrZ4Ub22g9mhWrRVe3izqLhefss4z3Eo9uzrjyrpmgUTSzheeOg9Ydu6OxElz/iFo3x+Ly46VxlMviXI0hI/WU43EpE+7MNR5c8WsYPltaLg+oywIuIIv9ZDf7NojIT5hCR2gsFv/9hAAftKnI+AF0K8G3z2lV16/pvovwKCaZB1pLLLXkyLxH+PR93ZL91izkp58qWZ8Ude3Hw+XnXbM3Pdz0nU9g/dsrpmFT5mcirtLdSU5P5jwyNDK3bfBLZWk5Bl8HI2Yq2E0/sMN7wBImZ7FycoFKvMG13iV6Aw2m2V0PnxGuXDjfRRmTcUYF9Q8wPVc1CuFVikSBQ6sY2TLpOnYA/EgnNSSpk9TvRkin5A5xZV8gYrBYVktMC3dPgj90Dj1GkAn3ursJd3koQ89GEFaMvjmPqljEUqsg3eeDCsugpYJYufDJWUciLv+ggmTFl5Xy+Q6D2t1KPmkmj2KRUKqFd7qXdOzyFGacDE3Al/JVBNLaaXvL/VRVurAgnf3Loj7JmA4rRbd8IMVDic3RBv3DhZEWAxj9lhuvVRbNRpLDchDgDzXVhYwTM8QDd+hZaIrz/dZuQ2JyqjsUNDKU6OKQPOGhGMe5SLUQdZx3WqQuFreuIphpxJc/kfzazAc5JvOArCRrI9RGNW+j6tR78FBA8aCZBsNVqofEImiFMx0YWHNjJm9Br6fyt2vQbsrFuT4hYr3fpLfdz9rGzLZ0yRPD3Ieu2r1Qe+8oGgrgaTl/bk9o0AC2r34ComArrJGJICGmwsTi352cQhbrKwebcyPRzZTvJzE7JLsXrY9RCX8kFvZtbjpYNdDeJKwk5wkLnA3xVuSRnlBZlN4pbL6xhUv8prmRTdCH83Sm+vwbLZhogStF/q+ublC6OeOk6LANzzpIjKu/IOvfOxd/7cgNtJFZuyYE8n+CmvOJZ4ebd82By/e1lZ2/enXbNPxNcgiQXUTB/np3mk/pjuAM3TTYeXriHNVjYvs1awRnl6No4KisECI0z4LlFdE+cCHjLQRrG/b1TlrHLWbiS/ZlKAcp4xl+xvOoAlNPbf1ngsv8ERZt5COlIJHNBDKk8+UjZqwPzbNYvDkDfBwP+p/QjeU4VHj0sldoeXHcL3jCpLAbQ9D6RuHrz39NE92b8iUCS8gcs0Tgq5j55DW+30eRbyjI46wu7I4qDFUoWtyyLLeh4BvoiYtnwBiGESO9P14b3+f/nWs1Sr858l8Ivs7QiU+gq2BxDsYof3yXe/t5YUR2KDVTxUb4nvm/d0lqkkJ9kzniXN2KltzbTwNvCtzXcUQPkL/pX0aTz/aEGLwnVPsNypq6yxqnMq260njBdbSra5q0+9swpFAh5NoX1eBK+l0Ejs+lmsKJ6I9IjarghHJtH//Wwh+ObJXQ4zqOGUxDdgi7LwNka3xE+sy8EA7vG81KIuDJUdNLlN58JgwgSOdalBvtmk9TAI1DOcgrbUZj9FzmIJMiMcd9b+eaSF6WporRXLcx9nTM6r9I9j0onDHjkIyqJsazKE2xCsfMOY8EsdrcURGT77ddFHprEB0ye/XsYzLbpC1nkj2nI6DbZFl/9hIPyq3qBax/XtK2WYn+42d0oItJ2Q7i2XN2wDw131jkBNk+SGh4a1Kg6PmeXWAPpdOvFx0CXLQy92v/0LS07ReSc5/NfGkVnem39cpXYLnMIIOYDmnOyC/IPuxq3ZVWk0cOT12UpG/l00Z2imy9lKyroKO8s+kQK34jAhreL3y0lrUb6i2YpIJmBmFrAIDjlDeVthJUR/jgVrPxB5ZU1QoNbYh6dAYpH7iXd9t/Eni8ThkSn5Uw5yTi4oP6x9fMG9jcIklJgSaC650Soi4Tx3x0wisv3xqbKt/1m1JI5MqVajE3Wfgl+ol/Sqi92FzPhvuy2lHRVFWQb7l6VYgXUohs35KqgP6DzdEBLlQQwr0IQwmyLXt9mxbCfiLjaClGS+rgru1E9r1/+Vs2SmORF/dhH/zqvx8s28qt/XANUnj6bSlWnmlXFIo9j5wi2mIBxBGA0bp6sTqYBfEbOUUPJuw84Ss/PZqoRjHY/RnnuQNofJEAXDYCML89HN99PNn1Qy151o5cQSpOYV1aqhVWyCxr+fCSoOGQ3l9/ETcimmPEuaNOUnKu79o1Ng+gwlXcwRjEk+gKEK3HfFGDqRIwNsR1EwimZ+tXymUBoZMXxC0+foB9sCBbC2ZpaxUtxiHAgb+/3GuVLMnUzDeziJLT0zVBGsxV8ReVqdUt3mUPjyNqBkcWx6YjLIxwcrlbibXl5iepPtbJfh63U9WqpJ72o4F31XSJv8S8J+Pp8Ayl/Cn8okNo8QZMOivk+6dhoRNx3Qrc/UwCVZz7NEczHo0Vk3ipvCdttQyxsrMrR7ywshqcYJcB6NCr92utYBZ0kLvR+8gF6lQO5tgmHPcVb7c/Zze0ipw5CWUl0YWrA+7aWWSAZr/XaZ++LK0xM4XPd8bbN6DvhNPhbKtoQeneadgjX8xzDxTKSELlCP74j/+u3RTfEfm4PesSgAsuU8B5IWJNiNrLz8oVSUBAF/YvimJ+pQJhnBtE6jSLvd3a/9XL6l7L1bDi1fqDBIxrvMkftjXe7dCHHNIc/qMXA/jUEEGyA+orywWEG6tQRxVIUElG1eE+VFBMYRFe0AJ/38QwkJE529YkV4IiAN1RavP/2TWrQ0O6MHM5E94d6SGvOdMlQpAuVXv2Et00dBRcg2tHwQ/Mnc2TRUVwlbqGiali5P+GZESau+usCq+D3xO1LTbSqm2Xz88LuI+RG0LySlj577oW+JK/EeBtQnMWhKcZAa6fdBqnriy77VnzlgYafMzzZmMqsNOopIzuVccqq2Bk7q8RHy7PO6Ody/Ea/MTIYINengePmx43yUfmsaO40k+yz3e08Sc3goOC72kGJUJaGgJVy/IOsSqowpyrqkl130wc5JeGBez5dMYmB130W9I8nKgMOURSrNlr2rvn8LmBSWmACpJgelD99/oW44Cf4gsJS+4hYKkzJnhwGFxeGzvpJ83mbucRECSUSFoZtm0CnKsbcUpdaOeFcA2Y2AWNynTMmyQxmdMGUPyN1CbV2zLc4KSHur0aKUovJfrm9yWSm8aICOlA1TjIx98kc010HJtfpamy37FvkySW6SMvOBaBQ0d8owf2ffUIqGa31FU3//6L4A5tt+zWNXPQsAR9aGxReLpAtH9REMfaIplAlIPfOpMzB2fOkR8wcuj43B7PfEl9L6z70yV6Kc+FhbTKR3hEvaxyXcO2jv9LCIrhDHlfFI+rZp/t1WJ2QAdR7j/ruopu0nNHa9rQv4e6YbVcAbGnZ/XQJRKBu0xhhsO6yt0yH0I2k09GVRg5lWw5KLs/XjqB6LGTOzuAmisX5z03rl4xTT0VNWLMHqBttXrcwD/U7BLcOIsTQa4egRl160UqzWlkkct/YIFQrKl/6KsFuiJDMfri5lnZ7tBqBc0Cez4Q+xaGZ9nvWvB7HpiyT4F9IzCMA+JeHnP8BuUDAmVT4cbt6xuzaGreuxwX4leEz/BQSce6apOxRLRmyuQosO2AdwIZ/ijAGsoLd0wVfjFp/Mj7svSQfC74HZsssNNUU5ajoZpXWip1fQQR2dbZTsELLkklzHkikx7MayJe2jyC++w2YkyFVlg9fYsUuMS04SX/omIfmRhtsRM3EUSinwJ7VLQQT7xScY+Vj2dgCnotxsrTYhOFSPW4g7r4jfg3eYq6ssiuirGaumzpjNvyHyaoMO/MTKjNf/aWRxakb7n2x27A/c+SQXf53m8pSH3H0QwjhpPJbbI09AT58bFqFYWm8l2As6WfyDkda/Xu3zJpMk7gczIUuRNKe2eYq42WxKiybrv+Sj7O6w4gvXdgAWIeP3jF+QfG5+APNn2L5BQMHBAxAapXDjrGonr1u66tRGK1wJbx/2DXY2IXc/1SVDQDR6HeVA55UIjZUL5DeoM22WT35GCxTtaM7TlizYQw34zSzDQGVZbidDmPclJZIJOWz6a3P2NLuQqwHZKC9Ke3U8cK8hYOhpjTlo6LkbLamW9ulYBRGZbgaNUzGzbq+QlxwA9+M8lx18bORSg21d6TatmA7Eszg7M9yNVYVa0cVEn5ROWs+jAgsHg4JUy+giHAoFVyGMqs/YVPtSyl8+ceuA5ghpF2ci3uMXIeMGmjEDd0WFdCtX5ijyIeleB7dT8ovguv1aeeGVtRPyaFd/ccTBkwXNX7p1+AfLYwbgxWQjYA/Cxkuhw5cqPv8mQKLNyWxdo8cDZCIMIl/CMPaiaHJmam6AmFZWGGig7Qw7AdOFaidQ8z1wC1VX7NT807Buqx3BXvlqK7wlafjR8MEIv/v082A2fLq5CuIe99Yk/D31tNSrGocOUs5Ut6hF8Qpuj7Zt89e59JF7XAAdGV4d/xo8UI9Pd6cPu5bFQMzMuGpqZzM80V2AAVTL9LUd8Z4Qp4enDNHj9AMwE5nwNXT2rn12RwR+8/sJRkT2GicTpvBS3TQrQ/dJpjZ8xUenLJoZ2jMq0JjMy8vRdlu/lnsGCY99lhlM+9YSnAPF8v8ewDYTmYYIOP14t1Ldv+RsdXrhC4OQDb2Uxi2NF4i9MnyIgNFhriYlCTK3VwZW6DShqNCJv0p0x9Zc/DaIAaF3Wg6IdSbpgyAHM1jt1YX50Vmzp/BEwhE/ScpRmevg2Cj0LwsQ1JBkoEd1IR4ofAE5g2WhOGR4IPbWFoHfKmbO58xEDU18Ha6ckqKj7Sx1K0oE/cEtCwQLdjDo417YlKgVNNBRwjVbY1BWdw32y4/yjbgSdQ2boNQvfCXdS5nmI5JmAdo95cvJbDsFThgHOb5nEXx1pnG3uC/eAbeihPCQnwaM0v4WS1givuovCLbpvVYxilQQchni13W5eUQ+hQfrGsew/P/WaFaDUOry38Cv9WEXqoltxp/dYcvR13XE2v8AZBReWXi5Xm5tIRB+eS5fFy4+e+rdM/JmwlDYLQsxEMwo8LXalbVOzmfXna05bwdnu6/gWgWHDMunXf8Q2yYC+TKT41hkBO9hI3J8whOSYOdq9Gw7AzakoB4va9Rtx6M1Nq4fqLCqTg1h09aXrM57MDbmPJ1mL7FhFNKcJ4Ooq2nFviYn03K7NpV/TnHFN/vpq1D8ETUTZBH5Plb42RDyOMxSAROcYdfEYyT3r2zxreowhhWYI8ub7DxX2zIIwvE0369WnkGjOwIg3mDnJ+3Mn3CKhFiwEUttq9PJwBIv1X2lq7wwbkTaSa5uIW3BqM/y185lCkChUJNGtRctDSlP63VlBGvaJx2Y2g90BEc/zL2fh7z7RrFBdIC4sFxhtDbUgeDJ3Zdhx1sY4Y73Pn1SiJXCsjAX06EOXeAjJMGXuG/+n2zMWZ4IQUwSXXfDLofmwlsspDO9xIliMaLc7yKs052ZddvituRtUk5rA3awL3OfVp56r5H/UG1OG7A0IgjditkXcbDhxECl8KX/rlFEnvxQmfEI/2essWfb+3L22dWOa7O7EpBLuMDkYI19Zi8CtBPWSj+ZmUHHopdgHLsyQx6ThlOOZn/y3WsmOmbEJ7XeoiQk4mb880fxxM0HMWPIGPfN5pEKLKO0yHySzvLnqhR9yQAvhIR8NswR/JoznnYqhm3g0aijvld2V1DUTtUWOCmoHmn5fb9mCJNxEm/V+UkLAazyYf5m0O0/4Kpi3Hcd6TPgcD7bZEE+piHWmy4v8STmn+atrIiwVkBvQNqwcKluxfQoOjKePXaW/FjDqFcB6n3Z5Ru/52/Pawwi3dHXUKEEz2jne2S7hSsU0+kUINiulJhtsb4ocLIQEb9S/3UdypXVAtS2nBUwHic23VE8NEYka/gUQR0Px9FXdxfXw3wzk3P+gTWzQDMknPdbvrcYWTBXVX9Dc6qLpkfPuAHe6Kv9j7F0NAzBH3HgiwQZvzvB3s4Ed/9d2RQJNX2un5Mk5jxkRXPl/YtT6UwhufHZM86RQwZNlaVz+WMPRFyN7pbeYzz4JRCM8M9IQUMk6hb6UEbyhVR3tSWsFH/eDXfMNQ+JNbszAagGS1aGDHdHCHyYVbq8IbooIUd5CvDlHnMIrKT9wR50kqt+goMbQFCDDtCIvt1tFE69+wtEEZ/1WdG+/wVUWUxOH650YtQoQV3HHl2/t3OUJLFk05S4sU+RVmQ2s1RPsFoeos5OFLbICQyE/kZfONDNZc3agyo3uYbvvgcAPhW0i277UICuyciKOCGrz5vYMnGo7bzu+ucwK1F87UJz2uPdCraUU92hrXUepg0RfU0HHhNEYLsGaBbaOxbzVXW9GVjRMTJ7U48/QvSHA6oGdGRwpb+Imn/l6NLc5OtLLjoU/zPRbnfPKibIslVXGpxO8t7WgkjAx3cZklyLqMaE2eNQ5l3nkIR6WOlH1pN8yHNTkkNtJBLBNXhsEHK6CG83es2/yDdkft8Sa/TXKsdF227OEF/bjrB0aiUYg7cp0kBhbRor34OBbLp+UKI8Qf+IdazGdgc7ZaiSL6oWH9MZiV7r0UvPwrVxZt/zLPzf2r6GXb0lTEnndSefHAv0bkfqaX658SDlGdfodS9W+CmSnfTa2DWSj1TzuYNhNE4WXXh7/DT0pV0ZPLqNaLfxx+inDzyhojyyjpSSjncQjtGbgV6Z+ACfet7t2eTqdOBf8Yp3A+mTpF01PGz8Qi86XHCBbPmu/pVJrp6cH6DArLG2mJUUxj2tq3a9wWAPfr0k2gk8DD0WxSxSIMpHNtO53ZVAu3oz4VXifnCHlmSnhO7DcDE/94xfmuQVOc2jhXaBY/KXN0zetvoJdSt5Iw85xCj9dq1qfXvrYXyVbcebe7Df5Nn9n1XePT4KFapyqZY/mIzyrFqqfeFOerqzHAi+s2gNR8qusB0TVDN0tOLaAcxlLX+ULgJhk9hTYvu/KueMgIeWaNf92lYLa9UgwFN+9I3mceJIiNH8TcmOiYi/i07P/QfDA5oUeg5/VRcdNG4EGOx0wXsHmfl2Z61X8XdcBN/27dS9Wmx8L4sBRNgDhUrTu4WilzQgbNgqcb+vEk5AoOifYsjk2bMD4JouVcgsLKxag/HhGfsPiJmSJKiwdBZC0TfiQNDwGxfB8LVSaPN0O/oVp++DpzddC5MRq8xo9FDfuTVvUIcNckMtIEB7dDEQMWbbyXCo1hrkwmkbOm/u13lrRkwPFQPGGEx7Iypm7e/F5EYLGUHqm4GFGSJWrD0rP9szPLijhiJ2e52Yb0+L9aOqkkgmf0kfurfZNwleLxjVvzjXrF7hPHVkzzbYScB1++BrD+Ec5ctj+9I3hwjFcs1uh3HDbvQ8NFP/ueqrBhfO6iDm7bQk91RmZM6m6fNaO7VOaU39tr9DB7rRuN/y8soriHoJGo0EkPu1bJNnwlud2aowuM/2cqylcgW6j0+gGtqNb0Yq8fEENN9CP+pATdtN1qhqQmVJsUAc6myXP8+Y1Q1qTqnExmfJLIO3lQbEjfnJuoojv72GT4SLtW8ATHz2b9PP27OT2I64Pry9+ncLWIoZB22buXQQ6+JN822jwS45YFlQNLMqPnpsIBKYWI0e/o76aQO1JQGk3pyqDN46I5zKu/hLWOA+uDeUEwvzgIh83vobVXcfqK5Aq3sOtl0A+omYrCoBALEC+VUrSTBx4M0v0VtalHXz5QQn7Zx/SfcuWsA3lxQcj7C2z4bQI0piLSD3RP/eUzDm/ueMAa17+sig7nRa+OQUtH/pPW2BBTCQuAShMYPIHZxlPPAexxBCJSmj4kDQDXYaXnnE/9QYsRI3Z0b45+HLTumwdq45Q5OxCkPAdryo6dvCmhxu+lK8+aN59CL/Pj/J1mqJdxMzxnFv0bVPAGITtHJWr+zeOYQcRKWOg1FsAzMUXC5EN5TyriAmVspMWudn/SUxXQxSfwucPr8rUs/AI/PYM24zIH8Ee+8MPAdMjWSBfwEd5nMBtrk/bX7kAT574WmV6VWDsocaLsbTQmip6VtTOeR7MPEQhFHOZkqvsar1HiCDlQZjFekfnEp4eg+LWeGUHvkTY28iqVQJVOkPti/x0GLX+aUeDcSsjifCZ/7WZtSCjkA2oZCFkx1LeU4X19ZB/+u7vhvX5SPIYeY0GRpn7KqdPKhxGxW7+/iWN5livAVR3zqLXNfoiqKGt4BerSP3M3Gbl0m9HrQV1xdcIVDGGe+1cqMG54Y4/MCN4QqTjFMIMn3pAiprLmgNWD7AxKk+222dR9Tmvj3fVVWLqO5DbWUIIhHAPPbt3vin7ulk0kT2ENyQqgHSv6uZ88vW2xQtegSzakuLUCMJ8x1zNqeu+99cLAvWjmDswiRR8CkNN5ez0FQUFcCvqsHIZ+qP25FPMopeHTf/6uvjyuX4EVGk+VjknwEThmEEnQkCucB/dKQezofSsePMVXe5cpM0QMzPyuhQ3SqvkUN9QnTekfl+Vl8G8NzVC3cmUgfO0zB0WSnC7z786dj6gKeAnVTayIA8K+zXtuGl8UVxAoElPdVhRNZoApsyi65UxOjNPQrbhnqUf1/5NBJRQpp0h+fN+nH6Q4cumofpPtL54GdWO7RlSegUKePbhFo0SBiyLrcgzgmH7ONP7LyEe4VEr4VWaKfp/6/XVsRl3rJ+sw5h/0S2GqxdrJNet6reasy9aEQO2fgqpqejxp34172eX5MOS0oqskx5bjQbbD1pR6vhguF6yicOXAGjVDRvRzfq0nQTkycg7q/rHj3YjQy+yXeEYU4q0HN7OPvchIs3QtBU6iRdLIfgB6YNExrJyaAzrpZOvLLzdG42iuulJlPF5MO4QQQT9ZDuKCXMNaJ87K8FKCWOyj+5D+SynaQeVJnc/HZJocYoX4SZAA3Y3fMcT8/2QMXUdH8T6qiiCj685Yaay+33scxDVLIRJaLcdl83wvG3w5m+RpPwbwZyS1VjokeBNvF1CHmDdc72+CO9VC2Ak+D9hVn8mbGqfYiirjEsC0yAOGb2PVzr4A+rMACwdr03RYWn0fGRn+fIORK79IgPZa8whJUU6ZPivoyrRwOwZMFNKS+zv/TngmPQ+PTmY0MMHNB3QmUuUlI3GpB+vKZ3po0hSk8xyjQVLlQLOXjoLLWWYDBPSX1lCJoOmD1oGclSu4c8zzb0CxpwilNK8rGzM/63i2Q/y5/Rccv3kn+srCUUcRoDZc76qj1HQNnlmzFOSo0LfJxHCGILN7JqYbjI6/BTy7MbzW5bByD3UH7NUwD/LL8bCqJmbixqOnz4vymvSd7HmChprwuJ125JCKIeDCnN9ZYmzNvpw3QVo3CkuxqnPQkRSMhN/zx0AI3fXuZo8tCWCDrVBehXN/HKGFVZQaQX6Jx9BunfEZL3iQFhBhTVa6kfnK8JlpRbN/E5eBhV+cZoetTZhVZNMsLT5ymgkJVx+j2sKrsCdFhDRRwTwzM0pHHreXAvMeEh0aHb+vWhtScFra7W2Fc3LT/KtF2gPpyzpy5V+ekbQvhzFS3i/Rgo6mJwVOrWUVE7eI6nIHnthgDzVdP13JW5hpl9HRqkqe9N/KgttuHF/l9OCI5S4my08PETS8f+ewx4SM8iptmHg4Iw7pWYEcxJm/rlcx5rFlDEFypmZ2+i9rrEh5gXf+RFL3nYHmCPm+4Pf+f5kfzU76bRUFQt1o2VrKjUU8+b3Oeb9cEpg8NK6rPfQsQiyBliBtwZVbhsx2zeY/tbwnBil+tmX0oaiuRaYU++pWFm+uoZn2IUeybYkiOVZeHVGbjzY5d8oMliycDMNhICHtl5h6dYoNy7y2ZAQ/ROx7KvrRI5+MhEPtNLgdoddM0GAPX0HrpMulf1KMiW8KKcPXn52VDaKiUnIOOO9ar+gphHbhCl0F0qCL+g1cQj/8uteNO9JwsDFURW5llf4L/yy/BTHOhbJ+AwFmGX40GwUBaQJYR4XWXM75O/DElwNp+EeOT7TwfPzHzlw3H5jcvplEA6XHU6WQgMrQVa936/imsiOGE+0hyh0ThaOIRSE7thDOjYSO4GgQ68+X0/qCUHZdV1El4CSOGX53gGu1ZxC90q7GiK7qQaupuyrLvp5DRQmWtw74D/AGhyBBv+L413Y6Q0ZI6VyeQWjvbiMy7g2kmo0oN2FNdGQ/h1rVGytzcW4f90XY+FytgaZfKujxqOMYHZKiX6k6l+mYJpiHtxReKkHOjTs7HNQd20Ss48RBmVmr3epr8lumkWe0BmS6v2s0UcvqaqV6fA7feSg1Eq+W1HCKE/pZuBD4LWsuGbsRmKyF+wjuEdZepTmbRI5twyXzlLUaXMBI7tl6PKRn6UTUVEWJD4fPos1Pep8aQgJAqFeEb+cVQG0fi4VAU6CUd3FtZIqab3as3z2Js4E7Ax6CV/fww1OE+hc9IE2zxSAe96N/n7miXUhjeYI+rtqqGy+pBoXqfbhSkgdFuxm9oEmkjDWYjuQYNtxujmFqyqb2w61TSlmCagxC65OOw6HqvteGVau3gDCcNECx0zMXPJdQYBYCe4VaJQJ982g4sLTJ7J/L2lWEskj2tQx2F59bUQ0mQawzUG3jAsRH4UKlK84VhAwdNPbBrK1sVBbobpg72TnNpehJeGX8GFmVFfa0bWGu1hdC6kzqwMyABL6NxKZPHXeHH9fSVh2FDh7movAErUXk1oOz7hwrmKJ6+jcn+Cw4Q2XF3jKRJbpK7bMriwk/ZFCMAHjCmU01ZRVtJlksvhao0M6TI2uYXmB+6rYBNrgRvhk1c8h+vVuVp/fy6i6K+e19e5KlHUN8/5tETfCQIK8b1Hbje+3Iax/x1vnMk+Kq0/Z1Ybae86N0ICGpCo5D9NOGOVx1zJZdYylZ5bBNV5IsMMwl8Eq79OW9JpJowCYRdu9QV4YNu3O4voN2/BtDCZUKWMaCAewqCGIkZR/x+4tzV7n5vpeZDUkaPlyQMG3elaetwcW2wY4CWSqriyzNLwNShk1lJuman+kvwADfzibN1hWQyh4EI/AGJ7UwkI7dVS3ieX3dtFpFfOhxSa6ToLVEMB+c5nMHP48MoJt7LtoX2mHQlCssSijYSqJ3mCVJn1UzuNt9rpzvPtie6U3eqMkrrSbAQbBNx4g7G0CCHRsJhYYvUEqAB4UGhbyQGQYsCijB7r4OX5BGjSCKC4hEKzeT0gtMlv6+LWEnvUfb8bMHVvS2qWDR1HKtoi3RYJZaYYRq2GwXP//m7rJOcHsbqv3+gmytIlTP20Tb5Uoen9kZO+fYvH+/reKd7V/10IJzqReM1qgiKNqNvLPR0xPrzdHdnAgmek5K7M88/gXRYPSS9ChVq6mswNjkPgG06xNcHHrOTVIEJ22RQVPoo1YclkYOgCx6xDIjFBMhgCxuILqJyLhRCsr/nSomHrRKFZQLfdtF0EE6+sYijbfE7Prc4Fh8A8jTyogKOLA5LX/HAqikG+ayXRhXFRM/JVF6NWmlDQbIujm6kvujIeIWk1dPXdklDHqkGPwSkmE7ubPs7hMi75AIQuiEzvZ3TA2MCejrGo+6qp4HwM4IVzXdfizCCGLsgR06f7yYvV3TUuSntsBtre9lDsCJIor7bA4yJr9iTDuVtBjxHKMRqTuuzDnDXUdkJZyOKsjGsrE35VJHQWtcPIVZmZ9VaNIXl0UpdMTHV4HFLQjlpl0OraN/nbgvbHSyI1qOYgNBJ48VdvR1/Ign6FJmTzIVWQN13U4RuHfpvkGDdE2mUtDNCPxb6ZVcP40F/RAkw0WxVSAc1Z3EfSmgNv19QAy6ZWsMwekOAflxhiR3qH6PMI+mx9W5eo9TCbiZOfDt7ntA99hvndhmWvYrn+qSJ4szoizi41UzdnKDAKiI6F57q8apO0r4V1dhfYD9sEYnnEBOSzxToToXb9y1Gmxm+yDoLoXQmJD9UtiaTUEngsNc9snpuzXZsN/thDOeIEoyYD+CmwhejJ3XDufVTL3UtRuupe1DCb5LHyg9jcghF7qndrXlHwGVF7czc98/AD2sObBJyZhGcezW3Xqt5YolVFrS7CUAQc7lk/9eyhpD5Fhnpl/xAiLTXaxVVNMAdO7oPpyArFilTwAcHotqCInYvAUPv830M3z4mfOn4I4bKPYN/9kiuv9zabkRzlXPu31cZIs0TVj9SNuDMbqrGLHLMTZLY4jQDMccFW6AVRXyIqPrM34Ym1aY9eQ2ZWzmf5ciyaTE3Ih2ig9BxqWbYjD0sDDHyOISSkTb+tSB6abWBL7mDi9OqziKQG36ZUErOOQWb4B/dphpAIBVKGxw0WSyhOXdStToB4+oiWjYxN1hneQy+5q+PNfAhfBLMSeHcYhEzcwIPl2xFbTV4qbtwQdzt4rARkUOhjgLoOihBvbKZNUbxLB1lUif/Fwm/OYL6k2K/9nMH9Q+MemKd/8jpLHqgMAkbg8YeOneBCAD3x1a58/tAk+XmzFK82d4d/MpfIbWPCIYQjvG8w+MHJVJFuomDO8TPy+Mwb7UwBIEaWVZMqi2xoc13Q6QbEOBaBpoy0h189Eb/x59tMBTRdunbpZ6eQ3yHKHtcAghnWM9WXDALxz41+zD6XgOvpc3ekdEMvMRQiqqX7QRGAmS+58cIFw3z0dakoxSPHgPCxKW878Dp6NBm5oE59GZV9TxendcJPL4Y0b7Nu0rY6vrUjvm5n/0FHIiLmWv6yb72O+FT4NGrErB6CNY3yuxVqT9vAOezC+sA+PQzVODj2AtQUUKu8O5tdUppSOSxrby/4KoF1UUy6pRRqCTpt4kQESvE5s4bVnyf/PO7Wd81BiiIDy1QecJcA0/9nLHPxJknIjgQ+3AZQpqZmaKwqlnmABfHLi/8TAV4j7YpiVz8CTeUpl/whuKMeAXFEzagw+0ys5EnRE+6iD2/WvKoF3oFjfuE0+fr+q39C80/PYsxk0+Rr4jD7+DYig79TWiszSVWWN7xampIFpqw+3dY7PhTKGJipL4rJRChjUv9xs7p+j9E1oXNwF9pUdHtc/DVg9l8LRfCOmnR45U0fuODrlx/CHs3097bkCv2tJBkYALeD6PLnaaho2ffhf4LhZHWsHPgFoakPR0D059/6TOpP8ROWVyguRtaiKOnM088hBLNvIwlIJSplBYKnAR89280bdboPn2nAhHlhTnXRRBbRUZaJl2J4M6ZT37s2iNVa1/DShVXyiXwikdPhVeHYs+mo35z581WcCJ6JarCVC14KQYrIMWc9d+LRCefDJAmUDcJaFV1mvMf54xxNTq3tkXSgHjRE5FVL9g6o0dlpHVL3ajJHznycgrT7TpHxIRs/MikN5FAZ0CM9Dpqg3aMxWFHwcqAQCG0L++V9y7kHA2OJk0Cym1ha0nyZ3U/McS0Fgl4hcnrGQQHE3zyl2EV3wEaUaMdE68qH8ujXs2X69kt4SB0rQmHbdA7FH7DjxzyGAEW8CaZarbDNQ/E+mkrLe0+rW2Fkc+ACmK+rDO2nSWjU6gF/u5qY0fAzpuDgmVgYpMUxBuRQw6haR5IYPfBKMiW/NDx5a/22HfwncPSJ2apy94WlciBjCFWAjne+w7DqxvcpKL2mSI09d9wRglG+kPlVXzkJ6OKk1rpnjC3jHbx1PX7GvhG5Itn29fPp/F89JJk46o3Qily3FZaRasOHbcdrm89ABv85KpLUBkKCoN1il1V+kAcrFZpiNsnSE85IbNeOu+crPiN/DZDL2jslX4xa6sPppYp54/U5IxMgwdoX7cWlMjjgCcAu+z7qM6i4Iqdfp7wjLbN01nqzd+WWVJVaswgknUI7UJGkjusOcQLS+gGMeXe/Dw7fJO08kHPDJR4+WmfqT6l4nf5Va5/l3NfdAWABClBIW/Pzmfof5IwsghAN8N7Q3sxIipE6L3ChOaGXqBqS/XouBe1+6G9cxrxwV3asa9MuOrl6tR8/ghQe2WmW3jO2bEqOpLsHd5yndfZKy5IvqUJ4zU0Ql5BryCJTvHgk32sH+rhajGXiaXvG9plm5i0timHfIvCy1/TYs2KoQ/k/aAhVPigdpQWy4SZsjJZ1NU1GxgBwi1B/mbsVIbcYl/i3YXb21eYVxYaLBm+CViPJstRBqKR9IXooOkNw2D11uknlalOOHm+iUfhaElNEO3bcbO8LSpcNwGiN2nJ0oGIPZvHj2SliFuQFtCYc8oc8DEmgDXXxh9yoVcv53BnQl2KkmU0rR281net4doAtO6zRFXJYiIF6el4yj+DuvvDhGUxUJxCx51qyWQtUflCd1bD9bBHPxgACLHK94kUWX4D38H8qov6Rmvy2mJdQwrWyIRgYHYz3coOwQupPVJaHr8PIeXGO2bTsyqnxOTSk3VRnn61UDIa5OpLiQMI+WrxN2+04ZQnKYw05Nvoy5HwMryYGxV1Ff7xI4+GdQqat3jcj5jRUiWm2soAuxsZqQ+mkL45o+ANP0zlvWSmEh7K7x5Ex2S2TfhJllkPh8RQ759KlJmhj9mUNO1o7RQ/GyghCPcO04NGeaCUZ2ytcXMifIVuUnCjhLpz7wsiUrsFMdHX83AlrX2CFkhHGPzs/3SFCUX2wNhyRwlO/2bJSnTtTuWiby53gZAiyWdorHqgyYjVGZLSeA0lAHCw75mRlhEwIEN3upm5WIlGakNBb2FcjWygLotOigHJx4EJ/6N8iEnEyMfyB6pxc0JYucbslR1SutebaVo2DgqqiXprS999zLx5K3LvhyHzgsY375LPfu+Hs5dSltShsbL0bPjQQF9vaqRShu/Rbnk9zEnwJrSupjYRtyfh97y2DghJOC3YiUqbuXDXU3WfYFmSGlD6tpTewi1B4elS+9PdlATYymFXWcfMZaRESFI3I5uLukUtmnn2bySgbs57V0nyCxoMTM2lSQhlWcuY5+x/OPjqF+sMP9mOR2lbF2d/UP1xbCNFDtsqR90FYmwO7vOzkvL023Ju998xcOf5lFiIBKKxdgJqPfoGNXbiiofrI+9FEG9PcZngI9icyPXKJfj/byhO27twplzG1j1qMcWlv559vwmJrKC+FsTIMMEVDPWtAphq+kuzjUig3pdOi4z/h1r5XRXzjL2QHA1/1aT8061adLLceeHPBfpRWK/Q8CMFyOUg04ZeM89+Y8WZfYFMhuWEb2t2IQmHM3pCceYirUHSP8t0fEQfQhfTN5y10zEHcZIlq4oV9GkKnWwyndMQtIgto4EmysXNrpXJVLSkeATZFEvWrTk9SE67UDRknkBHbvqfupRUxYEEuzbEpAekOnoGwEz9Wn01zS8g5Z+8nfD8BLQhU3tNBFE5zZw++X3PYCaDaM1Lqb6dCFh3uNRzxyCPkKKRz3lQbCYrlsr57n94JMglsH0zFr/TBhzXErtG07PJnGHxhtsOvosst5WyRfT/N9xp3xMIpa6SONT3Wa2ULIpEOrzwVNgronVDYiL6Aq2P9NYu/SSFugnWDwTVOI6gPYMBewHoDpfrGEhR1pb6wQTFRk0P3AWqXYNRVtEBLVs/tYnVzdgAWrA+NDmF9hGZ0L8yQqDCR+PsnsfHAfByZ+Rul+LxhOpAXmF/9027yZqkF2pKxa3NLKSCUSfFxH6Oayg7unEo0q6O/IUBLtw8qg0ORynkS8bMAgTFLnVgMcA1nppYlnMcsJY2kyPVhkU6TkTq6Fl0qULoCUZcfiBiSRwt+NE9YAhwG1IMedtGEOf853gb5Dym8evXeJbY14LpuOGfeFTP/d/sgfo7fxXsSjQsHwE/KlxRlJHzRNYUrtCBbNcB2E3rBj2DPzQ+7nrpqpdQGsbs1O4QV1TcZo0lOGstJCXwtbxtvEuVwryhaaeFsVCKuAGP9bsBZFbKIkkkDL3gQ4vOynptM4MKck7sh9GU1JAiEwJYVXi5wnzNF6LjjciP8DjlmBD5OdxO9yqRaaoXqJnmg5ClRrQvggFjsJV5vxfOVQgQYcc8z1AVK9rROY4uj2x5OQlz250fakEFX8fPdGv1FAAbQQG87XYx9qPQBe2zdwkqZnAeijMnoObWWZV4eRkcPqoCQQnAKR7d9ndWTFCiigN1xZ5TWy+8fmIlCJrFYtswgbGNCfIuu2WMayLC4kKZe98RcgUn6UyIQRPyoQLu1eBLii8JeLe6BKoOf4hVkF6gKvXRjYojSH3Mgkhlh0TkSQjT2xzfZ+gz+r9pQfnhCQ4yDln5lnBqocxeTtIPWe780Ztm7k6zdyu22DPzJhlhtmkd7IPfUDNMb+h0dm+a4pEckOBtCPiYcWfExDuzMpf3XZYD2QSfUQFBzbD7V9UF4pQzjmNTIamL348gvZ7O6gDbGQa6LEnLo3QSGshmk3dHhvsFkrz6vC+4VJ46gtKmQ1u9bfZ/Ijy7Yb5B118LyC8HVMJgixFcMNJBc+fvoHl9zbOtp42Z8ikkIyruL4d/AGrPi5m49ECUHdGUK2pBtPQyK3xYTnNoA5wPzNbbTyH4TgDo9lL+vB68+5+WovAOR61EI0hToYHE7lXabtVwpmd1mNFVf5bkF2dey8k8OVnwmp1mw5xDGCk4L1Ye0yWDiQ0hs/Qeg2UbuI3m43/aoEcXJv9T0q9ZCyBrEbjlrKKfXKi4v6vhHX5qBqkHWGZLKDdvUN4TcAMiHnBqHameOcCVdbkLKoS7RXPf3D4CVz0+yLazJMdwpLm22ZdQ3LOEaXZ7EP4TxemtrEyvvkpTCgL6HAlJQUk0/TPAdN2HFRYNrES7r8qv1vC4MB0+NJFHHOB9YWf19+sIKLPGgliqQGeM3woP+0bRwc8XdjgplPPMmnxMNbgCz9KnADqrguec+nXd4OT8OaIz8ScOG4u/Y5LX/a5+9pobwoBh+TRVhChN1p8jz87kCV3IfAdWMgyO1sP2YBXCAJkmXl7P9bFUeGkEgBR7Fvc5KFdsxWObV8+0QUlBCHx4VbRohjCTFIb/hwrtajATMKKRjdfbobxD0NGzl+VS0pYRH1XkojFHA2z8+Z34fvp7vBuB2ibQJfL0HNfRSkxDoWQUh/gRSXUO5gkRKqm5WApSsMKRVRw6tI4rCp1Sahv4vGE79gmmbqxEvLHqviMstvv4bNIIzMSpmAfL7QMgNGJO8wN+Alpe2GmuM13O0eNGoPEv9VvTtDGGFuzqswaRAkVgxy+O8QU7GdrfTMwnTmfxoEwUg3SRwPf6XiURd63jMfeIcSZoik2nIQWOpz/z40f8yq970wAYxYXAGCCqQQi44Wg5XlqoOqVzMoDXrvj6p9wGmY4ki3TNhe5wSru6fDhtWrPHpEsFMTtrOax7VRswB7PCcmquEvCl6wJ8SQ31P+ehP5TuitKeR+HE+vlWfnSIq3DtYSK1uYKd2UUMbKXUiU+d2wQJOak0oq8QBkN9kvBCtp7sZWepf+CAmgMVp0jjE5ho05IoWeR6ci8kWkDl3DpgKwHlkzGkQjlQeguf6p2tbUcyWuZ/VpKaJxCwwGhIR/arbLtKx5NRfemyTOIBF7zQZ52WnEuJO1wQdddajTrWUmFYWdmzk9lxeXRzvVPfqoQ0MKzX7DwWhztx13exMRfW2pA/1edTxG0Pj3Ra+u1X+dO3Aewe0kTNR56nbIXTi/jGuEE23ZsZgH7xrkf+HF2K9sYLrhuEF/dxvm+O1G9u6RT6I2G+xc9tVMI6MhbC4tq/FPKNSYocR734PO99DNHgcD38qaepEthM0n0p6BsUHcyjKT4GDkhUxC1DJzID/jq4khjRwY8XyPU3S5MLWTX0XTxKVAdZGbAITXXuZNh8N1Qwf+t//UWPfB98UONH+G6SY6V6oHRDaN35T9GCzKKxjWzfQ/XW/sLScfRWkNNfp75gHba24l8XUzDl0ZhAQos9mK2p0LJfKL8MPSfGCvme1IBQ9F6K7rkqiQIf7oOoq/eBaVyOUhEuQNg9NlYrTSsECJhylZ71aaPAwRod9Ix+9IuS1V9EuLoHN2KR1yJVD0YoX88IDbZLknFDr3vNmLXTYFSBFFMoi4wpv0UHjE9ok4oyoKdAUOLz8QGaZe3/8HKMqzPSPkYXfFqgbOOX3HEdsVpO6gVd+Ghhv8OJ/pNUE3sJXWP/cWwdUCLUipyPnyLuvcRlxUMcHCLllrQu5ajgryNSA+dPJ1L6BmeNxFcQHDuuZxHhwcFncJuk/TarvUY3UlJzEioc8wcP0WZ9XkJDzjVZdJQYECpfdncISr95WKfMK6Q99mrgdK7+8Yyx7pDRR5K3b+86kAGc4eSttgsw1GaVEksNOwpwRpDeG0hjPyBZf1pOYYFTl+qM1hqQdENoC6W37KMhJ1CobUPjqSv9mak4jnxtjaf4Lj+4ROr5ogKd0DBMEosjEGD/QLKGaDJeZAj0MY63ECJc1utGpRxbW/35SOczpRp/mZJegX75I4uaza1fe7cCDXTF0+2kgqdmYSmzhIz2MH7Pw/4TYJ6WteseJBy+wizVhMj63OcAo57da7QALZNcrV1h1ANVs2kmh4Ix3m0HnfA1fHXGgWTBY2+TcsfEmFCRWtF8Dui0Yc+uZfyWesN8D1OySS1CB1yXSKX7kwehP0ODq0odQdPxz/jtq84StOnxHRgpuMamUdLRih8cuMLaGP3XYTjj8NiCuzW37cRiJ/ccIfwimUr+eFMD8skkgDdfqneNdvoQa5AeHOWXGVJIPZ7hF/Qobo+u3LGhO4O6kwR1IYdeuARjkECFEPCSezJp9+mmKQNeTM2iss4Sx/zHwAEH/fz06RGxHEcj+nMQ6PJulSvUSxzCnXqqOcMkQr0sNbHueoYmJ3TVjIfV8jH3YOF/5ndsL2PWyGuHQFxt0o9RwpBCiPXVDCVDg/IbaXkKPw0GS5XH3NmeIT5t4IQ/k7jX7GOnodIHd4Z3eA05G2Opl5tR9iilq4MPU6gJcP4h42F1uUtISD6/Khmp5Ee0Vlo65shy3HW/JsNxROC6klSSBHtjRiTV5/7GzAWJrimb/J3Q5craebRH7uVDTW9UEynl0VrzekJ1dvFOZtk90ff0tR1Lw/YGGvhQcc4ZAvdYoSD87hbMtNse8a4/JYhfPN9bymjHiq+hybc3EE47NdwOBCdqIs+/b7O+1BjXTW2Ew7ZYhmORwU0RwqP8F7s362czPGqL3HnINtqdtOf3aTgbS0zVE7wUK1DO4Xq8Az9ScnXg01vVgUHAHjLk6gZ8UpUfpP58cRvfsZlbtqY8ryKxa4BREwcTG3f8LhSsrQtm/KTulfE18MoJ/ii2TmbdZElpEOCpXMUUAzxEVrkIQQvIDg874Cuzu/BtvG8t0FXeQMzYunnUf8ED30PcFdHD0++Ct8VdG0GDHu0Ul2/+gAppLu+iMUSwLYRBZlClnlA8frldYueYXxBo9vytmHpzRE9W5nB3ppDN3aXvXfj4hyZsbo9iDa57SZpf1fuUf6DPeAoGJ7dzYDrWxFyhnwu+ujk5+1e3Wp2JtBdcIocWpf+n6sWcSyh1QEQXzuWtPwhEfyK0S8B79sgO9lz8bijSVLk8ZQxtv5WwWo69Gc5TcebX7d/jTcOtT3pvECyGlcY9niec3gaAfb5+Qomliaz5cG2uCpeCorJEdKUKAeRTOfTQS9c+dmNyolcYuDAf3mBXliTPJXP91I3uiCZ25+jmWRo9NqtsuWMsLzg2AIymkUfbJ2Nxyvzcgjr1L+oalbj4KgQ527CYLo3wmNk+n5+8WUbVyouBaVoy2s/8svO+4fnjdl29rjRbE/dpSV6f1qgF8vPmNTq/JE87u8w9WaRFIrzkJcJ9wUVp//aFbihSXN26XNTsm2wdnyzO7BW+3WSksu45WAMCNvGkbJGUB4SdjJeuFkJCesxzPbCl6+pPtv6AHw5k90FkEHGCpaCNesMtsrKdrLah0Y4BXk6TyzKaj1bkkYCzxhGwReGGWK2aAAarmIYaQKUyjRc1XMFOHTwMgTlhEzn4ZKNDP1XHytmvec40sr9Ak9J0WdV/8WFa06g5Uw5cm+oV6OdYiQwJFv73BR+jbIzlUpNzEBa8CIyvXibBbFqt5CImM99//zC4UucO2M+8iwZX5FcAuEdfgy6Hst4xe4LPtscSLkzUzTWXsxx0yKv+SRb2t7cmRC2J9VwQThmD3mp2BhqNzPG9VgkzS6XBzoJF7IOcPDBLbTJxtkT3f0vioTlYY+57SUiLdYhWZLl+3w8iVLwZFjm3W+o6JC/6/2debhqRzERplvRkKq44H+Tvk7cxPECtAyRutFOj/htQvV4fPCdpUSK01/8QtijVggXefD195xHX8VjX4Prt5AwpDHEyz5M9X5ewqxOE3g68UuN/Ekd9zBfRbiF7c2bqf7N+Lyk53Ry0cPwdINDuscPzGGM82DoePYsMZHN/925EG9n+LFBYgRjw9v4F62XxvFZTYBfp91hJ7R0MQKq8AIo5VWwsgmUdsdc6ArLQgf9V1T/GEVmNv13d3VecsuZ0DK1MmgR05UZHunU90nzXXbwkjZXCfRE3Vg/ITxWHLmBCgGnvHyOmKbeRyLFvqFPuAx1DMUDA1mka4kFDK2AonSniaZNcdnvq/rFZx1jMjdD1UM+OKUu8QAI2qfD/xf4arJLKbS3RuqztLa0B2NBvBxojQMkJoTeRy14xv/GI9HVUH1qSksNpPeMMK29LxqK94gbPdSkylSH8tZUxJD/KBxty/GcMZMqxVa1kTM49Y07lrpr6nbLFmYYqkhCdEzTnd4gy40SE8fA2EhhOAqw48n3k+mDrrV7EACOW22M8g0ufNq2zEWHBQtTLE9f3+JKeGXy4wx0Slv5vWaELcKUNlEYkPTx0dwMaTL7sbdpnfHz1ZbeoWsfMbR0i6CWzpXSIu74R3eN3hzJTmB+CjNsApZ0CYVA8NRLsYqgLfAm1uijfcblNWsN3Ob8tfbABAVXI6K6/oc9gzsolHO+5WLQPFNqXnVTDgH8o2++0fm5Vl8yqsHhejd/MF7oo0LQXgXW99gMhpAwKQ2k/vAMyDzAGycLfwZYjRn95uTDcwx8vkVyZCxXunJavspkOr2uTEVu9ghCJFqO/R0KvUpvC4+7+XfHjV7k0JdkYtT7TzHSlqLN4NgxnmHADfs/HISr+Pbnx6zOEkzAyYAKwY62aWPbURDMbajBvsX4b66tLgaZrt194aCgbf/A2kX54YZZXsI/82F6JYpouWc4g5tbpVdOUKpvN5TS2srMXsJ8tG/D39n+lFbueE6uk71t6ltkLQQ66aYJ4nq+UsCd9WLNfd2spM+l23pJOw3D8OV61TyLafYY0MRsbFPsfRSQCkC021pTeXFwR54d+zQGcpLgYzKBvC1r+3TkOqbpP9uPRpDYjZfK7YutQsOQ8EPvju8O05cr3SW/g55/PVQm2ToGcyyCwhuY4e/tQ95dpglL7o10lQcODKiRhh1mFmfAcoj4IA3rYZ7O5bHPNoRscxBIXMc3zVlvRP1ylbVYOHOP43av1PxJ/69kt4z9juwwwhTXpEjG4Gi9AWmVq51S5qknkM9IHLa7DHT/a0xXqHQ1WGFbvDt5NPc7FlgAfofveLiP5K6f7L/osm+Uq5U09juYS469EP+1fU0UbobIIxKYZl6HmIEOUKh0G/DaLbvjxhHBnmt6Z3b+0QGHSBUi95awDwHXSuOGjMCqPn3rGT1IhK+h2doWSfsBSwHC+6XuVrED4i45Gbuh/LXBSVQXk94TJ2sZqvvhCEZdHyaq5JBOTQVb3+Nu6nNO9ljaWCKemnqoeErZJnSQ8RFmqkkIuGgXC9Ov4TFEtXVzH2ca4iyHlR/tMgoGLi7yJzMnnFj0Q7AW6T+Hbn+hMyo/QK+Zg7enYWupEHvjG5MCjb3Y6X8R65Xo1XT/dLqJZK8a84sQkc25G3pCPf6F1F3d/+I3fBS3aH6JE1oIN4MRH3c84jDT+SOksBuBW9bTVPnGE5ftZ+H3b/5Gx4h7SgWkMk+5anDfSfKEz57HP5E36XI+OYHJ7HJt+o7i7GwVx5t40gj7Gkkq7n8dCBiyd6sG6zzxZmv6RFv6cHmCzBRxf/j5Afz6dYOMgpa9stgFWHJ/enj56CC3761qccrn5vGIVFa4sVcrobOGXhuCeKQjSQ+TMAOsjXe9lg463nNYzUu4AUqJh4w2bJKWm+3RNZ9baqQMzqK3mEPuMDnNNO/1Ygm7PsdDhe/xMMZcS8WTJpgx2qLgG46FjqZ4EmAFxmlTSCyUXuTQRURxtiZ8jdvYeNmajKze0JWee71O5A1ALrraRv2X0ve6b2dCpv+w4PeOQZf6UZUFwCGyL9RxfFUTRw7niSgqgzY6UCYB19vd+QkwrBnl3FLV7uRz0PGrnI01yAn0r49/hYYz9IPCjm/ouDDr39bqGuisY/21EDiFTAbtoAkKqTOM1zfIdmAGMaO7SOKndKc5+kVbMxU+yTEtqSh1Urhz2m6WgLXDGyx1+B9zE7ORQX35NW4/yf/ZXh/AJrjp2/z/jNm+tA/CEu5e2WDBBR1mXWliy9xHmy4LrvuoiJk5prQyOtAbQT/w/qGPXW0l4RmbThzJVBj7rg2yyN+4+B23GXlmFv3k+R2StjUYhveaHmiF2waIVsLXML3AyyVrddp86YMp2FbdH/JqZdhgsmAgUVtQZTHchrwxjR0OH8jZegwLBBWRasHtdsMi0sEDoNyJk4pFWrp5xGXgT70qKvvdrnXdeaX4fpDd7Z+Jz7dSxoHFJ7BIs1B/6UBL/ECk/+YSLcaSWNh7NYpCNqVLpHbf/s191/wQh1hpQSV448ESfKItVrA2yVpqHTlErY3WpPyh3i6PfhrdBsXrOVVnjmKSH0ge/clH1ZRFatFEQwjiBb7e6mbgeMSo1FP624s1OPH3zR0UC3t4ZDtTRq6+Z+aFfCv/vA1H+OzI/tIYMNHgGECSYOLs4nTlzKjBGsLRUI2uY5Q5JMRC5NkLWDlClIBazIBLBRMEq3MaBJOFaNa9dhEX9z8+9brIIf2sJdqewd77tf4RqO6GVPOEh2hmI52dtTeM4Aw/l8dD1Hq1BadoOxGUVbRS1SNoFk/GI2OvpJ7WfVFNWH9PZ1nSSKcMozXIj0Zb1rXkA8ZIJ/rhWeKZ0D/4VG1jA7b/+YdQAl6HFK0sGG/mvbfuZY38JY2N2M9geNEcFJhT2Tj3QkkRMRCB3NCB+eSy3lz2cexGDNENHeU6ucGAewqFflBXqE+FxeCu5Ik9SNLwo+1BvK6rBiYQTE3V5Lr1fE0H0WI1ZHxUGJZEE3wQhFFGfigCbdjj36po6uO/XgXMLDMWQ6Ux1xU2xC04closBm4HCcQx/T8HxTyz/LtQwFHudZTDEx8fH8JMhG1BjO3UxbFE8ihsVcFwvVyotOMqK7hukqj6/liHNbPxhnLeoLM51pETexox06Ty9vPZh0mf2VrlzxOq0HyRNUfSeCphJLZi3xOdLmRfXjjHkMLcSVgK2WdHC3mhCc+pkfcOsbYMLMDs3w07wr+exoNvSHlWoVMiNA1K6y3aBRWjXR+/R6d6wuvBQzYU78GHNNj+a0mmehZ3rlx0gsAnLqFdBKJj1PMk00L2wawxqxP+QA9VbbPKgDiRnxuMxLFn1UPPJ8kfiZdD0/ii5s+9/zm46WtTgI3Hbu9r/Y7nzFXtDk0J3jYTLKqXM3N8ndeDkeGj3SZh98BEO65h9zGcWXogZIkM8CYisy3qbLc2CB3bVIvPjU7+aVqRy6XFK50okoEjpfCLWx7xxJ7PGbxkc5BZTqyZoR37AfsQLs1h005lzD53kTQF1cYTRytC3wVfLZKus2OUIuxEUUHjdo9h8RODhi/t0ChL1SgqYTTbzfIi9OYZwT8KWHFOTiV9rnw3Var++syvAykBJAB/d7Pxneg9s4thaBucT+ptVRk1TUYvtr/xTKjItdaW0TC9Rk4zR9OmHZwd13QCqJ+yafRQ8mMyWEiLBN8qZyn79iopNCoc6CD+GXhfNVUVlR3yb645fA40cfBfaUsJQJfE9z5jJFHqWt6Shysz/9Tf/5Vi/o+B3MtAp58CKcBI796xWuqABnYj9zEZ2GmCz3LBzCyvAtK407qP/ojgMbdNt5nRBJ4VVQrMxi9Ob7TqpSu4Bhy2VhTTxU9sMwTyzPi2pFWZvMlc38SJeXQzdxyhXCFpqfebQxqrRuEyTQml0r5Kf+TQDfLDNLmc0aAsB4bWI58w1Ol8CPzXfo17ykR4LeLDger4iR5SrsiB8Wafs9N78OmymzcNlagaNatmHDrwX3Jcxhi6l9Qrud9H/DEnC/FPkAuZf0SaIfkcwa2vPBAx/fPI3uGT1MWznYO1nCD13hGv8KRiM46hgjyHQwntqrTWFeKrF0i0hh9UR0Hsn+jESKFnTWAUnynbnx86Fm05qddN5S3RPWEOJkmTgHPElnAeeOzHaimzgc6q7wwXsaKyW9yxnsaLP6/1HiK7ZN6j8u+Tm8oTRfZdFjRFICSnRlFGI3JOe7GedesFvRJ3juKwh0LyTay9A3iC5NRaiV8SCim2aXyQk5U37QswLelZikbBkfVhYNtZbrWnIQPZOGgoPhzedhBs9H/U1r+iLW8HTFPxrqSOPGHKQOy77NrSkSvwwkfuvAWK8kyKMEENqkvQ5SmWK7gvG7C/VUI+C1qKSEzGj15HS/AcYsyz/x8asYmBowH3BdwX/yw2WyKLrpzDLbQD3ELGsb2p6sUvJdG8qtQo6U85RxIqpic2jrYpftL2dCCaLPymoc9HKVoXtxULjNaJbVtMX6Eu+YTY6Qjfw6f+JrgAVmmO8eafYlRjLTMFnCposdgJy//YSfSeZFbcGp9FKrkh/tK3v5gtrsgLUPh3IE0vl1yGYySSX0f+OZ7kogjzHyh/vwnS4fAPJS4DBXY0KsFq2LuDlYs210A9kXgV4CWnSlMiMoRDyWE+vhcjHnhZ5hd2dNS1Aj67D/VlqIGzO8c/a6X3n4fGO9OLRdFVGdTuzPvF+EDLYGb6V5fgm2D5mNyaqLP3WUAFJZqbB4hCiyNLjuKuCRG9cHq0mPNnm0rlITB7UFaEygSosTyhnYuXr3jxFkO6vnSiFLOOhmqK2zX0n89dPcZVtxF8UcJ/0/a9wV0VYu5HHLw9/2CtqPHOD0BpkzgzmJ9G4U11efCE/zV0kTBoBXKjlpV7Yuh6XvnFmjI/F9HRfFyBSvw1cY4oCoPYwr7U5n9xyMeaYjr2NXZ2HZendcWdQVN9BJDenjxElJmvYmMMK2538Y93VJlTI0NWpks7x8jfxYeYjTosaAof0+451pRc/kbuxPfIqvjWjA7Lco0kqDbIvF3wNmbx34yONn45pITm6OuQ8iViZptF/4Wk5EFLLABrCcVtd5jS4YHGPQmlK44ev9oMR898TZPcaodjjzIHYSvPAN9m9UgL3wBOwgi5mfRFaJrNIitwXITB9AX2CJ7STfDwoN+tEJll4TZXBpAalL/aF4R0e/OvYyEHUCLG4cyNtylym++D9imF6hSV1oh1808TyI0bFE/Ydr7+lmuUKdhvoawPASZz4z5JOlH5ZNQTkgcKU5xbM7PxsgaLnaf3FQ3GsvTbPNEGtgPU4V7r4uPQfoNM+PHSeiA7UtIUba99qwpMjSTwOyF5ZENZjkWfdE6YvoNWWk2ONM04ug85f0UOoTXihyKbokjebuNcGqjO2SiA19mwbQt6JacNBvuffXLmGWHqVBc8QIbQlD1ePKpu8w7LhdPykPEKlCx0UUcPKW9uSrViSMpve7nl1+9Ceg4aUc9RTH/cjt9gjQIb/uHPTEn5YnPWC4BZ08lFOA9iyRqqTZIICYmuexPNcQS5vQuhBNcg6Fby+9UwRdOEhoJfKRFW78HyV3QcKD6Jg5Tlv3dpyyaU8gMUMpz24JN8j9BDrV78px9FQewnO+SlnI6jkEquNv0rmsCxrMorvRBTDnnmy+6sde0NvIQclQBYvpkT8gHsUF+mvZxtOOF9qv7Y+7WuRe7dSuXG0kPzTzAc4BBIHQ/9OmFWcTUd6Dv2OU+rc2DRa8uG2DlodXqghYUOY+bPHPKE+xa1uU8j2fOMBe0iZPBVKOxJbSbzPYa44dcB3vw0brVlTxahcnNFWTsdMz3wKMx44ol7UudekC3poPw/X6XXe8xCZUvlUgdoI0IgMu2KNmMDRofvwOzHJEjBsdzIO1a6cL35I4ZnLIbK/FR5phvAaW7wvmvYlCPfroW4KoxZ6A9N4oVKaC+/LOq1ReqKM/uMdqnLA43Vih/o1Cbr2y3jUxnzQ7FwJELDhFyGqc7prqTIAznd7/CW1oOauN3VgLMAwAToaZsCebSEPrHTCKHg+gRNayEMq0hCakJhujtbZBAJMKkGKrJhbb7IJx6J5DR2rTTvvMkYLVIo/tl67/sQpifCU/qAv4KCq7NEFr78N0IVHHTikasQf8H+Cge6jY8kMOLzdeZ78sE73E7Bk/aZgXsrjL1yxUCbSLw4un8LrEVtyDC1PFT+j+lm12Q84t3GLajOUgv7o/kFzeIhk6zMTgpnbEu9BPZlgitUr3TzUkuzFhfunrW4Mfv5QkxyMPfspfa6VLh3KVPzHWpQAad+UopQbeIp+pOdYK8ku6DWNoF7ci/cdZO1ggZJihfW+OILRqnwose35YzukpvpuLCg6sOV9o4TozP8n5RE4Q4AQ77LchazDGnmZ72yGvmeXnRtP+Gx98PlinniK+7JX//YcOWr+tZUX/0C60sGxYGnNK9b3ATolUoDJO+yV7NC6da9dQTqWMcRuCC99aDjFFw2ppxcM+vl65EIAQ9B9tCSr/5lrnTOyHq8XAMWtwaWWYoPDf12yrD3FBZ+R8e2OWxLIAzVle/Bmv8ODAhK+PB5Lwb7pfffD5aWoTXhRrznWFJAOQylBtx/ncXHG/rrL1VeQ3AqI/og2qDRDSBcJNLFimYwn8tmEp8qPTonNqAK++sGv3hVNjUzBhOo6+0mv+conTc793fNZ2hXwf3J8emLjDx4ajGiliwpDpy3XvN8OaKyr8hdiU4SCFp5us42+4EUP8P80Z3stAnFETEk9Gyawajwt7V+gmQofknDm0p2U0aNvDy5BX1+Y8xozlR4aRYFTYRmcDij/scCDj7m69rW9EKE69Zc1ptujILPqfnapeFgMwxvskV4ayVwTxZnF+xQXwlafmyD4EgHJosZCrVVJkjj3z9w2XNg1ymV2x2WnZJGLIFrWWrd66PX0D3oQ05aCvNFVNXR6zDBIYp7e03lmxHEiyTbkaElAsbanN5ZU4F+w3ZkCHAr7MWcCKcHfMCY5k9vT/AYHohpKsn4tp2bRDVwuMJT0+6WKWWjm+wc2Vkif2spSJEPYLLo3HZL6HdFe3ikaLs1Wc0I+IU6+QpBGPQYYuH/Qfa/UNjVMDKU/qLAIbIQkWtnhiA0VDSBtaTHD67s1CuXKiZuHCae8pxcGODai5VY53gzMmRhvqiAeGVKEFrk/WwTHaUbBw3OEly+avyO5Cb+RSYQWrEKVpxCgJ8c4sbJ1N7BaYCrme/ZfoM0ub6XKNDkRtO4E6fRWrQtBUMmNT9zQ/B6KS7aUFRy+TKfGKgI+l7mEF+3DSBCS9wI0UnICS7kQUCLzHujVs277IvrHE3UXJtgsedeAEC9ct8gbAVnHUjIDwDe3oTCH9GBlqLwJS9Wks6KT6pZwh9mZhwWduNop8+zLzY/eXwywLC8ABoJ0Pz2oXR+CvE5DultNcROBINHBry2a5Zik605OVDKf7TCGG5CltbWBvY42Q2PBiY2XdsVpto8bl3efArAQxCgS/pPM5EJu+s+I4gvZLsLa2IaRxMKAzFcJ6fnoybdsCZgvX8ssRZaZOKaad+6apEU0Yj5DXNMBoQpqkkHqDbnzsq+ELU0i/ULseiQP5EA5XMSaD7IsxTnDd6JoTj13WfbWnRiIXRBztfD82EnXIGspB+p3vPck7d/QVjE6tqiD3ezK56PuHdnLjKwQlw1aCgXXNNiJCfAjWgttRNminn5+iHHT78+Td9emwx+3a9Tv3Ni0Vs9QoT7BUKH3glTXKC4o/SdrtDyNap1LILdOBuPHk+quHi2Ppm0uPqYnxrCC1YJ/8Yy7LGAkI+RAw+VyOQSPDpMKpPKCINvq70T1JQj6ekTb1qDKqQyhcScVSi88PFw0s/DAX0HeO789aHFPt1enx+9ZM4sexHXL1ZbEmyGCIEMiXEEVfD3a8SdPEfHIJNCk5BQ/h1s2MGx4iY6M/P/S3JDfEnWkJqslML0q2a4D5PSYNHld85DHEkLF21aDZl1TYlx4GHApsaJETxLPfY/y/ePIthUD/BT1WIG673ZQj/kS2jpIHuiINcCqH5kvuT/hUIqJpYUbOiWp7nQD7FtqErRzXiRO/+qdETmq891fs/BrwxOzfg8n/6/esaZCWQN7ON580MYXEszzLhS7LKq/JElH1BG2nH5Tdc+BoLK1L3mIqBK8VIkEr2U47+9dn0qQhuLBTw0XPDBmguV9PgMUy4Ib1WogHBfDPvUXK9xsDgTKDO/ED8MYZTRnhmWZ4NgIrcrJJZ35jwzMO0xSMq1l0LizRrMNHx+YFlCfOY/DMXrZwx/RjetikeCkTo81lOh/Ug9hGDmcsejdXJAe1hR0oIwoQuELRLlXAbmqmqhiWtpV0usDPt9TnrVhAx3rujyRtxue1LrlflrjDY00fLLbt4tYYnh8g56bowM4YtLqwUyLuGX3yHsufcJs0XjBCgIXDERH8l9dkdTxEAkqLclbz41RvdP9wgha/rOQ+UrmWZULx1g44Y34N2TZN2ccUtTYMvWFOra50qmVdLsC24DWSq2Yj+VkzseXAQ3EPY1TCQhxU3ojyYn1vPXx2bCX3bbXoF/6CIPWURf41Rt6axSeNLD1/mHAhWjVppfoifuVJEEKb7qoK2wH0iZ9vb6iy4MsWYg9Fl1qjGlwFn+Gux5ObzdWgEYx3gLXs/V1851h8hVQRRp1IU/aaYamPMUTCTDiv9MVBHQOCaXdHU75suIYXbOnBnAc1nzGVyBWS/MtO3JTYQhCXmEu92iPbEReoKGxa9YGKkaXvxSc01ocSplCK4PUfiIFcV7VK6kMirC/cHgNSg8UU/DxargAV43DLaVGjeBXLTbBNj24hwdXgCS7NIR/ViLhdiW3cNCe/fWlyMLOOd9Pdx1o5O1W1lxRjitys5LUk6CaUImEpDC+ousQ4drmkC049cra/5C0D09NUv10t74Vtk+O5u9uOfLbHtRVztsT3f/v40afW2KH8N096cwm456xao4J/K5Ki0JQ2xQdg042gzoGaAcimvrTJy9dbeJ+ysvQda+7VZPWfKPdixt1Nfi7XgbLuSi6qTQeG3rBpKvaFToKKFsBlGiyTu8cRqeELumlZcYGwCedBRFIhw/9mjqJsRnSimEYh932iWOOECRDwAlWinQ6Ltc/9TQnKqGC4/0+yB94rzCuVdVlfhYn3EQ9fQRoJ8IZhZkeVtyAVw1brs0P1074QG+E0ObgR3tVyRKDOghS716z1HbFBvF/rC6d4wFsjINanAMcEd6OL6qhCgFu/hCdWsCWUDfUC4JwAOg5eUTOKbgrMx7rujo0dPumGInKvjCJQyvTewyK1t897D1JQZCHngQSHxPU+hlLUzm6GH0bnV2OTGWrY95QRbTVEckXW5eRCXCVDsJLWwkBN7G/Z9WNWg5hdLUjeDB+ieyeMtXr/uImlBV5QYWgo7Mn/iJGcI+wlm55WouqvZS1RFCLKSO+N5KsRS3zmekRlTjjx8LaEufBF+YxzkhwFGJ2sETps3upkc2hY60I/oyZqm6qrpl/yvDfJ14ngQjr7FIegCaEvZeMBfYpRtA6u1CwCOqzhSR1HnjT84S1zLHks/+0QWQtE531C51BfSwSqsqClTrX8860hFGDdD1fOYjZug73B0exHZ5I1qzQCtoeHJ95ePfHkQLyw/ODTSjtGmBBaHeijbbFlv0WUhYH/tudkLvlFa4zdG060oI8cOXP2TrfKZUTVyPXdXcjfwXut6WOB5A14QBJntizTxq9AKGzQFJNfIaDJBsOJi4M7q5b3/QInZYSBkkIvgp11rz3D5pRxVctYTXkz79QPPrKuTBT37L00FKJWatvi6FhzxyZi1bfRSwKCZHlZmATlxhanXa9BFFyJ0UmCso1So3eFawda6Y6BlAZGAuuQ7KI4Hq+RRoMy+I0EuFHOdxffsz21GcgG3eKM3EmyrwimIrz6eQREETbugYbXGbBPT6Ih1pTkVTZ8djwUSD236sXtgeQxUQiHB5qi06fO69oWPIbVPT1h44WQOOddDhRln8RvXRmHkY6zNRe73U7AnORRPc9zIk8n5p35sikn8e6VzlxgrqBcbLtQm3ggVZY7IsyV1MSMrdOMcwIM567e59z9BHB5X/WkOmx+i82hW2hlQFKL+GKLMqyR3SISR2MV5e5PA5XbQji2Js6rPabwu2136QgiIU4Nwdn2GxiTczheKUT8moJYBBGNOdgSb67IJxJVyDP8FntENLItE9zcyUm+E0t7AJF/fOiD+90DVSUGWSmcaSDfCEiYxCZi0SUQqYTut3ceNjWdIIGgMnCHVt30asxdXDtoz4wt+DbYle5kF0AyyYFgvR1GznRFVcQ7MEEJu735NRPUCAF2Kw1ihmIMdC+i1JluK26ojOdN8tK1TVqFFOmcZIO80QMvdFbiGF6DfGIZsqgk2jonMvHvSNb18MH1RRR855AeuDs9/i6r1yvkLuBBdocVEBSgtk0YqJfhspVOAEjF65xPJzvtMMyrVnojLOOWkF5KLnXgEdlo67CCgQRncvtapFVKQcSvGewiqCf8sHn9Nhz/jHS+b4LnUWvlzVGyiwqJMjn7/UBFNg4AvxZQ6N7TpbWoV+rWt3lN2D/HFtFhWVCxCWhYL69XDfRlI7lwsaM4hVYjN6VJILpZ6h4GdmLjCJv9e7b7I8+Cz5jw+i1oxp/HnYHXV6c6IXtQyhh5P3I7A96OlFTCUGnAdKj9/vGfwk5xoQL54NvgTRr9huaX+TAgZHEvKdPtCXkoGVyXr3upDXJm0qNMlU9wx8atNUIujRdCBHcCzgqwqfVkyJe+1tlJabvTapFKh/1tBPIJvMbP185myAdjQSfquevA/6ETuUfjGL9lpA56Y0MS/bJCUFcpoaySFV8/Ntwm54bkw8phD6Lh0Wy8x0sWswI+UdzncUW+UMOQ3j4HYRdW/meLwewIZZG5ugLLz4GWBf8+8A1Yl4WttPxJYvixPzrYDaCg2rD/ayorzWtPMSrdMX3fUVG8nK1Uk2vl7n8dY1D2/zLQGutNu8NiDq3MxhzItcDPI3OcW0vGt7tTljMyujWXnMdtDPGLX13LIfW0fPbIBPvbDwhcErzZ1l70P4xmqjMcVYkBSSYuzD6D5nMt1/sErfNcFtU3orkfy32w1EuCYp7GRnlBG49JkyVMdiiefpaAacZF5hDhCV0klAbbMhhIt1IOCGiZFtzo0O/Z/B+gRXy9YiMzMbuh3ejrvWZ8YcoRHygcR0Xfn+MQuOZ5f+1sqy60gbW+kP0inEY7NPtDL0sLBsaUmgnWo7dQMEkijsyNxcVnSsfvXZO8L71ymRC68SHnz7efNlqXVoS7qChOvr18kEBEtztmw0LzGaU6FYTOQnVhDjUKxm4HA/3ebjari/XhZ3jGfS/KEZFYdPnMGOXeW/xoS0YBbX0GENpp4Pjf7ONxNnfaDLbVg8C85BCwyF5+8NiV/G5zRJ6SH0rN4JIxOhvyS6SB3lDL4l1/9rElnegZuvE9HtdH8ZioI3sQpPlFx7+YG5wV1KTMED22jItnBh1OgLvpg8+7iy0jjeNDfDEWXVuZh3VdeYMbDTKL/Ob2dSOJdYH4osEe3lRfjiUadL65ehIZ9s8/nVDoKDeB4VMbnLkoFZTgV7u+WBWZ9mRViJ0XFEDyxgXiP0y6nuDqBzdscO7voQvkBbu87WxGEA1xf/PKID82/dKEuZqdHYo+6vWspvt5dX0WH0/fqRqiSBZiwMJyaptL0s93CP+wIxrOwQc7scqldVYcPk2GwZliOsW3E70h9lZgQQhNgAYE3Ez5ALM09ibnbdxY+kOyL5raSUIA2tGGlo3URlhUoG6xxn+OwOV080LlIC8ZJD0gIZnKXgXAsVQt6zZ3sFekZpjSdEWEwRtjdRlSVUkSdNzSRqmbNPO3YOC+2jMmxRyNJnzfdIefmvfpr3ubHv6bXLZqNw0kgl4kByofz3zM0viI/kjDCgEVq9xGO/Mesed9ioMLVAVj22FIAVgNcTlvH7TqzIrmqaIsy7MpZcuD7VNY9tltWHGvoB1noMFXksUcSye27os/WI+H/xprUKIr5tfVI7m+whrap09LbBGgmkDPlt1pS2BUdZdjsjYMj6CHM8PiIsSfUbcgWFQRp3DMGw5N+udfDTYMSpRQ+xEG8guHx6swCp2sRdihd+rssmZetCG58kNFucIKNJOTKsUX37PERXJ29PL3MyErkVfCmqRw8nWE8iwPlLycfch0Had9pu/LvBbai1NAzTw6xn4eNnHzQRNMB68S8SpTJRy64fWHKJpFkgfx2RwjOuSFcLEmdvRKZLhb5fprGaVDUpMX6BiXAA5qn24SR5gzuxZZb78ro0DjNnQ1M56jphOFeM7A1J31pLN7bZBIohEtRX3WvE9kfcBByuhBCFClNDLQiTj3TIE3b3fsit50xKuoxrf6jdwjfCngAzZ+AK0W4YcwgmAwifwAz6ZZsYDvzjCu4OSU5zxr2Sl4qbSe+awZRcnobBm1poELiddzMX5bHcyfV02HtslCAj3yZ1TFTAgfAegpoPOCMoUO09aa/+nsdlkldrgxRkxkeHJwc1BRC7Ru+PRDFqgyYdfhMbqLcRiO807ylzUjGqec0PTOdn9bpgoM2hDB2hNgVCaI0Rfj028s9Dst7UCvo2zE6o8EexNLYsoOmYbxEKSg/G7dakZhibM9jq+jfthChk4MggsB0tmwFdiEWdrPf3ywztvJjJhGDfVj1+ODpTd+oVg8XHFVG8xYOUVbB+/r9tnD4rFRtKsS3579AhU/4Pp08Vpfu0mHrXX4F+aJ4xCCQJdRA6a04dXGHXavU+E5xJK0dzX+zV5DKJP790zKhQZTzvPtUUHL4MH9SQ0tZv2kkt1fmsUXCzzoidnqCvGqqt7edT/aVg7sY137gO0NlZsU8m7UEe7lrTieLHWvddr387V5+EPdBjLqRiGHXffqllfhD9olm3v6j1JBZ7i7gKt4rOgmR+4nd2QlJr4LE9SSBacVzsEIWMqjFjHSPAoQBU7AIwat84/x95WUP7kWRZn3wQhfHG3ebteDCpQ29aqWqnbnDMC+7PzJ5JLIqaeZ7JlehO250E/Qqav51AfRxhlHImtKA07u1TTysd/dKbRNFXth6HQBOZCOeN9k8qlsolonFzxcZq18pVG5M40pYOeRAw9IjpeUftKUMHnQN6qFDqj2+ilUwPxu9eIHAi5fA2yAPN7o0cnFmEfDhl+cfnYtTQZVcuDvXaDmTYq5PABYlWHGKOdm0qqWlqtEICXBD/0rTX4MKmT8IyYGUMO2uleddFyWfu6tvYjvcu4Czad0pvMtekCS+ilM/c1jmbiqtlX/QRDGtJ8KkH8TY4fQi5BhGm8rGI1v+p6j0CQSzSeW2Np6aa0wpSE6/z4zvLs/pVaDV4OgaGCkw6lFBFWf/Q1V4vFhjYlq1cAGqI37ifEQEkUhu4iaPHM9otZIJw8qOUC7PMAajlldgmGRTKW6+I1kBKu4+Vh1Ig++UM2oODTlemOGiThM5JhypRpKFyEnKCSKf/IpHSM2jMesFAfFTar/D/8AtQOO9AUMAlSNqWb1b35+/5s/+u3LhSEHD4G9rcsOJrkSF25CLHzsLueyDeGXTo5DjCkGZnYj4NbGBR/lKRVGV2vwxAJ3dTrXYGK8qH5Nkw1pHCFooxg7P+6b8y85aE4J6IgIt6NhFDaYmv6GXh+P2BaFgisU87eANMGU1Ww/X5H5VcX1ipQ+F79XIA/BJ8WNflllI9ghzg7iipGP+1vg1bdBaj366tPnPE7KCnLhba817TrOYExyHlr+GSgRxI2Z/IOz5OBWPsYsS1zDEWXyMDgBjTUyYVarhkjZOX3Ra7ca/rgMmA1H1oPp4QJeXQ5uN+hKwGLba/TD2H36btmRBAcjU58+J5ht303wB+UN/THKUPT85IsM0a0y3FOArvYnhD/G3etVCs+XqLo7JOfttp289cR+wQLQZs3ALqA3ebrEZ5lE+7srNAwnwkkJSQnnev1lj2bwXfkTHJI3y9/n1OFoVTonYOfbi5QyXeXLuR3CDiOrOAUvt+aEcneLdNyS59UkuBeCobikwKJIX0XKZKQRRga0PD/DDCjxET7Xy4nLApjcanXgDzF47WzU4FlbAW/bN6HgnLn7tIxZAtcZLD+DgSj5cTwBzpPCAORGflh7SRYkqN/N0e2EJdjP9p7Qet5p598bSEMnRZ6H4tcmIyUyCv5An5tes+gg24v6yXLMcfwRaW+sDhGblpNX05puJwrH73OdL0dQyYe9bzfxL+QFZECpPUZp/7eWfSuKa6TOqVCBfTYI3UqNpOX0BkOezqyBfyFjBbptmanqkeEX+kzw1yyn1DKKRwKZnKWMsQKler/PUthRxoxAoEPyGi/UipNZdH7jIeQ9I/CKfnYlGheR6d9YF9L106tFpHnMktW858gzEcnnKr+NttE1F/ie3UFqAs+keObMbdYzC2XfwyJQWifsx3mAH2owFIdKFBX6eUx9YrHzxn/NhcCtDifgbWC0VL1uZULlbN289fdBBzJGMeNOQNQ/YykmXt5nsk3NmAnOPyeMUd/fy5T3+rEvf6ixZgL4mQnPmY4oq98iIU/ncvirAVJ2btkvOt6UI0wm79aqN0AfIhXqV+0K4Cj7IoYEpH+bKkM6rMsD98q4j02vPyXimw2tLW7ye5LR7V/ofzQWrFYJgWwoHWMROHuwws5BeVJGuFvT7Jb6/+SW/zoecA0iuK8en7ShycCY+NTIKjjktsWkA8TZi3sZRuhdhCSPIxGdD66ZQvQXPV2MjYmF6l5PN1QGhhpcz29nSH8DhFUjm+Ssqi4rXRwBgtMj2UXtg9ZE1QE6VjWDyCoIE/M0Lio186urjuzgKMhgGeV6mU54tigDFF6upJKx0N/bNRx9+lyPGTXKNvYMeY/j9wp17/FNHKlePHlH8XSHDKbENcLNOqYrj/UiUx98G/+jjikL1K1Y0c6wrY3kjudoFZpNN7+MBZX6YEsiIOVplVAQlDy2uv77pliCGIwkilELZGSZLdVFr+DFvYu4mWfmL/IgQdYoCLnTKee4oSlOeHyFtayRnrffC3vdjCyQ8wBSpbFpCQwZIfLnt52PNqXGi3ADTRjqKRI1Rplw7R3iuWQcYT3ohCn3RSyp/ubdIIxQ1l7NF7HDaQU/VxqCHIZamML8dnXxzP/Krk0pM9i1CFz50/s2yLSwUrpkXGhWiQr7Pr3esIMUEJewHEfbjMiVUN0dsWjko46mgoVvTVBAIe1/RhDMNrw0ZMks94rAEhP7W1rBjM2JiHNSkeGLStBu58flJfnt71yu4WsPsQOdMbXPYWTJmIhfu8OKYGBSJcr0bF+ZW6JxNeFXyhGKPwm3AfxOVpBO4/gDzFVAO8i/z3JiZk2OVzknqbBZzuSTl6LBcZ56V5/FeXl62ZW/pQKydqsrPa7AVcpKqtZooM8t8saz/yTsFwsNp1GNt5hKM/+KvD5EsQJRzhDnHCAN4XTDKBmXWVbAXXiBtNJp0iXSRt/f6rNydAQgkoZBM0S6bKbnfNerkwnzIhkzDBSWS++75Q5xK7ZAASV3Yjg0Rcv0iGZfvFMW0BQJ2b9vjrbp6mv5qjIO23lhjdCsjJPHuHbM4mOnkWpkwVqTliyq10MS+MIOfms6BeeNflJ9H2u5BhLCXTYST9SasAcB/Oa6Gcyvb/k2mEZrFa2TyMGsRKg3+vIxMTcV65IMqO+iKkkSzM4uckLFXOvwzqc3trs8E7+YESIm93FY3mrOn0/8F/AqFKE1Gmp0Lxgo90bC/lR3VStvEsdt4+6FfnIU3I8+lMHMMI3fL+Q2DnUgWukIcjIYvWYR0AmSmiR0xFEJGo8m5v1Sa+XqbwKI2WyESMPwKkSEBIrfQAFPL9fCltfoyB83ITWpGd9sq4VX0VvW4zivnu+FYw/zE4AIr9iMFViTO3+ngJk6cc32tK3HJvTDFDyknazzN/deyLGvdtQ4wK7XKr0PUlTH66TPS9zNCt7GWvIlsZ1F0rGdLve1dbzDeswPQ7UxTNg0iowDr19NqangP/1S1Y7jJTgLxIcIVp7MyuiZ4GZkIJ2/zjROz9zaO9drUym5VRCkf79eTWjjiMLvOeyRax+3IZaR4Q6bX5nt0W0x4RXOwguHJJpznkTf4YfIMotBkBvwtn9oSsoIIER/FPwzmSYY4GiDQIK3Tfw7CAstH0FYr7r+Kia3z8GzgC5Dy87SO5ct5gGN0TupOq3Yj+qGyaV29DbB6IiIbKhqfSJOh+m90SkUlkbSREibJwfRCNg+wIc95RsO48qCLIXboihGZBt90Mi8hIfsOz61nq/vnh7gtZ/j1lTLZLB22PYctc3ppsyaJ0bMmvt23z0JZ/LOkKC05mRQbv0+D99r5c0FQb4GVPzQ6VNmJDIrgDxyFLCzEqKJd3CBQ43kNgISC4RI2K0PS6dzF7id62+QB4PBXTeugsVgGM1WUlKFMpdt88BVbcPNnfHsuqPYwnBTgd7ew2olpsGN1EarjRAeR8bFjlqXwWmaEk4qJFuilkVzB8zIJ7Oylqk9+8qGTxoaZhkz4uj7OdNanbWIYGn/3jrp0GC9F6o1n1BSLD3ZGBlQxtm9aKl5Gk7LOLcu45U+AkwG8hCkP5aolgb2hd6zB/155dOi/Q0rkDxNu9boQ6/y4DLosuN1vcCXkRx+UciHSmxOKL8GTGixyhcndHL0WmkEdofQiWosaS7ZeVlXNVRIPvwLuVsKHGJL2v7MoZrnv5dOldZw5deGxlUGa5ZYAuGP6SIWE21mWTL5qeq+mWoCqGBwlaTdEJEsx7ZrT3VTklg8BJtdaNwUCdz/8SF9GtvYhPDyiLHOSaG9NxID3jAxCA+sYWpvAt1qRPKtxOvv6g14P6E52y1qxF+6lfv5tVT9dQ8M3loiTbJMk8ee2jWJzHyNvbi2aqijXiOsqymuLTwov74rIwccE2vo/v3b27LnzymvF/1IrzlIX7r0z1pdVBIi5CFLTmHHVsjVi+g/P5H4/4U5NYYx5IeL29ps2Hjrvpq/Rjn7rLGYKWmGWPkOHqYvUCguNaNb7IjyajHNIWB6bYPO8MHyk/qqo0U0Eax/T35/5QkP63ScLNw4cvoHr/9LmqsVE45/pqX5lNOpjEy54EdSqNJtflS3lOw+ho6jndatSrVzDN/jTn7iQqBh6YMAcVAQ8qdZ5O6ITG57W+PhVM9K1VjMgaijcXpvUMFMFGsI21FudMM4Qm2bF92mxIfpZrjzgXTk91vyK8ckSE81Rg/mwKuI9WWWjAeol/72VIoOxK001R0xccyynwwT2PTvr/Y5c8fYpxV22RfYOSl7PXJV7+sUcWQCGZdm8oKEJ2hyi1qKFAz8g+7SAf6Ip5kBWl5TO7Gm+kfhrOP2JXmUNN5JzA2PegeZG8qGBgQKN6bOVpSeZQw3wnEf8optSb8M3K03V3mo9S29z1MBcgtbFLbkZx9fN43TAsJjhgYcpHU6j50Ua6an2VVvtGOrelmxUu+UvBBWOt/LOm78Q2cI6WHMsYnBmI1jwd1nubjEKpJXO6bKzyieocZ2AXtwjoZDoKWfovttNJmW8faX390L6Ld9opkt6tmGsyIzD01dRfqdWhSqAf0IJHjtgBemTLnltcVucdUCarYkQnIXQe0XoaZpwa8BhS7ORXn5HaQxa+RHZoTCBXCewPrTyGYtCSLlNJW06mF5dwG6Pc1Z4B+oWM7VcSLhha0JxNmLJbZnGiwAsMdfQb6O7GJ+q1XM3zDgMVJCREr0FvHpFEbaCeRpvXlvCUwu7eybmCVlRRfHzrp37ZL/0sU9AYwZ1RxVNnvB3XZA+DOyGOV9qJ97VIVqBLz64LBYH9gPCbikzEKj+rks6nsVJOvthDXJVb1a1+sxR8sPkXbvgqQYrRbDD+WAh9w1+l8HkqkB/ZgQEUPpu/gZm/ILBlhHJgh3aKXbGVzQcqKLV0/KiRxuNm3nUaWKy42qp9uhGOU5yowFm/hAmSX/xIozobXsPwY/MuoEblbD6qJFrugww6IZCgIu46iUTIZZViY5jiWLzRBJ2dTeCSA+hfrqiBrtqi3USK8gRvVWJadnQ/BsQ04RzRtxVx1O2ixBy4MgReYwrAhiBRsB2c1RPyIIJ7HIKZlHmCRfsQ0bH8e/yTAl1oPzTLoyxg25q+Gv6i37SNG8XBFaKgqkIMMXtsa3hzze4mJhWy4YvC2JUV9iLYXsR1nb+csL15PtWfPZE9SJXQi1F0sEbNqSF0f1Fe0q5cY10CKp1i10/bKLfipjVpGexHUQRkdfJ5I2a3Xqinzk/80yL/rlF4yXdhRfjpAxQwodWup78cCTDbbkW9ghFaxGN75qgPGE/SIPoi54t0gaJWah3lK+CPV4dAtExwbm2meqA8DPpKG1+/O/j55QtPggonEqtQKRCaMY8Q6bZQDzxNDKAjeom29POhE84/4Czs/ZZnVcRyvDJkZhYjjxf1hOekh14LVvXNcSN1WdfQ+93pzCcvQzA1ZcsV/ju9Y6SAxbl/xTIGuhPalLXVlwDFK79T0mqEdJ4n7/GaF25fJKFNZors5JTP+BM2SbJYjSwJzB+ONx28WIhVoHM4LLeAnUtYPgk9Lnv2GDQLyaFIW4oapYnZnVYQnjJ0UT6ogDLt+ZHdyOdExjqJWwFd74oQc5CSTEFyacrjXX4wVdWe4jnXh5PiIam7bS15k4loOtrduTnsPrOcYROqtujzn86ILSVeqlWlzlSNvBNNwXA2XF7CxpxBqCsYd28DieUV5YkuE+HJa1E23RYgKKP2yvYXRY6lh+vhG8n2QFdmWciNayql1cYQjJQFgrNyldY6xqa2bDpgMkJASHhrOQ8+SPqlUOJDiXnLpnzZlP9GTOtWSsn4dYEcWcMQVBFhoU0zp0e2rRewp8DTbp8aDbufXmiHgBLdfUbotJHimqmnodC030LMKu3hrQHt8GIYxhwqu/f7ow3wXmptuCsLx6wMCLUo5GK1vC5tiVkfsAMyjxsW5WVAh07s/EkqRIJvG8W/Ov5WoLP7lVWwCkhLvzdjxiW8edPqrvywgEwKIwE4lT9c7V/dBW8+T60qWjXN2rhD1W3zDTsnMplROS6FJaNwGeGa6IRkLor0pfxVAafJylK2xUQhgmviZH4FFMaY+SoCAJYTloCYgwc7qCfOH1Qq9K+3a+vZmF1G7vIXAhVD/6EJGC2ZRTkxnQs7r9+sjRt06ZpNRrsljN41nlFM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QKQpQXe8SXbwwoDN2In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IPxnt6AzltbijnQhdCE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ED9YpAV4PAg83DuF7D8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o9k6MudknxkcXL9BOMD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QAuUSI0B.1QosMR25fu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CP4W4mfDBNSTl9v86K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J7PDfwZVwwRVLLJJGok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BHOMmdVD0R36OnMT84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zGn9LiTyES8mLerRd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nV_GtPDvzGykddk4Q5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TUh5if67nHHBSgLdap6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7eqsCzGc5M7MoXYlkV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wlQjm_EOL44qPgj8K5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NXv44PR6QJFBixR09lo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BJ33nZ4KlsCFSWPh9gh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Ph14zktMepGvc7JgHcH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hVSdVey_Rc3fsEf_86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sOCN.hi6yAV_2UgPcRL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LuSVQG_Gw7f8il_dBB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qm4oP1yJxnwqI.fBIwu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qsTq7LCS55UoxJT4Eyt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iSN40zOyaPLeeg8f575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HWOk.DUCehKrbgQfLGk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xSkkhEnzkaEtfTKIX8u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LUO3zEFLSyzfeRAWDBb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vi35YepWptLW6bm2_T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0HAHdgI1PidUsppYUDt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0exM6CFnz1x5Bm4u6ac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4xHtqUuF0KkTVih.pJ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24q6aBG0bEoCKeYtLA3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qYWsBNf.ODDNpYlakzG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VSG6MrtQLatEkZZE9FA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xau_CNdyLyiJeDDYkcQ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QLpQJjgBbcr8RIdDYpE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EbL2iRI6l1xNvlwQR2p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qiHR5u7iY.OyKEHxl3u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wn6qWoIU357SKzUrFcl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jobAuncCRlBSfcZg_o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Zk_9xG5qtIScEKXJN0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WMiVB.w_y5mxwzWNJW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LsIvjf1s95OiR26zBQ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uN9LU8TYWoD4DfuQUIo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QNSmTgo3bnh7h8PIq.2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PFZF2r9fQBZQyScqpTJ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7sp9Q.jltwYd5GBnkeH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On__T7qLSLViH7NXT5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5GfTi_QcXrkCOLHJJb8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4IA59JFUi9U1G0l77oa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KLCeQ5SYW3zpxC3wip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MG4py6_Fr9WadxQqyX1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Jyj7vNeVcdmqEW4n6bN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D0zam8QFhqXqgYJEWrz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Aa4zYVCtVAPUCqTWVK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hvr.9apx93foDOZHDM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3jfT9cO76ad1TdVbRDY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HYSXDBtxkw7WeMEW.U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m_va9st_EtwRzGD9QJk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p4f5QHm1w8_Bkju1q9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7pr8ztAn63ImWcAlmBX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5S8qOt6vL2B1ukNM9q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JIf023nH4gnwNYKIMf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2YFfBd6JCb8jORVZwSi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rFixwnNbflbuiGjplW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7rM0iKKtP7j1UUN_Xd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aYhHdubK/b9WYMbiqTQFZNRdTaHJ1Coz+gznC5J29/l+uni9WCTqRMIgVGBy5FSCqTCP+Vdrf4pg20L7fH6DBDvORBzvx0+OMkVV9yNDfCA1+tlndkYCuU8XrO25KTzpuVBu/akh+LsAbp/xoAoNi8w4YLWw3MfQpXtDpLhUBdTJrJxbXEnrHVeQ8A8sG4lrwsYINE107k3RpDlerWThxxHpdU4Ek519MW9pJd6CzC6eaWHH7p7wPRniK+WYCu1x+/gc9Bjtomrl8f65XGm1DuswJdQwpINE8IkqWF+iAAZCNCtQbZfVYFGW029Cht7+XXKj5jSydwpz+wxoAfzJYulnhQWQ1xQjz0YJyjCDxxgSKIDgd6oLVGA85emuo16AmtwmMLp3Omet2eLpr0bHAq/zj6/ZChbDda8/0b3l8wwMOSZhCcEmsCaGVJKqLU+THLjH1Q48JCZsZJxMOPnnTkHdGuPtjRxeCwLAUxi19x0KLA1n2YH32cnX8VSTRj6Q53iQtJ0LbPlzDpGOmhTQXr564hcqekVGdCu5VlnOhaBEX8b2ZoOCLWeHYudjtAzulvCy2dedV5e2CDl6+VLbBjt/uaRsGajMEWoJKo9606XGUOg99WdHaUYvY/LgpCZjf222o3NENL1RFgeSQAB3w+8BvcZoUVmzs6K3wr5801wyZ1dMP2wT2W5HmGEWjoB9KCbJQ8gXDQd9U5I/+KIfyo4l6DaOw7v7/LHSoXCoalpsiH6/SWT+CvZ48IWqXjPm6cLunD3OmLvEAyRCaVYrd6zFYGcPrnpaU0wH8LuM7ishRpgjBqf5++eMJk5MmezBt90KMDPth9vSZFA20L64sQqkInPgwEM3mgTrdpRHayhwBZneCfZLAGOaG3LpZTLIEADuUwphAd9jl2ncAr6fO9tVDfp2UQlfWvAJk1FMSjCbo8XmI1VkQQft/ODmJ9aP75SFwtyCe8rg0s5eye8TuiXMR12RSS6JoMimuq6fUN8QSIByx2VgX24GCbU93lPj2xMoawH1ffvDN0+i6HbuwSzK5laEtSz4PcCXCnz30+1ew248G3dZ/dEANFnIWsTH1W3WfJFIhWFSdV5IqFhDIuFcX7SKprMrtAZq6+z/M+KJkpa7My8kl815j1EYLorKYvDU65Syot8fQtjCHWUHWVjHa+gfxJS/sTor76pGxYyCbODTVJovkUWhBAw9STLwMCHW3gUhm8X6KFoMQlNxrD87LSToSWb2jiL0iQUKwXIr/yv06TrePivx+B+s6NhPbEjmObVeG6Z+eqz87lN3+0j3WwXwEmVRbnJCeZie8qWcoiTZI0zb1bsyAA2Phc7p+JOCv4FMrQcB8/6PiVRoWelghC7X0ETXCbxEH+F/r2I1AXDjXJ95oGOJBzJ/ITUBQ0F6H6S8d1Xa5A/RgI/6gsBlqFVcorNu14OnRdo3yB2ZewTXPsGGSKqH/FTigREdalRZo5VYkAv9qPPuqJdJY3SNQYF1hw5tR0DKsvy4FRdhy+gFosUQ91PbL78/FK9A0oHdodCTUnBVr7704PhPAkQtgf+TjMTcaBWKx4lZs3EVHk2r9/IIMccpvDa2XdC2Ki+CnrwP59vuco0YU8jULVTbttkndo5VHqFGnYlI4w17+j6ddk+tWeN3D7HOL0tIWZk+AVccaqKUW6edLFlV9kepqv2cXMpzZKT7KDrAloMRey5Ij24uyf5uvTCnjHFDJ+4xpcKfBRotkHOtbL4qW59pzcjN1rM12BMET06ZLz3VLv7P60QH7pjsa3/3uZyKSNHB5Ju9TFZynovr9h5qNRv2wBDiWScKiTQECfKF3nI3Wt+bnR2kKwjwMdNVqN168QY3FIMTxOZRJR3aJN8dbtzRN3BkWAal6Y1yAMY2fC1PQNvSMsxnVHOKjg8ptWSBPRT4YnuDHjowx+XuIzYrcIepX+29UPjNzR5j+KeLeWUt2k7baBjQFjJ83ORCxJM98jjSr2lCrTJ0fI6kFjyBwI0i3CTSo4UUAzYlCbTSi+/ALWoi3Xwn8qLwhkJaO8OVCSdKze7KoPS4pQ79g14E/lrMTqDnAqImXWbD/hkjT9hhXYtryu5G0da87mCL3ttgFqdQWwoEBNO635nEGhYSDdilD+R2p7m5K/y4QfYAjmWIlYwal2eoOyQttmaHfDEJAh7fYQuZp6YX2LbezYXm9bQ247/CNihYuTZVprv/MxWLunbXbaraZHcJWJLSfUZwgx7U18NAKYoNGox2phpKaqU0ndo0aJQa6KasRJnVCXxm7ocpJUCmfLf77IqOTmRQqjxo/VvcpuDVUFlU0ZXCzdzXnUtJ2dSVtQCu+4M/ATV7WAK8AB1Wff9UAsWS4WESOn+OBHNZF3lRK4jDRaQjYMx16frqd/PZu6/x4K70BZwDnbtyEzbyqdw81Hu81XknJ3A4DzceAT0Mb8GZACuM7ReFfW0nlpR/8taEfYi0mqXkAM/X13yuNbgVJhhz7R3qtYwgdpcpLhr0SaQEEhcFImDHLKLYdNDar32CJj5XVIbeWLsDZ5c1D0isq6l4BdyvKLZi0vNfMaXXJN8Ao7g4ztZCDCTZUGncJDyNjlqZvmOQl5vte403LTEn7FXxwedTmCkHgBa88qClFVa+Wr8q77TU3Xvxk/5o/FsADOHJHpo0Snd2qiFemiEXa4gyVNBUWF/neOVzozKzP/JhN0QHLtZZ3Ty03zbeEBbCaXuyNo5x0+esRC6ileQD+eLU1bHluHiUeUQIrPUttV5vcbHZg3DQnWGOcSroegMiodplOViQz/FTOyHMhqNqStPR4rZ7CnEK7/7yLLEnN5xTyoTvF45U4xIPpPGTnM9uR7o3dTqLt1Jt4BX6qB76N3kX4rCOmQ3YMCzs40WbnMK2ZD52fzHRF5SwnIcZrDZ6Q3SOWThKtWALjEGxk9UZNt+VzTMwW2WCUWFOMdC26K6BbVTUKDQLcj/aFPHHd9WGrxZx93D/OJ1hSyKXtCsqQFgYW20YFtKB/UX6sbHuxVhcydTc0lTZCA6juMiZbzFdhVrxFoE4kmrHdQgWBbVFobSdDGCCPY2CuZGrzyImaDIxL07COE1ecS3DlBTHUqKV4NG0GwSB2EIl1+nTD2R+6Ua+CGW4qwk9OSqtcFTJ+GnfXtdemZG27ESIRAPoefqgUDYeC8VZWuFQ/1CQYT72p0pohA/FnY5Lwl8nQWJwic/441iRhF70IHxMOdNE0hVp5Y5M4WObps+IAOE6Z/F0z7SFIs6cXjG28zUSHeE/8n6c1WMo3BcsaR3/ityEH/JYqRrFSwpmeKSwoDQDR6R+gevLTtvKFWb0P9xxUiW/phMJwIAFfKOhzWxaXuM88/TGVltN9qyj66RlMMcViYfbvfV1qOlgBYyFVDe9mt6Fqm8heSoHkzTEonDyZ9hi+b7JNOMZGKTSOn8pcL3KzLsRBO0kynCa8sQn3khSPSuZOzCwhUIfchzkh83DbBtqZvaIV+W/+bGFmfn8YpayljMRfq4EuizgS4VKM4PiLz7a/ShJNbZoLKRcFdfYYmr5upokf6J6biFxw/pNzQCzavLm5vUP/hw0FtcPNS4EEwiObskt8cZugUIJFDuelQLzfcq4rz7R2WTWCJRss0opd+wiFCC/Og75S7mLBDF8W/AXlEkH/PkVIqvtdN3W8GtqZNFUaVMc10cDii4yqHSTECof2/0shXbHUKEwrlxy9eKIFdldMdjy95Y5GKKpzocpgb08ECse4BvrpWWfk8bDTk+FiYzr19kOvqHW32JlQGbfXHYM5XWnIY3w6nYpcwaZe+WpdCBBR1yy6Uhp1lVmVaoGnjhoKmiGenOCYIIzYsdX47Eza1k9vPAhcz31SUaUTS/k357loXUHCRwWpSkuZrONePWOxLhpriXpgh/bBBw+j/5Hwn7fhrqrb8+wwSIFuXC0GnY3xiJEg3ULO5j7oGxnkkWUK1eF8woKQ4KAzG7gDeKIB/EV0hBt5fVPZClYMJCuh6kRm51ufdOo8E7l9fEkWFoyXCVJXr+RjeY9OnncGFEuHdZfmxo8e6xsiNYC/vxQTpHwSHXkoSuQI+eDhOZ9bwgf3RO63Frw4PmuB5pfQTCc5VguPhaASSJ3uSUKx9Yz9HKEcjRrCsidjdP4AyYFyi4+tdUT9KWdmY73bUMFnwwL7e+qN01Nb845yXG6uVyTjZuCHc8xuLTRkJ5uVO/KW5ak5lWTviUalVfFWbM5hjCaNGrzxJYPnkHKuKNDSqHW4RMLHcbH+r5cvGdg22jbfSjkhPd4B+LcjxCOjxhVnA9XbeNXMCdqj8+JT/X2YeF7WXiN9d759kmkz+dGNTK4dd4B77KtVv0G8dwBxaY9wLvQpnQ8ATLsWc59CcK9k6b/d1YhPLkyJaTMclSDcc2IBw1rptmRi92j5RNUKhcFfDThuxi5YwkGpTSSq1i1rkjT1PDmLYNIc9hww4u6Qz9sF4kh3ZQrJD7DOvxdGn5ueRRM7fwi+BZYJYmx0YgMRv+6aD8MJIGLOX02ywpBYJqUGO8xP4bCWh4ihhgHo5Qz85L4egRAJ1AjSfTXvO+M0IJHReZyrYMeRI9IioaDxyVSAV/8gGhNSXe48OiRkpiygqYf004f0p4OXDf8F6p0IfaN2bAm95+jFkTcOfg9naNi7B0rxrccq2PLowo+k4fzkcx0GfdAqR9PXSlrN9qtZereOMw61mHwCFHAQzSdzhU9RbhQIE7EtMDfPLU3YHGAjVaVQfGQcjIE6Ul+dSuJcR9JLx34WW4efEpRiLL4bJlhn7VC2i6GPWBE248twpzqcLuTYMuIsrLEoBluJJCzrm+NCwyVTRch3xdOtkNDOWlw8CAT5HitfxbyLEPxOc/zFEjyX8TYjqyUaUY2eV03jzim1+NWZcN3dNVWEbTbLDyRD3s14BnkgwPdFkmi1/BeRMKBOvGb0cBY4Mf9FcJvnD0u3i5hYpYUw16BNu5V/7TWd0VUrk31eQYOizK/qkGS/4WG2+QLZXqToO/5gw8Gbo6AjiblM4RzD22p6K8O2WVG0BRTasyKBG9ZTb33hjYjMOnPFn+84+VuLp6SKqAPHseeID/nrZqjxiuVV4Q3iLyk72ha6tZt0HzuNBXFnXZQm+yAIIuTXPpxG27u/Z1jam2z+50LiWYQLlV98FFWVhS4HeVnCBrRoYXkFLfPKHx/Lj6Id62WmW8a6suvCfdtIct8x7KfxghJJ9p4jKFmrTJdbZJuK7iVQ+XENwaSE918Tj4ZjyG7/LbRxHkNzBcXtxVBv8GGutiWWww/1ub532u4VxOaWu3GU9jfCQ9bWXph8oRE2PbUL+bXzsnfthk88e2qv4XyZGKIGUZU/qNaTSbLdnRQKelViEmYHKcbDad0mCHdRjhXCFjWAMA8De0hsLqixhwSB2RwS1OJRLnrljKWB8UAYQ2gNXDV/tjnUD9JBFvTCJDL3pg1RPVaHvBERXS0329oYyib55S22W5Rl8ezSke6UDNVhT3kSa/ICv2S25hnFUB8fck4MTs9yCkjTef/H7jehqJ2BpDuCRSpfc77X7PoWwuDal/l5hwE+Cw26KJ2Z+jdq3rr/MPkGD0hcAIHE8hIdIhqIzAsNG+m5H29rdWSBthxxgUWGTcw//uk5M96jpyFpLP9zMB09dsfJbmqg/4bCpKvW5MjDrG5hPF0u5lI9tj+RP7p8n1LegZX6i6awc2HbnLTAgEv0xndAP81W7elj+MB+2iy2LQitDG8GLpYemM/EMAQxs7I2iYXe8/8lqy0Ig43soE5u64023taB72h15KjVjVdpIGuaeBH2OsuFz+LnFV17GtRH4KqNSjB8kSfJXt2rOhVAePSWV3Ym2Z8qIcYUPfAyjQu7PV6c3Vv/27/dhdYU+0dEjB7BxlZyx4aIF7i41NFaq8AR4suGjdVUC4OJGGAU2Zo90HWSoM+y8wMXmbbgr5Qp9Izqhij/RmNqLwcWvmsP+T4oZ3TPFAO9EzvIRO/UM8hne66L7iPczfFDbBehB4gju33OmkrL4K3fN6LGFg0ywqnI747bDAQXAj6qyqagQUOq5Ge/O6kNvLDimqF7QAGjwt+VAwJ2SOh3LjZwIh1crWEA8jNNtA/6PNTsmp+BRrvViFVoiObr24V8wEUmq7Agvde/AiBAPYrBxiV3V+FUIPM90slAtx9xkiYuXM6gj8IXmLDdzksHwQ7pe9xoxq59aCI5M76ZgCz9ACQZN6jiaDOOABlubie1goJP1bCXvYaDITJcI71WXd6I2tsmXuCGlm0bEPkweAgDH/24cNbvrGbCx9T9h6XjTk2jLCz+rD8SK/U4pvjrBDzeYYYXTz4UwNVoJ/qCqQVuB/ZxT+9DSmOXr5PfzMlTy6Okvx+Ko3Mz5kHaEplih21a3AHfCabowJNm2P4HOz5zRGuLH1SYZ51Fc67+HLi3RUxfc439Gk27h+lub2+UTiSJJAbUo9Y2zRuXfw68Exz5EnzPQzErFcIc+Uvbw41r6goEDo5Sv6ZFW0PqnHvdFduurIPYW4iNKBb9kibaW730kAeN69nXEb2WQudsD2Khba9CMveFFELd5pKJrVXwEweYWZFbGeKOsWdhfJ8SHknTP3UYaT2ugd/pHZB16eS/IlzBwLS6IOZqiz7uuLeEkWicrNZ4Dktcdx0z9qXHJro0gOCx1KjBKb6/CcOtBt0XhDD1lIM7dw1thvqH25vl3MMUs+DHtZO7M+iED2xYbjqjjRvlw+8euEEuA2eH2H7GgNigZrpWM+VlbFkOSDIxsvT6I1VTC5AtwTfMTyfKlVScxMboxN7UaKFfNzQlMwIQO1A/5AMu0f7oXRP3Vff4tUDBJ9BlQQGl6tlXOLdv+p1nyk0wBgt8Jg0Ww1vM6X+rCffXX2U8Kg+bDa05WkXdHffEls6cv3BQbL3eBimsyyngRj7zzb78feibkVblou1NKVrhGxrT7exZ3YY+nVhqqlSrfDSDxTjG5gAatETBPQ/ig3vasMJZvu5X1udjJLJoQClx5QGJjSO+ePBgHyPPpKUruqXdeQdA/OcqgyOr1VVLr+BTUcCB+4jsDTuKYhzkF5fMdqTyux1YouAJsqlZlQJoDfUYGelYE8QOs1xm9YOblN5E8ti5tUgvbdFEEkfvUMJj0MwAlaY23ya23bki0ibDpMKPcj4dLnDCMK1ed7a+LgesvOeXSqba8zY4smmz9AkV87cfvqye5KTMRqAUNzTrHPttCVf/zXT2PKxbDroBNbFPM1O80yARHfQAL59piO35Thfv6+hzsMR4bJicEbAlEhqr7A+SL754f8jCI5Psc/wO/Yu/uxmxLTs91QBCIKF74eeoE0RdvAKMTEmNurD8TJUSFp7p3XZljvgWW+JthAJNxarVctcAJTtpibkBRngeJxKTcjmsuhOn93+C0aqf44iGih/2a+4+YiGwo7ZX//em/GZMf2GnywLxCoqJBwf3Kih/Yt00HZwE8R5Ne3DqPZXHNGBle5DKTY1vl+ImxNVhw4RpDVIvBo/5/W29DNA2Z3dFuod6tqSmeh16U823KeH6xIs/5AasLK9i87wKRLrK99w28lQS253dBdvDoEe1h//ptEdauLL61ophdaJhkqfr4vakx1hLTkvDR8cjVgfW1t8NE/qK258Btx9pqtav4D0hka0eh/xeoZ6VInYu8OZsCgmNiLPWeuFQi4pNX2dkPR51LRDoExp42JNEHQpWAPCf/PuRWupcwwTUMebgupFhvIBj5Mb5TCUyyjdh/9znJHr//AZ3cKUZqJX11XJKP65xshFC2KHyichOype/GC4tmA0ljI2JTgxAXl/gFGnNrzFVk6NfpGVNRGHu+sNxOISZn75ACQhYoY64Mp9fUloNg6Z1C0Aady+ZAcDTKBEW1VKgVyNMUHyaUH6t/hQpis0RcSVbLSa8cp4d8YFZQfFRd0moPvMynqcBA7/N5ZO4xblLCqLk1r3PgjaB7hoCHx1ElLohkh9PUpBLT4hH/Yy3NdqUOvy59NB0Pxq2dJ+v8iEHIrWY0KlwSGNalmrO5L2dNAvEt2e8FjpOvMk42rXWSqPuzNknDtMXzErYbRf0f5lmvgixePY10JkGRYDoI7jLnSZWt/T+9sql/1aotF+10nZZpFcxu1iysmQy2ofmtrG0hmGmRkEI20r3gaUVG3d098sjsVdCXhsUxHjwFx1hqMXkatho3PTiVBBhezQjXBzpULcQJL5qufAxodQaAmTrVivjx97Mgk8IlMh0UrTAdxeteGJWwp456OEa461J8RlOBiwPzOFL/7r6cTXAnHdw4n+7AmUFwyKKOif+YVXj/dKDeOYAw8lhrgsK19c9abXRHfAw/SKRY8yWweL0wftVzNIY3LQajVVdL4kGolfj5KHX9xSnaxDwVnwn0f9dXCe7pMszZbKwZSAIY/gmKGOVE5ybwR6gs5td0Ee57zqrWfieNeQnsfjH3IYKbx2YqnDWT2Xew08RoXXxdxwpA8lgHw6QzUAgl3xbiVM4lj2z+wZhI/DzhcpP4RhAiqBJg/vpGnwi1CizWCFgOAi+Cq6gHK2hQ2VnIM18QZ1eKAZ5rnVMfkXHlw7KUAFVfVMzJvj7iitzKXWbh4MPwsuGLkNj8m58g/yI4e1mfXoxQIhunCXn3pJ9whtwo4ZV7WR1sa9lsPEK0UdJnx+CSl8CZARdq+7BOMexiNm8FtTz45yp8Moskp8BWnhCZeD6cBF5gWjL6oIzev4qKoCQG7W6XU8W2q5KXpBUHGnt4GocIc2qoFeVC3jmB+7Bv/HCS28e8RW+kKHnS5EVcZxfn6wDD9Czzo6S7ilDEUmP3bzuRyA9HWZhyLINtjlLq6kI/gad4eYbYrFyUtdSk1uY7cpviNZ+t+kexUHnjEQHiE5vmJ/s38XwjS330fM3kW3X4niwgjFCdRg2lCi0YAJVlfAZHGx4DFvr5g0R1EXz1C8iA+nIXj1PmlWVa9rhBAGAo0ZIxw+vaen5am7bwRHEk+bp0C/nI5mKXuASPap/qag6DL2w4AvrzbPpM8ztSR92siI/Ew5kyoVSIrJQzpPhRlsQlX3Tiq3fmLb+9sPs4OJD14UzuN1MyRj1RSmPPGtYZM/S9wo+JHQiAaeMBMf14WWNdt70LovY/6VWUCg699iyMQSMfgOBha0wiRlIVYkAkj2TRXx2rgOuUYu26iZmuDD6CeShoIpbs53kLW+bX/mf2FIgW424oxFMyqpCol5t7fvUzryiNiM/FIevSi+k5sFPBup3AMInG0z6iBYYp4Ijd4NnHDEE2VAa9WkENKcjj6pMxC3S2L/2T4gpFRCvyMnHv//gKEe+qJHuB9ceJJlor8YHkjXT30KdsTFQPr/s9iRxFyDkQe9C2EAdIBfiJX6ntpO6+QWnoqN9GD6GfpcLPU45W7NByWG2z5BYlKKH2A7BU/X+GPTUs4CnhodVXrsoF55y3uwxQNbnqtPlcLwbR2RwXNa8myNSPCTnAd+VYVnLCrRmCr75ZlH2b8atX+e0Jkc9XQH+6bv9r5SH1gI8niWvGPj0dtgHQpia5Nmf5SyWzUfmIjN0xXxQ97yLeuehLBIrYwAwPLtC3PuiSEHgaK9bOH+erIFtZFx7NMmwpzwdWrDdRVKrT6CiA9FkgM6HtMub4mJau/ftfx4auUrBE/0JprgEB2oCVCpzjSnLLDuTqeMKEjJqXB0eCMjxY9hNBM0Bs+RKoNGDOogF3uiVir19lBQxZs+u7phY1L91ngRXH/XgYQZIYZgSaXAeYd2JTkF3mzYQn+luDcmVlzO2TlB2WvVcTlkEhpW27HWF0pY5o3Zya+/41oLtggH4CNWrZppJWlB17ob1QZvP+6UKEUM74ANDRTrxE/9YfiW13pAkcNUFhfgct82QjxtTgylpI1gpCFxLuQwjS1VSXqGwbSajnqV/bUI/XZbfcAG0GJN8OTy1oI9w/R1mT10EzS8AlEK7JvhuWWlS3OeiEwe3/69/0NZThYDZgn3Um1OHHYr6Wd3ZJEefi3oUXUHEcA/MZR4gpouU4TitYI3AJeB0RF7MzyB6rQzOd89Qnc4aOhmvSt8N43D2BhfGvn2yhAnEtn+3lAPGEvG+WjnkiH/btRetdFdkRo9ftab2k96+g35fGO3z0zYMhkJVGwc5FksfZsfQdPx/HvI+iawBac1CUaaNrXmFcIaYVjYuz8BampybGhbfYNqEYSatUHw3nAvg4hAffbCVwWg7dZQI5Xw16HMIRbbz1JprwkkpiYNSmpypZMHSiyCZ1pAu9dtCpCOvIK3Dr9HeyYCOSmpX9TT1mBhVy4HU8Q2I66sCHyBnpquycre6niQoDlqIJLTwCCLGHpSgkYjwpn9P8m5s9qL5VJo2vZHxl0fnEO8KLSgtdCU+G0QGmF+umBjw6DWDEo6XKYtOK3NLLrPHxe4tDfcVrTdIb9NS1X5LLPPkW3+i5gKlgJ13QQJa7OOgixbII1AqosifUMhsCIbodwcVFlveENtYkV8mORGsPFAKrZ9Rsmy5KXicVOakZn+hsVxfY86kadsmuFY4IgJ3kiOizHP6S6/gwGEdEL416cDta4ZJx7AJ/a8yqvHN1Za1gJUeQMvnBtT2WpnbwSS3O5fLL0ZNn8RbUIEbINEnQres1nbWWbNgpUll68vkfrPMWXH1smarGSgmA2c+VZ06E7kpPCLryuwDWr0mmazY4PC927HB1/eQ1HPJoGPzl4r+r0zlMe9aRMvYoFjJO8ty6Cgj/vLrJ7XtzwH9OrCP4vKVcO/45BTFWdWK8ks1xKWC6ROeqgKoLKt4DpUR/ze5hPxfS8rz2GV+slz01+jx/JwDcqKXz8d7UeT7VUf9DHrKYT78hdNYL9xPVLxm8p7uNuDEkKtZq1aDuFCJVrdU8A8tCcJEKXFqywy6gSB1ZCeVPtXy6TcrbuIeZvnWMKDNypswJYKLjhyw9H2GH2p4or5VYSA3ljZsxfeuuF+n1U+bqCVv7UqqVIA0gwwGjpHOKX8DRSVJTXj+f4sM71QWPpCNsG1QlNVddiOPcvSd5DCAXGD6Ugbm9uXtkC4bLSd/rmNRdpFgMviTuVW81VAIZdY/3HKsn87kWjdwD83/L/rZ6GGUI9UuP/6+ix6yz4/+OxJ8TRRCnrZOXx94ExmshaBvrfW9fU+Hhmmd71UMRH53JecdWQZrHYZEDntxyYzjOrEUPV29YBgXa6tvROik91IvTpxkPwk03ECByn/osh5x0iknDrZmjIgUn4bvX74lqsV5iUP0iv6WrNdXr/69+AjSyXbaAbkfCTgWp1OvIMEng/b/NqqqvegOR15dDPiTunNs7ymNrZ82r9x0t5uhHxVDYyXAKbuQ7OUnLqr2DvlaXfF/9LNPobhuBo9X1/jFUp2eXAg6xEBjPv0ePTcbfqTSLn6+P8c2T+52ENpLoWvUbryLFPqM33RTrdJWLD1mwMJ+VNf8caSz0AcsNnHD9n/bFyije5GKKTtRaRwz6XJxCXPtRo6DwdZk1lAIMdp2+YBp6wwE7SI75kgYQp/V0TL5T87fKhn/eaQCy8sCWNsNmIE99EljnYdEGIhSozHbq2AX39pMma5irQi6n+LgyPtY3SmLhVu9IIMOTxvbDsEcVCp01ZEwZu2Jtvpyoy9r1rLGBu1odaRR0O66TVC3mTX/vDxEO4+UUEBsKPhddJcrKy/5IeKQm7eQI2NkWwY8uYlFjlOU1WJzlxnIwh0e0LFMswSiN1AqiGV05FZH60uAovtHjH2L3Fm6sHU1/SPhAuXecKbLBf8sCIhr6iHn4aUz8vcO8cJpptk4gZzf2LhQexwVVFv6iBk4VxSOkqOAsNOqumgAz6BcpJjKYqXQSeS7H6l9siZ0KBoKT+hfICDsPcY5ZK51Yj5dQBIxWPzhF07rx4eAJ0AysJY6d7YMoScfda3VLSz9N/x4RomGu1/t8w3uA5mA+G7IeTYzoYiq/11KZ+XvbHbjxY1FYeqGSbhCIAO/bzx7NysnonFFWQOI8IvPexZhLrspuzzJaOCZN3/UX8q8zt+o62KGIcKhWgmmpGthHf+KgnWrY0lidNPxJB4PHoiT0JEhCgB99pQisVQWOeU/wSx9oSbKQv6a4zXk/rV98ELQbDvel9+mXVfmvvgQP9B6BOEagQxOrE2RpfvBhrl65ZhBePmEy6H1cOSKmaoDyuI/MdaFSGSIXTDzMXuMB80GE5I6mwb/gUPIH9zXobeGbW39K5pOdv0ayNEZse2c++ezHaFus6Tq77WEhhEslvL17S7cvfspTBB9e93P0bZPfT4BbfT9ZHmmqSRrifD7L96SlSrS2uchLX9UYL96fUFfoNYoNMrJ9siXnjGUz2sTZBXLDeNtVRz+g4B09bcLC0ElLaTNELkNHHvgXhEx37UZIGKm8DsqW6+l8BN1xa93K0QpRtOfTS19Lob5xtyRAbSIteKAp1+GQDqP/s2QCYG3hZQQRwEv05x35jymsK0f6mvadXb7WZ2ex8Y7l7Vwm6IzmcnjnYZWyBzBtR2FoxyRfKI2rS/huatxjHLPtpiKR45g52+KmpfFCBG7qWnrAeKSeT1N+/g3aFi11n/fSgph/Of25OQkxCJtVIHEzfxvDHkFu46S1S6RHZjbX3/xoNd1dcNgb4c2m2FqgayJhTQ6aTSpnPDGgEyhbUd6QGRf8+i55vyTUUxDMIvE2zaLwPzMg6uT6I3QfSt4rZxXQxLAk2FdUgFs1t36KkKqyDh7Q1NfFoRBS8dIvp4EQzMLrg36/zv/r9d3Ja900r0It2ZdYjKaKGuH63obYn+72X309M1zVFVfgwGwS65lZ/E8hAaO2z+vE06qTZ6F+8VKF8wn7rhHDxnA9Na4YAMB7Zf3/1D0fNWY5LyUTg/rd5WGYR7K8LISxaddxucCW2Wu0qC4XJpxV3N39MkkfkiJi4Vb7+TaWpvPZCBjTOepjWgmRwGBqo6BdepDFbjCGjdZD5I5rO77RfOFvZ1VlVfxMgv3O7+ttLQnVwx/q23Gw9gxs0YeXMkZP7uQMjvt28RDf5NOA3vkW5tpdaBIQ4Ug/N6cI6YKJBFek8m4zZtA3C0aZ6exwV8UPMJAPdkdNMX3X48OOsNwggI0oY16tQRwzIGQnpqQvSsfneMe/ENMrQ0BViXm9HE9BKFJfyVMQsFcVW/bcySJZYkgJKFxXTmeQSgkoxzBhFVVBzRfPUGPdvakhpiG96hJFokTImO3MrDjufipRWFdEaL1FYWqENGWpR3FRXwlpG0acaWxcxjNYTkFYWq3iGsv0Ay2M/OI9k19mLsEM4cvNltYWcXTIgmqMZK8HXC06qg5DlEnXK6957srXao25QKRgYgr1qc/Dn6zCSQ6okYjTajpibtCzZ0gxZ7Ch7CvRTnnzVdXBaSihEZwhZefhDFMOgIPMVY9L7IMSg1JsOulVc0Uk6zpjE/eykVbzV8Xhu4IHzcINd6zu84KfJlimZWn1VGa6B0lMY93RRqvkYoqwMqXAb/SyDg7DIOZztlXP5z6InzDr1YfzrFfb/O1SXD1uwAsyIUi8UB6BexHNFD1+UtTFCOAZIJJlB43VOyNxHTYfk2Da0CqTYSHqmPsZrc7I72ItO9mG5gH+TakOpCnfsQPmvSutIHIi4L6Sg++NJ05sxG/Wc1MZb3y8TCeueMopEiSFz2TDY+GkHfVyo6rBubWqr+FtKbWXC7vFKg+nSywMsPOp48+vQQHKUGyuwrXWJjajAEurlsFn1tXVeysbi4qzCvkyZ+Rz1115QQAdWZkM78jnhA9lseg04k9LRkoPJIuyx0eHTIPww4+ciCua83RNsimfbZP6wZa8djA0VtWljhJyx5XYJ37toA6U+qx3Vj2TAp0sEAjt5hnK0CZwmrYdbyRbYFPzJ6qDZhWa2A5CFMstYeIJzeKbVj5IowZWD+Qaf7jd6qI8HWboR0rXj8W9Ltm/I66vb6EUqb2kiTZwwOPh4kl8rZo3gCQIAfq/OsR/aDIofbMF6h7wZzhbVhzRnyjmrifEamF2LCNaC2nj9469J1EVe6JVUNadNgnkec0txVxHHMsA+90YcC7FdeN8+Z5voUNAr98c2vaEdvqpvkgGG8c6woi6p+FEKMTkJocn9DbqDRnKbbyMCi4W2dNr82Z/JwG8UF3SRv0iTGclOQ3m+SMXiA3k07MAsT7tc0WHdHyhpGxaq0TgAWmiv+r6WMW/JyxNsa+BJfE6Vhguo3ZNujK8mIDjq4A9ML4Lv/fO7V5sGRZRl01qO0yYVpKQtHvXZv+iBTIG4ALxlyzlJn+MGS70DVSzKBaQSlwb9y19AamF666U+D+QXWfxFMwZyue3mynE6LLi1tq6HX3HDg5yvEPldBj/FcUCsR/uLt5LUPB/NMc78Fd+VDY6wCdLHWWNZTHzgaR19Px3UzVHaAX+T9KWAeX/hXLlNEJAYcQJM/tUFnCOB2u10UTDlGX3pfvDDEEBEYTK8Lrs5ZbMVJYUcH4NsHsuNNwndCY8Pj+uM9x/QCyeQetLJNjZ2Txt6ZSp0lwGL9uF8E/YBLSeoWwdj+A211EWt3YJBCqsSThb15U8kmh3RtUvKKgaE+uPr0AbUrXasOxy8x9VQ6I8/qx9csZaBLNRmTDR/Z/3QcmKaIplCqg+e34VU6Qvi52R9XX4P2+6Vmy0Gdijwk4KMvovTiQ/nxbdX0fpfj8W1OIOb0euOx0lvfZszxrI3LZc5SrCiqVFW2CBR2ZooBNksHbnox7QNcNdHqZoTJ8CDLGs/8GK4ncF22cptEUoHjQwcx222rfsB7RB++oq3AD8pHajQDjrfE21HxJkHMqmNjISITBtuEdNZKRbMNfilcfXKdC0GN8TtJkKPKEtxKy5LUMbj4tIBQxS+4lnftPlEICsdhNgyOgDdRa7ucnKpB7qQngPfCZLdsSVfLzjmtOwTez+S4HYX745mvKOm8OdwalyibkRcjE8WFUx+o2F+ag0Dn9Bo7BJbsNG1koo+mSaNPq29hyY4USxh9TsybP43LEQQILLqX5JrLktavlOUp8Ax/GLFDvftQixGDVYx9YZcAsMyzz9GgEys//ZdPh0i7tDb9QrlCRIpmLmH7++Bx6tyGQpku6ckIXIP6cmlhYyrLmtS/fsiBusaRIPFprJZS/jGd6u+RLmT4hjYTKZEodd13hgVJTZWBnAlu3NABomQPNkE7vQYxnlSoGoEkh808xazD6ck31MLvMYik52/taaJolCQeraMZn0r97Q3AgKC9lgXKA9CEmlSD3KMhLywmFTl3a4MB2J/52BA0Gocbk5pMTbUrC7b2Fl6QG5aZSYIzF9T3+4uTzzw1j+HTRnjya2pOPdy4m2s3HCCtfAOgziWcBw8jMls9AYNC/KiZrsAMyx4x/wcLbIBZ4oJqSC4NUBpil+lpn7uG9yixBWIViVt7Zu0Nfwz9Bq1hecORMOjNq2x5Amh2qb5J3pnBLQ39bwdbY4583P8NAUr82Il6hqR3P+L+Ru58pFsbDZLj+pzlXJN/PI3A1NR2b+LBr/LgnYe/aHPQVs3ccXtber1l2qrEdEYTSJA23BvVU9ZXUCkzyfQ07+f85QsO5dnyUfkiVOsZW9dFwYm8QH5uD8PQBcp07t81++zhLMwH9LR+hI22YkV5lMZK61FCL0fhZu6sTp+mg6dCm0RNrtnD/D6x5JRYAV+m2iq5nuBvr//Vrfe12jldjxns8pY8s/LSfPY6dSlZyVV+wQgSN+2uvJVdGH6jCVUGFam/SY/HIsZzs00TMQNCjPpR3ofwdjgk1cfQJhD4tXxQ5GO6kzUoEhiA2oq+leMDS7E85OazlTnuxVg/rit+ZkUxwzGU25579xFkAvCjyi6Ie9nF1dO1ZG5q+FEt/lLF0NfXVbg9X1hOI/7v3QustCcY3mau1+tdsnO3Ts7n652w8xrc42K6b8CRwQiR1eRe3iOduDKsBvTLSNXo6AcE4jgRcY29ozTsLbcXqANFwGSPDrY+Uy11MlOGO7QPBqy4uq0WRJ+JW27cipVt0wLgmBls/egS54IJDVqwgh94AR4Dx4Qd/bxjvEloepydwfJyG1DFr0P2RlP7sF9Y8qIug5RejCIBmhU4Mim+e7jeYyzOBW84Ku+PUfJaoLN7NLy1WN7M5hNfOAVe5Rhzynpga4C70bdecGAqaEKHZCDH9fKipS3xPg04hoyfxULcqyNqWG6HhsZwZVIoSY3mu8fNzslzkmhSfdmzNq2DEA7wb8Y23ydwJFrxXO2MH/QDdt5kAky8bawGU6fWnk6y8/tt2ybSfBTPGwD+EAxtusOHs6WbtBjrK3MUr18uuRCnoqJ3SJB48LO8ITBNYX2NxSu6BGmxwBJ6exPJmNOFtUDZgDtg/F2nW3MaHkiYyouhd8YoWy/8Sd2WLzkGVkU3OOgo6fJxyt3JC+RSA70UrgtmQWfVbW9BEp8MMXCM3R6LX0DJipmYpTHqHfeJzrGlxFogxTjq77wuft6epYOuPnl66AecJAc4Vtjlu+eIrUNMOAbA6SyjO1j+gUqXyyZu5sRsiHel6bPnvJX1BpbCWpbFxKLPTrsKXStzgq2HFaozvuYaQ9Rlv2V127ol8vIvUFi+RWB17qV0kamwGAO0ariEhZuDdL9wENhNNCxLt0tWlvkCMIdExXFUk38Z+S93DGoZezFM51usCURLiMnSyfU4xt/EC+rQloezWEymonEDmIJqoEJndD8ojR3En0BN4u7oZNMeGlalyORPovmTcGLOKrZbgQdL/3LmA6o6v3+rSWDC+jtwf4x2Dd1aUGMVp3rBiZDnNflQCVvetKIZNCnLfsWsxDua3pFNGLY/CIAk0TtVdS/w7vcaI9SWOFofWhjoca9xvjqDLo7dl/SkpzRR0SN+4s+Sj7CRtjE8bW62zeI70CKW/sbCmrbw4pVWodbKm5HItpnVLcJls0l1f+Yfb+sj7Gs7S49MuF1RyA137a45a24kf611EtjHLmbpc82t6j4THvxLQ750dyBsZIDz6BA4zfKgwL0tmkKU5w1JJJwE2VIIuUygi2mnKyqAJ7Cl6Yk4hc6DfS8RxnWhCsj3Z+rs4nNmXTIaXjVfQKMriz22swi2UdQVD5rummcp2qSMMn7pvEPIgiZmeCbVSkfccnqDg6tPU9Sj6GzbRQjKoamfIphLkEAU4OQGSnFz5Gs8fq7PapW9vixDTvYDVhqdDlUZhiyZ2hmRkaukx2LETbcQj6im4nR+xifLqdE5Not25rrbxeu5pG71o7YcRAR8NjEwJ7VQjEq0D2Fn3bnZLUUyRZNHkzdxiLTt0p6f4UhM747DJbiPJ5Q6tWkBQAj4ap1/jsJvcIgKXdZtcEPklyr/NRChINDDqkPCY7mtd4unNl2p+L5sAaJiufKVuo1pIXde7BCqOX1l6iJV2pvsDd/07kGu3aPw2fOXt2B0Ne8AAG0YLyCaNO+hzYdgQYVUQSoy+YrWOLAByJVETHjkVV3wvnbcOhpfQJQPF9b9gZgbcKhfnW91bpvlp1CiS8xrDuzHYTyBHdEfsnfJ9NiMQnmdpY0MRz48ShCE/gp7PytXQGAeBUHKHfYazodRIiWKIWKN0DbbWYS+U19qivgANrHL5C9kqOh8U6APhl9SPVNIOV8LvmjJEonVgtsCcBshDHGnb3vj2dwmaB5x59QYTJC0+daDbKoyQyP7JvKypGsq/kDNmqHmWUivq2mVXGBkzu3+F6Y8qDzJpbZ7Kg3zy5nv7rg3xAqzPDI5p4P/aSeajtTCoaLlr63tqrGLtf3pbUOarofzeDT5B0OLN07EKmxxQFOdPGaA/8bJwxEsBay1/r+Zi8YTpRVaAYAn3waHErYM6SXAZoM5Pn8brQkEt9C3gdkD8PDzffAPJVLjFjhJ70yKK+FYQ5goLvcciB7Qf+EM6RI7MgfMqjNccIE9k+XPMwITJ6OplHdsBOAhfsIktQJrcN8ysoO0m3aQ7r1FPKywXTdoqVSzGO6RbtD1CvWtgwjzuTQoNeLbfmlRiPKC4wVjvIKAikV0SU7rLp2MlNZLTbVj1arUIstOoXCyT6r7OmxS3VMY3erl0dE/jllEFAxgWpd+osCS5Gy4/wqurn1P4Vu5tXk7r54x8LEh59v5ecCtoelWlPXSDMmeeER3NpRu5G65ULaLQYLMA0c379hCO1I2cEBDtJKrPcBEPgG8nvtgTWcfhHUmTlaF+INkW34M8bEPlEVeEYH45frXg1KEvciZe5iXITONRo48Y6CagyK38qaB07apf7buihpqFyzvSAQtfledFMeZ2y3p1Mz9JY+ridA2WRUYEWoZaLwFnDC7PBeYPm5uAmbwMRzkzPmvw0o778kqNqQrWW0tyyL1cn33MvvrbaydBk5CZwWziD63KQacnNrLYtgnGeEqfK6GGKAd1OQVjaUsdxU63CdHoTXq9iKawNmcl2ZDUosFZhTXXBc8rL92/rYbXJGuf2BQYQO7aTTgRFs7QFgisKpcPCeQkgVvVu1gzOjbCiEe8DMP0bHjpwDDcCKRYge3qNgr0cVnVrjF1TLNvQeaxPU7GQl/Li1f7icK9wrDBKFkj/IkkbNrdQA4wJYvI9i9qI1WOT+6GUYYh8TZ1MZIvBSg45aEnXcNxOsg3WnoZVDETalRhmXpjLfEobY9WuC2Oxi/F7hPCbwyYMYKBucOeQOz6So+VPxjyuU/awThg82mogHj24r+cK0SspzlLnjgGBEzdVGhWTJQ4DrFPp7II/9n9cJS1tzN7vtyqAk/iXv7tOjatikJQeRcMN6d1W8ojydKagk1iVoVWN/rc637wknSK3ahy3uUK1cSKQ/PstNyjZEBc85datE+MUi6tEk9e/TacT8QP34r0LVYWvrzE8wv63bUK4FAKN7UznZ3WQIJ/4cUz4Q6n47l/muVNSBWwyVZ//y5mpey2pfmQg573vRD9yr4yyed2hFxdHl5F64cSEitqXc+6MfHtbi7hg8kCrVC4pc+s9+fEFU1MlD5fd2kjB+udyBC/sdJUKqBwHlzXG1sGxeTaG7u6KHuhKI+hXni+4H/YDAI87uJS5WMdbdTqxYHsld+FuIZ5R3bHbrnsZd8vor1kcxbjE5x6BeSGvcd/oyzufXVgtvYWZoS8CC0mXIT7drBxAcHlMRQHKxidKKVel7l3cgp70RFkAsv+u/1e0yt9lszJCHiBJmVupNc5XQU/xPOkBaX58A5SbHQVEq8x3hFM9krYeIZ7Mcz9xa9uLGkShVIPxG2cjdjx/gef/ZRh1mguH2JSHZ24RVfUp0QQvNrYXCL2ad0A8obc21CWnZLs7A2ACJDgkFog7GWZvx2OxXfo/ZIOWr0hEUdeBFsUVVi+B1K82+xD4R6dS5Ahxv3abd4P3o+FnrY4hbUNIRnzMoxiHqS0pL85d1w/NZmrp8GzMRi9u9o79ozzcl6WJexLU/NvTOhi5TCKI2K8yXkJI28ej5n/B0sMmzIGMqiSVXBe/2h02/B+sufTr+XNei7jK2J9HZIPhV/uiK+Yqq4bRa6WeEy7aVh8WcSFukoEv910xfjqhxQnlqEdqXCnT7dkK6wurVb8X17dvGToBrms4v+3d/f+faaNPgym8YvxXsQaOtOuFQoEzDeqamTAFrcizukYjLW17yp1vYVtgDBZDsJQAmD2Mv3de4t+9xk3tEE3chyMiDmMWB4Jj1o01VxIwZHVfuwAxeFKGWFnh62QPy5cDNY6+Z6V2fWli7NZkR2DiCieRy4Q6dVcDwIpCHtkkSqFNSDIXeVkSVlvfTT5a2dvQi/6cuW7evg5434VNLZZQc7+PSC6g45Hac3lfnqfWTa4s4su+OVZqgTChxwSSdxyHb2E2jH4IXTIgsqGx89cQfGmIjUbRaDXp3lzu5vn5zP+2BZTQYU3V8pa3rgkEr+MQ7pZBkfXaxORMAdCJLjNUtQnd7gNGjZ+NdvfZc05HwY3ezHp8AcrXnSBMX6ik6RPUAk8lA2EmeRSrIQPMUomo9rrYubNgWN7BMGuAu5inrs7YaOwqj1dAHZ20ev9RyfD1x7qCsOsWp5HeK6o0sGJgZjzU5TzE1TV/ZehRp760jTsDbEfKysjrnW5UUH6oEw6Bm1UKCu+GZEzCDhFR0mVd1breTiUSKuNvNduzDOrvTpgY9IHIUNi308WEHtOEnwc/YFGEIcNYzCYpp6KnG2gQyEA3DzOSCnohBNNqJd0RE4c1VvJ2mBfEJGRqo+DiC6Xq5Lo40nXZiq6cAIvrAHSRyzB7syK2vd+9UqTcc74FbhWbhISsIw5YR7KoCyfIDKFesrAnHshqtKI1OSYRxoMX5UWR5DInqhTTNiCzo75nl9WOliK0kGBBuLPcUiFJtSQgXDEQiL0WBCnn734w8UKWI7e3sCFzwJKbi2GtiGOAkKw2AIipS68iIXWzZON0yNfqEuBjhpo7/x1THxjMnrdJ09NMDpKmFQItons/SgKug5i/EpRVvSFdHZ3/rbFn+14oOJfFXNZlP23DPkcOUb3tU6Jd89sirFVJJ8lOgNvl3mEtgACIc2iPJZgms8Xo3pOnVT3EsiMthCez7NI80gIax0t7MBnIzNWxTOxPjY5gFKZDWg6uCKtuj9qIxs9tfj7oLiSKCqCmPVVIpCFWB5PnhJKlatQIdNhJAJEt4CWyIz0n2C7sg06TbcKfXwzdtgogzEtITsgzDA/OWXLZrDlIDGCvYsh3Hf4cI73+08V/awhDuRYFApaAY/fHnd1eek1UnE87CNPNMQ/Pfbk1V4WKjgk8NCDhaapvXmGYkxCoCJLykNdoNKNxDtuVenIxr5vCJZzFaMuqvEoIdTj7D36nzoRQZV0vfE7x70XKA0dOBc1IFqdAvYLneyo/N7mYJirsj5EKBmPnrU31qXCUID41PaXpKcmyfMlwlk6GAlND+nSaL7k/6a6qbuGAeRc/0CPyAGwvCeP7USCXIS82A50GVqxho2fSDSZBvlfWhQOLnpB4ELpn4nuVvqH1Uz170RPxjbBtUoO3K0ywaIn+zpX8h7LSO27ouwQlQGk2CPIb4G29Rc3r9Qv/Zu1bHYOgu/UeiDr1EtAMXq4yrnnfLlN8v5VMitBmallIRwsvYtpAIDXepAWmZ1m5FN3voLV7UHxkNvxHjWskKEjtv6TIqW1Lhcn7k6Rr5UUAGhc2iixAvcWBDkTlh+6+92Wde7ENCeydBVfjTiZe6c4G7jtaH2SAfigUEKwMdSQYcSmnyze5gVrUv130sYIHri4rY7KbnI28slMx/ymIG6+2XGqmRx34SCURxGHktGz8Wze7ky8UIB+/jz+ctqPC+G2TG/n6T2wply9q7+8M7WXtUT6jIq92eW3vEPrQomh+5Lh8AKdBz0ZXTnrwrzlJuNKbV11MyDu1CDWGtFnsiwc4Wjb2n6aZQ8wpiZHO+oqsBkysNCW9EvgRtFrCGrgsPYK1eHWmxhB6qCWFTy9g3yrSxIbgB9FV5XlLy9EQFl5KJfwaabBXc+X6Bk+/ttdi7SlQxmdU6fmYEBgDcPxelqwYKUcmVw1cvQE9GNiz2lTnGpslfhuaWHyZiqLCJzvh/bM9+0w24Qe2Ml+3/TtIUhKejLxF2qMFFm49kMayjhVYFpzkr7oI2ey9LYHYlqVvz1kW2yaEm41X3bgDIV/vCKlQ1I97DmkJdTVUn3EenrKSLex7yjPTtvZUGAFL1dKOy3pt/iOV5yKu+hZxW+NAdxdWNmolMr+mtoM6CLMHKqcjSKXJ3ZK+SFPQbHk4J9pCq+QH6MUZpPhkXeNDPXSAbE+fb5C5ApOzqjAPEWjpQ7BgoXXhNqcHi2RkAG3c7gVkh2tWqdXu8UTo8MmGreCp1oARgOCd8K57vfXMM2AOKiagJxrJZtvydBNPLhMiGhOedGIhQnx1HbSwqhKGDe0l504MjbHM+yQAoj1/20z9GuYkX1XBnSMDYM7N+w8cTkNeFE4CCdD97aEzqvpCPdAM3Fa8oIIrymgJuhxf8SFFLDGka+oX7KlReqnlvrvdCYQnbxcPHXD5cytHdFwUm6jDtL3Q/nFAJI5BT/NXCKY5NnBWy5OtQ4zL+VDmSPI7X//WGrn4nvTQWq3T6n9S3+eGxGAb5idQAZCiImDe9m75QPgxGsgECyixNrkVt9Koh5+me4ZUjHrt26QjCV9WZTfAAYVUM1t8k7Xi9PQ/JKMgSibLkySCuKLzZOXpYS52+GJffmMYKFZZ2IYCo5xX0dJqPgvxu0gASk03/XPHzQ8t5gcQKYRQ2kSjwH6p9ayaJsgM4RroAMwz01YZa+XGV8oEeWNTX5rIWOOD9LP3/YOArUpuGAFeNKpXUqumExLsjeqXPiXZE9w2mD60fRSyVrMbCEkEsVxf5aIlK3W5IpT1qftxHXqlUKpl7aJ64pOw2ayHlb0NP29ivHMj/WvN96nKdmjLWV93Mc5zjZ4MoChqie8jni1uMoW8U4e3OEpB/O/HXlTgHf+qKNLcJ85Uo3lnEA76Fx0NsF4jMf9pF6M+pVI45Ntx2nqNmLEI4pI39aal6Xnf3Vom04II9mX+USuEQoMB87t1HbFHDMVlBJqXUUPd7T5zC0Xcvp0bxEJ4n0bKaaWdnXJrvhfG3h7EKVpGRNkUK4MioC/4KI8mXRAPSI5SvgfOTFw1GfE8YADbmBEN1AlpDCSXO4Smfx0nQygZ17/isBEQ/GhrFj8GzELTQE1mL3dzR57AbmzjJ4z9j/GhxdKJwhWxLNDY0lY1kYwi2VVbN4VeX/Nqq07c7hL1qFBRPhKHwTq69cvUX5Co/dOlXQ1j3DPjpRBpTQov2OYlU7kNhMSrYtFdiX1FYKSnt3AHv86R9TWTn2/Yeim/LxN2B4isA4zYS/0AjWmfWEwUajKJDYrCnsYsR85IZCww+gpaTpmjfqkd9vHixXP9/GjJgXgVQT15e1NAx+WFzrOEzKXuTmrvm/OLSLNjKwS8wj8omrM50YcC59vbKuh453UutEB1y9Yxq5NoV4F6DcBrdb6qg96d5ek7Jp9L+rIdBxvyu/tVs1VL/bEP0z3pUblWtV/XG5ABmnwOucF55KJ3RRgOiv5jeX+4jH0RmAOwnGrIKqXarJxoq8IW2giZ0SG1onkk32fuldcuUKVafS+92LvjDTONRNghhX1ZH2ObZxT/r1/AcbamcipDTxg6P//KU6ZjyPcOoGQ+CqgDqS7KA88cJ5BdbAxwryA1nl4p7r2+KbRBpc1Rpqv020qyobKmVF2J5JE/apKaam4S/2y59lGs8bddE6u/JqpW+Kvt1ibRJlWd0qsj1lOsOXxMAYwsJZG5TA2Wd/GaHEqBOrTCWN+MmQascq1h1goWU+4UgvSQ7zX2Cm7ovB1Q34cKNytTPSIwC2pkwXPjLsrIWzZ71XgTjY9I9DzR12VHKCEEwv1A8Al48V1L5PbTnkWFsQzM9ZruuR5BlBAdrhaKlS1ECyLaGMK8wW+QHRlJfgxqUc+Xy24MUhOBuYTEgp0+Ga0IJmID9NtAMb30gslxsWrG8lllEc+BmoDhbGhvJNfOxniq+HCX0v6u5+7fcYsi8mdK0XcTVAKQSqMucC3iI+hepMdT4rFbqxNUvFcRL6zbg/TSw6siHbhHc1cAp57yhe/sJGrYSs0cCqcpF+inbyzpJwMwgt2+SD4K0Fer8f/mswXFKhf6rLnq8J/yPdtn7QNNn/PC29Uh708eT4sMS+5HQJnTAkUuItgtLQhXSmGVJL7ClKHEziwA/Y8TIPr9KXqWaYBZlnDIP9zLcJDvI2qQu5VDdwKrKzwjRel28iwTyou7Aohb+9IUfxurz+dTrLreLS05IfKi+LoobGEZmLoWFLuyY7iogXWtT4gwRdcEKdvB8vvKUtqVGgMqMurYLA6fDG76a71ypH0ngxhZSPlD+mP5UxPfPcHx565m3zk+s7ioJbPNrvduOadQFbH3esO/i6uPZ5/s6ttZjk9FBZCJN1fOV2m1d8ZVgfQds8GGgsgDK6fPUkTFdbyU19OTT47rh7bAvKYFRHvRQb80HJY0jLBY5aH1Qox8E+BQEaMknnfL95jdJTM4h2W3z81pHwNx5/ribFKHsXHQ7dtSd7sSqwtHeAyULyrBOSB35TKcmeiQq+FAEOoUbDKT6cPM2FUgFyaao3fArSVWLAn/4zbcSMJOdJFXdmU/H5xxdof9ut2beuXGHIcLQ8AYdezY1+5RtIdN9V8CWng+F8/KIuWwNI5YuapwvYkRSgHudH+e26ifYjXCbcFyz7mJR2XKW8uZhAWEczt5G1cwKlhr4K9LwrHcgs1f/rdTcQC111rVQWuVEQfhG354mFX8/d06AHIkqkUqd9lpB7NIII+EQZfNTZMSfB13CIDALcl63gSpJmIhYwvOBrUF1SBLfJ7Pw3YUNkS7SxVJTHb8ng42E/p3vUmW1tZVYb685eRDnWChMFdmX5pcmnekrcXQJgIv83Ksh1zWL60vDhg5dxcfrCVWHmyoWcW1Nayoj+gNWkZiIAEGbhHgpqSce0KIbX04NqAGrGm0TXMq2hg7ZaYPYqoPooJ1HAmi7MRWzN+TNWqdWrEisPpSLDwQg01ENDwY2m54WBYoT0Wp6DRmlUGF9ngjqJ8zK6+o5W1lr7Ogx/8bn1rQ6f+RfYk7IgDPcq5gareKoggxlbd+shFiArUkGnndlXFrOHAjB8eptoHUI0RVIZekiQ6HDOiadv92+/5GGnzc6mVVHZxw5fMEr3A5ILlZFdNqlQzVadLYmPalTpP82ic4rQiZAABDqbpb7H2n8g0DT808AH/h786ogU57ap1DAXvkCFGnHjDehJD3znD8eDwO+RIV6keR7rUQl5ZrPpQ7Ht07xhpcFAsJCHx1QJ2oN1XM63Pa/VVT35HlA3WcKu3ZlJx11oEUqYOlT3xpIvJVQfLXaoFG/s7kf2qc9s1IzeqDodBKQ/x0R9aNbMOoTLrDzCTpjMOd6yGdZzAi/z1rwHtYbd6Z6SoQ4Mx2ovDhMF/LC5WdLTgr3df2w1O2P2Cd1O820lssf1bc/LGj+PbQKZACrhq/ijtKnNnk6/iwEs0p49qY4VFZn73AgGcQAncfPujQmoVmZEpxlQZWac1OIVc4a83r8BAi6E+HZOMqozxvTioiF05QzyRnYluDVyOrT0jAcHvxQ1SgIJoVidPS8p251UjxJKdpRnf8aQtnw5w2XnLwn1xJQoWQysUIm54F15lcZbQJjMn+tJm7GUlsMKgypflwE1QEvcilMrGvKv0ETjD7wqzrpSSlIQmbZzk6czVagoCl/NgKzmzC8Tv6KnOJqRqnR6f4HgIUhTIcXZ3osAYeHzqNq8uDWC2MCk7c/Bo+KuXv+smR3pZRH2MELLQVwd1/ic2y48eGPgOzZ670mdNNRAmaOLeB2Q1jxnI5vuohzPIQGDoWIj2a2wY6r8ASN+RTsnEXYaDlAG5zEENew31oSnYkv+u1tav8IoQYcT086bYNoGEk+4Ms/J3X5xC9zJk40EY+5BBYPe6eNGWOmhE6LmCR79bHU45Gf36NrG+A7gPifVT3tOxZZXznHhu0F9GSQvLO1OP18BU/YaQW6bTZfY3xzK5UgZ/ibQCHyuCh+wz074QOmSdavnp5TAZsG0og8iE8g9UuoqLMsmkBVyNXjxfexxC03nNt1sacfOB11a8VSyV3j4z6zVx6Bv/fG+hp4/jgZtsq20ocGqLwm0oLVL6mE/eD2fO7JsYo9yLVrdofY6crm+b0XUTD4a3Ye0ccv0il2o9mMipeZjgrWKZToGVS31aeGSR0szN5Gl4iA0+0dyJzcAudVuYV4UGtQ89K3PXQfiDsYuvKiRgpzARKB44YDr3GrrTEwLaSETYHJx+8Zg5G48NvC8rY+nygazTFypTqm6q7H90TilyQFZjQhLPO6iLcaQTgHNUFda7iNxq5EEwgpVznen23mrlG8IdqgHfZa5xIaDfbEd/RJEJUYQB86rw47eIwEaE/brZESNl7qNvtbHiqlBM+gXohOKTdMhfh6v4aKsK6fnht+ToLKienbG6FWY9GeYeH2/IOs78kW/CzErnKe2PbVvkoNCG6CzXlH1QVLyRmHH5f0MRWJbH9TTuOmrjjEvwCy7KtoxGeL0Dz1Q4cNoYjQFaN/nb9ytL0JfISoxFUZMOCZm2dXoPwwY+9yoEvHLYhx1mNQYPs1YsVhZ4n8nLP0uVakC5X87Cq4QoiYqSR3FP4YTDMnkSmmcKeCDMlQs/HRfUNb2xOqRf/erNA+ThG2AaXdreXj7huR3/e9EHWNHVPEJ1bIn7Ufn/tXMqeX3mlJoGl463rztRsdLOQmP6icIri8TS+u2bCwdK5ckaQMwkRzJME6cOo93FKvR+DshS19oAKTp16dpA5Q/bTRwRKjHajqb8tT+5EoPnasLatCoH06MHhWUQArZ9oZHA2Au2sPNKpUiuNAk33ELFPdIgmkPsBLt22Waj5KaK6ErbV9jrwJPcwYuTFtBpW76S0EjX3o6uCKXFkaL0nQsgYg5aBFIYxHGjAv0TOrc8xbSTU7gmVvgsrVzGY3bM1yLDGFLYVkcr3KIRiWn4hvgcx7KNqUZkToE+ZGTT7mNALCVo212O8MUKx8V3VjHU3TZaX/CIk10rjDbTFabbQEsRP63o+M5oIqTkaSuGF/Gn0Ge70aWpQSt7CYgqdwaIYNf83Iki2eyDRLhe3DQyGDbvgbEmL5uybI73N7NDtowA9Q7yTuPCvZebCH2z/SWiRPxqLi9iT9uFJNz/XgeDDHGhWzEEOkds9bZEaCgYgKUBf1cW89pZGNCMOKiQjNF1WKkppoUN5t7lY5gdRpv0CfvPCnAAC2xFIWUNzO83t9iASppsT6DotNomrjft9tg/guWUED41FF79mA9KDAnZSEhpbl3m4yZEzpgZPi13wPKTuoP+U71osAQWe16miIzuffmgW0DfWRcYT7ZcDuJ734M0A8nZ/WKhz6UGeJLwTjuioy+NfN1UItanjENiIhYGGpfLOQJZCyJJVdQQHxxN4GKnwBNj5x85Lxju4AUSb6cX0W7xU5RNh7l6uSRTdvDFq/J1iRS1MGGcEJKvzANYtK1oz8rsbJmhIuJ1u5nW/QGNNxtdoqWj7bC9XqSzmCKzDnSNiqouhPQzrm6PiJkMwFG+b2VQto0acTdpMODouHDgy+TcvK7tszUd4WRhkL6hHOgykVXQu+yi1wsJ/3mRRyzs27U/1zMSIAJYz8MC58PYDee/TulUMDbemlbVnlAkI6DUdkKlku/kUVbr7iD9n+j6NQRIwLsJD9mu5BLw3j8OdAmRaGVOJrZD1QfNxGzv3ZTWC85LhL8Fnc+VmslptGY6ZMm+gF/ivVeH959n3ncJP7LvrSE9bnHNaqxYIVyZ3c9d5i+sB9OFACAROYW6ufo2ofNWg0nV1T/K0PQdcLKB/hgwfA4WCDm+qtCqs1Oqqa01KG/Egv4KAdgCsNh+SbRuFAyoJSmYGNnxG8hRwGpcU0duQSYq+QTXCKFCV5bgUBYBYi+EWhlmWqVGtG5fTlK1CYzkXQdItJHCx/DDRtZXH01NnrZ3C6gXX1FXPiTL8UJt4e0NJT8e887gEuZib5jBFv+Cc4zQn7tJAAMj1jSz6ajUVtNGXbZa1oyvWGNdzXPTS2YKGxNhEQG7vTmKcORS2IjohAlE/blaMDshXnXNphvS1pCc36WMs/jkaMfj9DGOWCpJVNhlq3Jclhl4C62nrB3NomeM9viqQZWsMqX/TwZqjRV44jXy/MCja+YlVMEqD2yYAa0b5AaeZQ8nRpEE0fFeTWPWUvlCzgLuJLhF1R2EJF1JpsNEuKCZH3uCzocXpKF0TOdYFpVj69Px3pbF6fEoybYqidf/pbMqNx8S2LNgCqUS1uLEYZJF7+TS6womFw3ZE90lIWKoJJy5hQxnmzpaz6rSy2XUReNLjVG3TzExk56ptp1No8Sd1uBhlCnrpMJs62XWN/LS9k5xOrTMDDXLzQwKGjaLlSOk5N7Opqy9yDe4eUlCYpiMaJfQKgYvw/FPXBpRT8ODoT0MBBGqKKENcEGhBq+JnYOOCt5Zux33Zj2V6UYRUNTfGnY0nvrD/vQNhnMCFNPbsEimhrTEJnhGQeUGcE/0eCmIYHd7KIjDsQpkeDXpR2Ys1Pn27ZaUav91D2UIqxEd/h5jw2wrfRMTneFjbDLYyjNck+AQ6JkTT6qeFC+jVeEFFF3hlbW6n8D2xxVFgPYYEiAzp4rpq9GFGeCTzneNXcZcuUGlJyT/5ik1c3c6jUB3P+HUrivhTpgzQIesK3o9/h4kaRQ4F01mqGeVpJOKQExZaso/hOW/KW7SthE2KXDDZF9grjH4poNAovEPwlCPPB/VCsRu0/WBYvK4HhEPxMpsCoHErDk4BQ+1xcjW2Lq7ztUAQFm7xEL7O8Th+9h1TqnRLs+CcfKhyCkJJHt/ikpxwJsGsI/WxiMxILfEOV11u35891bMRYcw7Djqg0F9nxWR2Ddw66aw/oPWXXDg7s3AEyUVBihuv8FXtHrhFNZuiajnvf+tPijST84T2PTMWTa2gGlmFgWgSGAxgo0sImFLq68j4Y6v4tDYn+QNSQlv47UskwvLMuWstwq5xEHOCho5zJ2+ysSNXPkcDx5MIGuGquhBebmBJQW1srvvPIc6rn/NupmM8husWwoI9jt2CHAyRh7ifRSutkh7r3w4Lgh0Cskui8RLgUQON146Kx9S4NCr8BYlbtzAJfX0SSF87dj4pfNRgwrp0ygk4esgFWgD5Fjzh2qzS4cJR0XdI5h0AOtGw5puEdZM1IGoFQcfYUo5QqImSFWqZnLAqX/aq4ieATV5dhiinISxO7kQV/4joOJb33sh7QSCDZQlKQTeRBvRN89HBYAzNh8TdxsSoFMB5MCj/ceryZjgxfGexLRns9c8q34L+AvK0Q+dTyCiKCp7V4LyO4v44xTVuQdjkV7+AeIER/q6kn2/hXiD0cIVwFgxEbesb75j6mwSQtdJHg/U+8vfWSgB3V/9NDqBwD+qEFO4fqfKGyoM1HM6UgBYjMS1otFjFpSpBw9TO1Wc3+yo55hqhbNsuHAKdsYnk4zb39uf7lLZ2hdaGrh12GKpEX/sb5hBAY0VAlj37Y17bSC7+8anRIZLn8ivdfzGqTZaja0uOW4Z4mhMAaQ7k2Z66wylAlaUKnfbgiqKDu5iZE+monhIEql4j5nf1xloQUpzFgmnAxlMQtCYxV8wSb40w520DLkhl4EfFhNbop7H5M6djeqXQrdO77gj/yctV0RN/BXnmH7P9xCWlFr/5LXD8/XFTL0DcAmfUUS0vlN06Au20OISYahoYS9EF9E4uiimY4uyYwP24YP0+ys6ri9wD6VQo//9HtJO2InksCZhCAdWyYtTGvTO8d11+yoMdKeCLhx1czfWsEdW6LRZ2QqmZ207zdcRVt73dUM4eJuy7vlRGR6fLShR/eTka2MxbTY3vLsA4Gd84kXeh8K/OFGqi3aUHhkjw7f6YzaDvo0E4XkD1bPjJBVgfiTgfOBZ+jAlUmQ13W9WbxfgvJ7dS0/8aDH24qL3ZfXBsqcOxl5vIEhW6jcGabdMaQQWDjNLBo7BRh04o9Eq4Kz5mDIEMB/3z65/h9erI5rpfGY+ojciR1dBV7ZNxCHO6jT5oAh33eHyZRbue9c1LAE7AmHUj3uKL43zFlk85AGYXfnlezBSNUXkY3unksdlbc74RE1Thun6K4LwZlxxb9w8AQeBkaG1qSm5HpydAcZ7wLJrKZMYXGFNElfsFiRdmk90l0a7+MORXrIOUp2i24MDl0mv5y7pRPYiH15sP1g0HDC+AKxLx8jWnUPSALnB5QlzQh/mdy+fXZkhEeHyjICyvzZXagWCCpJc/fwywQiLamFVbHR7xrP9xmsURpm46ydAlwcHd/dyF7dakFDeKypJcyBYT5cm93jOVCyKTiTycRht07YZq5+z+E+o3VTnuw9M+2tPOq2MWFaII0k46p4N3T8Oe8rW/roY0IKBsy11QwMG+au24WJ+SY2FNjYQwKkLY2J1u+ituOQzl72c0buwlBHWJMGGqmGxjfil1qEUhcaiHh5psrtho2Z+4h1y7tr058O7ZA8doW0LNTmFoWGAHcRXMLiM6/OVvPp4OVaqWriaEdQGc25eOzESdU+hyJ4qG0lJ86cHprIZXq5qq5FOAxSOg33DWqxkjBcUUU+E0digTRqIvQUO9KrapP4sWsC7ihyCBQCs3f0lQ5YP3UgzHbqCkpBsa+qgX7FmZy7l5AQbR6MinJvfA1f8jKOUCfsiHwqnOfSGBMA/mCSsyzm2dYONeXJPsgnNJSxsrwpESefOPNUxLBuwp6Aqf2QMrpSzy5AY1U7a/fLUM4SBHu7gwG4tUfHcFsdebQL6Rf/BoHPSbs4gXMK/ScgHr9o5KZ2ACmKB8AR8V0KYf2lNEjWUh05hW9YYiZm3YFUMV2WyZqbksEtxxnp+kVFLv75ry/yVbPJAE/ctLL7CBdx9tbm/FvKVUQv6Ju/JFyHvt69PsaG0MhkeP3Os5koPO4XO796K2vGVvDVVAseWMMSKX+8HxiJcASh2AI4iTDnwP5+KLjeU/yNXSPZZxqcz/k2ClzK9yi3QE+w3Hn8IhIf6c/Q4xK2X3qgkdqZzHAGJvnYcMesnhBgMzv53ejK4W74HYWRBAC76Aa1usK7s6OJhoajfVUCG3XFb8dHafqDRv0FIWs2egXaf0ZB8AJP3d5W4A+QjGfFxHngzhgApuAFdVU20dzFtZxb5814p7WLgmetdJwpbzE5vpgishoR7fiO3NW0ki1XncR9Y5zfiiHAvUCOxGoI6tuWvTJ8ZspXJdImpc40ZIgGviQrzkQ7+KX7/keCs3KXFUgpy1Noqe8oCch4HcuEEdDqnhpGEN1eC4Ic/ppNDY1BVB7j4U30TI8s6Ag1gUYSGfMifvvLdVSKtRMyOLdE0m3QIOP984BgCMuZpFllLBbAqh4zEnG8r/pVhEv/3qjWVufBqr8jP3IgG6+gZOwzo5jXPniy8vdJg9/E9gI3XjFKVmqJ5S99MIrluusJ/Bh9vfzVcoR+uXmJ2TWQME5LCOBDemVGn5KtCaZganDqdvowCDdJLz/nv/sX6Igba1ieSKLb7W4Bgw0pv+aTtks2iBbqbURJObWUAxH8XeZIfJn+HoSoh6sLcRGOAYKlrrYKaKiz9mSWgXP2J0xiWr3+8DRn4VV90AoFQSyZFsiZYg96k89ElVFho9OCLeW1SgB5VTFxumb2DCbFBMduWuXpkjLtJcgO6I89XGZ/5iVSUFpE7jzvX093Jf3yORI4orHd3wKrX/LqS5UQ9gOijz64YCHL4o5LdbsfOdzFxqngjazmnWCJjrG9ZzCXD1qvckKZ/6F/zsLAaVKk13NwkStymKeDWnHPGNAEtHg+ZiCPhEzoECFwmg9O5y4W5FeZYubTTPjRL03X7Pza8ZzmH9CKCHLVXIOVQ9RND1KtZXBi3Ad8aCQhOit/Ur6UDoQnAKXY7GMyG5iAmXQR2kkKxfpqAD+mJaCojNzmqz7WZ51RjUIxXhCtaYOSBejTJGBE2S0OKHbfhXLGnQ0P5Ip8vu4JM7/WxgX8lakeltKc0muUJl6j8V6laS7YX08tXW7fAIj/Ri0J3FPxnQXW59UA4rOpCOxRqTVu5ARw9o/ZgTYSDOZ6pieaxxypDwtJHE8j4ZRKNOQHig4OAOVFLm4kq3wAt94C32SoXN4fpzoo4RRTO5/zIt4tg0aZ4O4gtxyvzZchvCAw/MF9PWwOrHpPwyvOMT1Tyc/Ii66H098FEd2FGCiQ6ohxOO4d1eSN1kfovyAjTfiYgyHdCmc8BA0S/cZQt6VroDj4ONo2hDx40vig/vAtdqu6irKjC+2RUrR/reVcl7JXsShjPGIdY3aAaDV11eVbCMMwihCSKlkNUZTr4H8pCPsUeMFkByQF1G44fbs5nqrZjdRf18eCZEqH9q8FBwNq0qSR6Sh5UdrFT4O0wmqn5hKITGvqujBFM378C8Wd1lk2KnyUIWrUMdpF95VoO8Jabwp93o6sYYc2HWZDEpWJiv08Besi8FN7LSkMfLCTx4rSl08zd5xQ3k5IPfR65o/Ty9/2nKVjiBSwa/+2ZXb2rmGiqxjfeHyyCT429b9e5UOs9UmhvHqp+X/QbcXLGyRJYc7zIbwCTL28zERPLlhMYGZFaM5Q8tX5ua1KBuTi9hIFhGNp03KwVnBy4LO1rIe3GDEcfnW3sIGaK++1G/Jcc2q6HkzCbpHDXh/cvNoGZBjTcmR0XDUBpxbEAebdiKK1JjyoNj+TlI5wRDH5YS/9ObYSEjgOD4eaOKthrOuiIAkUxUfdvW/mo5SXyVN73vajjr4myszuAKQvxXuFUgs/73iBgEsd/pSzjtcH7wJWjmBLPEwKixH7713OpezCqVTtQtCqBIpPLd26otQ82I5oHq4S6HfESb9bV3fhJVt77yzAgdZed/CfEli8QxmrdeIkP9jPh5+BlnxweHcp+PDkI8RCvGT36FW5ZmKLeOIPFnOQhtR4R+giMdpYAwvYnQgd1Xdf9yVIMw/VoigbaxjE1iFjDdI7h1f99zspHZNkUOz1mJujMMfVl52u/ctz9NS+j0VKyRrflAnw7SFb5bSOBcC4ZipXgwbookuj8BhF3QJf0XDXXqsl7n6PtB5bVL/SjrrQwdO52CLITfTrPgrhu3aWPWpoOnrH5qhInW0s5pmywq7FmzBHeh1UNwFDFkvOmoTG9mtYzXxwlrafmcnWOIBhS/c2Zk8vrGmuxqk943a5PCSpfLW2Xk8hNcz/DjYEmPRQhC76mu1MNRrWc44tia1/09x4+J6/DJFcjXVh7lRbVkUgLvTpO/1H8LxG74Au53nHjs2Jm7F0n576mWw7bSjGfp+isrDx2FDrrdrkcHRWmexQwGuWxd9QD20MPWix0Yr4XX2BabHEUU0Jf/MM4E04+xXDwjw7lxkI+FyW6gO5nLT/iNevePxBOHC6wgJYWRVedb+kUKKhp4F4W9FgGnpkORDjeepMXV/G2z2zhP3SqmIb9MWslWyo+1jFG3rtF274QXmTdXsayJqrJe1eWHJWbvBWJxVlzPRxYkHdGCbtIFFtJFnKFQ5ofHJmyuxnYV291WqsxGVEqLBJa3AFdFFpwOyJsif7LYwTmoAseHDSOP0jh7EbkCRm9MbT1BVSy7d1eLfq9jQcpRZX+Gf+2x+SiFhoyQ3xo/m5XkI0m1i4kPMtkjG6WGLUlcV3a9dP2+IJWTsGrtp3dzweADh+zjHEeZqKufxjAxl8hPWU9pd0ENsF1pdfxUjlIU0S1P7cqL6JA0Iv+8KfOKMP7pNfmbwacOna4/5EPmh7Y4wbr9reRp5SSE0ALuHJpp3DTfXnzoPjocK2pe1eyQnnlGlscJyJ4MZhKGqy/w05IUJmad7FLJTlSpRMfmv9W3kdgP2LXWkjXlRDeNBSF/zWiTDxsI2f11fMUEt3Rt/IFHpK/tuPmXCfApU7M+iGYxW8wJylSgc5037cFSejSHZaN8Fih8j2zzgWaLUmwOgib52kcBOOuCY+0M8+24oV5cJFo1wtqXkFCl5USRbizLaxuLLwnOAdTFEXBZqP5ucmhU7wSfiugiJgfe/bFjL7nyhYdpw5D1qJLNF4XNGUDEUImGamdABhSjOKA5auIGfGPpgH/lALhwQ8rVvIObEY9btytOAFAxTZjpGwrmdyaHxihHn4oIPJz1yV28N6B6IbEl7kcmbv+CzR7avR+Da6wrcsc47+RMe0q+c/Zckl+sb/dDhPsg1ozXj6LuWCgknoWCq8FH3++esZ2dSnxtuxNR6EhT9ZicG3GiAnwfB4btZyCe8GYKH6X+rL9V5VgQPayWWkRQYS9OxEjARy9EsdCnC3yagtOUvnJSF81UZUe78m71b0olAdkDDNe/8VY0FQXn3mfXwQy3rdSBhs4+OfR/29ckM9ffx3NgOa2E52tAN2pirnzqkiO1tYbKMSOqOLH9vdA+MrwaHlKfLgsLh5sZDu9kPQXW45F8q0W41lciOyrwlrCtHWdSI17ZuNCQ7CbIfP3fIXByNga3KMMly0TVeZhqWfDZCTZMPZgcIJH57S0IwvCSC0zveCsEx4xLZEpUN8CI/cjYqUKdiWDLWptObH3DIP8EhS4TI91pgbUz9Y2X5X8SnvrDTaAqgRPWrY4oy9Q7n9JoWeZ12RRY4Grn2KNxTWM7ny+9GJJ1EBqXWT1mOI+0pELNcxnLDxyZx8c41pyyk37o6fAWGgROfL2UHaZ5HSEzgTdPRKWPINAONuz966ncbf+//CXt+zp6kv2soASyRQlIDKg58GaO7t2vpaazND+FZP37aPWUa20Fu1dAXr4ucjRIxqmmN9/uudeosV6h4Jrn/QnbgsL4rTdtqEwMO+2FpBBX1PH2mQgV/SOTBRj2HRUeEtq3TzV5EDVSWIUmNJtb7ODnJvDo2Wu9zUqtMALU2SV04LTFNjG/OdhcTSTr58mec1jE9yUnEHmTF2yh8pyjXJFONHgKd/jdNdBpQHkEowvNlAX3TZm9vaui2Fr6w77yJ+KvWjAtqBytGBrzp0XpVscbMrEYjFBHJE+Npv4djN+AwM+6v5i9DQWp4u0a2nAL1Bi/4bNtx35TCkUkMz925h0epVw7WeKMJ2yGG/QE9Ggt0zZSgD5fOwYqVQI/WiLsvMl7Cf7zuEY8JD9pyPOy5zZ/3wCxUC01FaTavROyDpTQzeLNyrN3uXpsSChqV8wjPWPuu39zpp3ddge0owx8rCb3dcLmFkjs4sEBpRaDCqN2g+2CE78JZjTUf7j8sft6Cl4Hr9UHx0dBo12QrfEr1smuilM+cb6v6rDCnC8aonXZC4bFoLFa0I2JBjpJGAKNKltJb47v+Q6/ASyjXx0FXKWV9MJAeLXNXBa3Pm3qcbaDH4obVhTWDMinSkRjaeDndgAZkq4q5mtSnw9RuLmi0AUYcgM4YrQvt9JuBuVs35aEJoJs2V0eX0vYMywU5puRmGd2riZ207MZcf6SLiY4YU0nnU6q4r+4NUdu4XAZodgRKPCGQ4b5IOZCc2JNR9G6BbIPpUBCc5l3Z80oiPETBg7itgV4afCCIDLHsff7ME3wHuQ6G9MnUbFYqHxX0CA8//vtZu0fkEDqIJO3LvNNvsBGqX1WZx1ygefLjrBU/5Mkr7haM0IU+RkNSza3/NMCF0nO00DEbTmaz1SH93y47p3bs9UZnx6LyRMT31datasXrmKDGOE0hA6YCdC4BZLFq28/igUs98jr/dToHM6SP+hxi3LWB2gRhbW5khTC5G9l5VSPkGSPllguPCqTjAghhA7od2IHSFPRmPSGDVYxXEdO4P9Ot/4tLvGcq/WNOTGJ4Xo/iSa3cmyEkpsqj9KMAusYvhd3lN+IcfG7jHjRIR7E6P2qLc9PzF5ag1AQawLBgtXl1VYP6TEbc4if+21yyIqeh8qyBGIa9kkklalZmLsXpSXgcrcjwuPzN/Kur9TKjHvOK6vosG+2ugRNNPcbiZKSqpcANZkaqyRiFPGY6bFh8RRVOF9dfR8d13ZtlYffD70tG4pi75qnaOaCYR+dHMfbkoSyZDlsk56s59yG7j2pMr5c4eTA/ELFK+/NakRZAiDQSP9cEgWUoPGa3Uhz6hQO3yPy0fseBZn5i/kHIMMAkA3w+NVJe95lrHPXDyySI55dwDof+gb5na+uaugoLklsCHEQbVRITcIRlIojLA1Ei+kNq0uN3EgbEYM/5O2ofXHnwpG20V+IEiPgdctDHshiqDnzE2oM9vRO+/e/XtLjzGhPUTmUbu+zn25jS0owMqgvJWce+3qhgIvwKgEK3rz8xM97me6chfo8Ljm2fITmQD4ZTEnHoQS2edBMMRX0MexqXcbQBe/516VwbNYSqJTZgBSDUg/5b10lNy+EHCn6VRLBcGajlm1ullPLNo/PjZehSLLvjTC2Ty10WrU8qJHMY9dr8+6Nn5ApAUMbgZBm24kKpEVV4S1iTmqPVMQZmz8Z8u5/r3o9Ee1K0NX3QQ0kLDV8y9ccboDIXldj6bpAB459s2ky5mWHLfX1Jx4hPjaTbjw6Z6U6qVP4mj/1VLXWulTLI1Btk6ZsA/Cgm5IVjL30CHH+K+hVnIApsR21I9oF1oElncXOpMrI1OqheOgrrJ7gRFpicI0GHDV0P1M2Mo34ceMjxA5vP4KqVuWfd0fS/pTq3ULdIwjsEICHQ7PA51jkUXGGQFZjAM7g9yg1UU2/NDSnmZE6MVER2a8Tns8ACMB+F8eb/68JLwUTgW1AwlGrVM+ULY72KLUczwP6ajbC6wOzRrxSdNAjlzg4KcC8Mcopm7rbOwUyHi2iAk+XGE/vBUBK1cwvbp1/rAGW9whbfkGCGW/o5n122kqXNz6WWk0a8PlD0xakDhvEnOZtt5UwycHBCRCBafH+nNk+0f+9k8SDKtZYk1in0L0OtCtvNRa6oyhfZ8MSZDWk3Vw4EB1S6G2WYZ2HmXAh03Cr5QUhXAaxBD3Q1Si9oM3PWoRLQ1nL5aK+OZn9WFfG/J8/pxvcKeEpqL14ubCfyObdX+6Xqr5KhJupsGrfoegYKcHNumMjIhtZ7x12ldKafiK6Xo5O+hV/gEkX7RfzRsXWHamUehMnckKL5KM32o8VfdSyq85YrflkRCHjesRrCMoLAhuxpsBEZwmbfIwCZAJZlsoKRIPqXEc2Y5Y54RNqh9zrtnH1cRxzPQ/bNefhcLVxR09qnSJJEy94oRWxFp6F+FNGtbQdAptXvaLqaC/zo6YpoEy/9B9ismk42XpLKJ3woTQKshgDyk8uc89aVf/k2osC140Mn4hQvd3O0ZqWAyDpaKuX5CeuXuN46X0h6ZmUO6AB2DhRJ/Pm58YVdB0G8kjTyYWBXax3UIC6pdXV7cG94UWSjTXR/cbrduQa43bV/CsSxYZB4b4uiXYnmv+rYCkVSC0m+uTbwbcXpY24gE5yS65tfNskDNykbIozU9PYnXdotO+N3cqdtA1SO3jOw55TXlVRUmtb+7Ue+BsV0vxekiZZ4jbnTG88HrJdndNHgNwE0I19At8vWn/2sIHkhl8vqZY8lv8Kb9WEGh8qzUmecmTy+ecgOX9B2Pqmc3kfJdJ7zvTY+h3ZeHw+ljBodfz6WdNNbiVwltQbzqWqgE2BQ7K9IJZcmZ/fSOaMAXqBqahhicTUTOvRICtyIclbriCZ79dZMXmmw9d5qpf70t6XYu/FwR+R1aEd6USXDmFdudRF9se9Tju29GJRbrs0rN0Sf86C/hwpxlUZhyDeZr9cTLpkwkSQGLfpAlXqIzU1rQQkjANCyIZr8Y5gM7Qv2NnOl4ykFnNo+wY1oNA25UtkCA/SWjp9iFY0O+jDMYwtTCjdQEKw8uvLpERrEf7ewLd5/JATy+9lsT9SZDvWBFUhbih+5wJca+/vOsMZFq0F4m5SSbI9pQ/TJa7b6F/+nNVzZnVETwrAtkfIaRw+6p992kBSK9Is/EeiAgeCmcHYee2pKXE2bfLfTo9OyuC2WhYfk7fJZ5cbyKskdGXEtkDvVRtST/cmMEVcoPJvTtjt2U8JVht3dnxpSrjgUdLCt1R9O4hjF/eD5r+nypQeS09VjrzFC6L5bvvRO1zYL3zlSjEqsYGL6McCd69c7FVur9Q1zt72rFOcGrK0BIdOOUunonvuoiyJ9a9xEYhAN748LpwWbdgMSZlmIHvhW/MYUop05QfZnyfMSAj34JZp7FlEcfUJc0OVCXUCWVHmYe7VfYkTYfHsaXaRND0g2VAGLTNBCCyi1di6Sl0cIIZ0ifhj92UAt7VhdGycsyAIZg2MIiR+jLgZPD8l4yJ0T/+P5qkOhWBgP4tGTXrsap2jnSNpYLxTexATO1kw0L/4dCwVvxB4niam/d3bm/rkAcFfc0sboozDxQw6kf1DqUM16ezXqW0ecOHN0k6Tsc8kfrGq8NnZmIR2+7HPqbccpVReaXu5YoNEs8K+DbmeT/WJAsfbzsFTuq2tFSsxogJWPhYEW6OlySPfexFXDRdJd0xf39GoIiqi3craZmHDJ5DraFCjR2P+sTdbe4Uq/7WU9M4dx/jAapgea7ZKs67TpimdXo7Mj9A5wjRZJ/CYdGZLyhSKlfw8ra/satCVOOLFtWhz4zcHsYCAzBlK6RUetscp04fYf0AaJmvnievaxapORhUEOeLmWUnrXQ3Iv1KSHDoRO3k7fWq6Tme1kD9re1JlCmbWSBK3+0/bYb5AG+bss5vAgM/JiMhcOgNgZAoSfdVGmKxXgNKWdY4oqYJSpCrCDRFuAWtMm4KLiYQCRuGkXdyMurHG3ArstdgCJ+oq9K7sUI2qyXUt9S6iiNii9ZDCZHrevNuRZfHB7bhWNa9y3c4LyhEzcwgfAt8m/Av/+CnKzTAkPt84oMUv8o6ONQ3mB6TkTm/4w6zr+kOEVBT7eTNGJoJQz0zohxXA+z+WHaxlS34DGUguSBFJbi0mD5thIct34d1yXepwRw3l/hi3yArU9fKlCpD+7jyWqPRYKB5kXYHDTZKMR80ngRBW/xAV4g+9UPn71rxaL9rutwcHMrfj/niuP3NmZIP7nPghwbN+S4ZPLyu7unWy5GToSD5KAFYS5gEn7XT5vxlsiwIJtNWBghBRbCHB7gF+2RWENL5A+BkQA0CCsPQth17nntqTAdtHxQM55GYkdf2dL9X61PwQH1jaYYzXpahkMEbLQVXbm2OBx5pB5tj1THRgZIO5IblJXLeg8tdOUjm8YxKJlPPmFOJSom0XllWmKjSpmVz5GZxSfaI9VTfBNYU1t7fGywIX7yyB+4hJtMd7zemcd/VSeftmXSdxaH9P63LF2jlkUVrwnh8oqQBEZIfEF9Po7AJ3Sfls5LZ+qQ5SIjnNdAX7uYaheD/cQTyQe+FgyXs3M1bAxRWULbtvSI/G7ivqO+zgEiglR9FiZRAqG91IH5v91IGiyQkqd+Z84gPnX6tE57M75+UVWbtf+LSKckV1YUDPhQHy7NgttVqd9UXpsM3XNdvQQjIBbwT9/s7UPs9Jwdg0oPdRHThzNSH1Q5kc9G2uQwDFviK9267dmB3pm/7+hpwe/0LyNZPR6lGJLlnouSqd1e0HyTQaLclJLtHYyGY5d5VkVTWOJV/I4dVJ5dGjDvTkR5HNKkzIFlEo+v7k6hkYPiumJ+Lk7or0nRZ87ALhat1slpuwpROv65z90nI0LfClvI8nhk1V56TwMIVqZ+5NTRHkKIr7+GMOgBK26nyRxoi20DfpUUTdy6UmBfODTB9Q1eERVOd3tIJ51O3udq1YL7NWHO/eVeNu4y3+AT5x1gfPQENpAqwpGsNYwFV6BWdkRpusSOJVXiEyBAeqCK+Jn9zPJkqieYKrZrHQSICLjQjObz/UtLIb62bzMzXTMeH8V9Em7URScnEoKqA8u7bYE//QmvbvyMK0LMU5/Yy+yYrWlmpzTa9LIjxjkS4QAVAN2fj1vmxvRSavAz+E/OVWAjk3UnZHXeUZiSoieIeTk5drJXJINvwezc7gmqjpJeMSz/5pS4SO30GHni+rwkQVTI9XBUsunGEvBrvFzVgD5E2pIYPIyVMia6XbtXwppQovLHdrIGnhie7sstdp5GqbSArl+RDz7NdqBIqfyQUM+95hLkyaTHDF0BCmG0YGM6EHg4B/RUJX/CurZnmrQ4OPfLtjgXZj53+R0YxyaoivBv7U4X9w7Z1ssr7tO3IPer7H9h7mUnBLUSKOVAEH+Wd/NMZpIepcSSVxuYkv5HZQyknOxpIUGXMwp8PCfMYj6IdwSYJbzNpm4XbnFcPFuR4s/x8TJHVa6LF00CQyEzJvq1IRRVE4J5v5bYn1PjWoB31yFAdb5y3eLaoimOV7uozm/oG8tUgUgwWOc/g83mm7vfqAQxVq3S2PohgvBPhyn9Pz1aHVN6vOL6xIMRIweZLpjmtk9qnzPsLMV5MiGNUsCkXVdp2Gmww3ZQexk7zxc7ogOQ6d6p7Od26R25Pu1tlSk4IFrYn7f4mr+g6zsxIogYvYmORirIxe3M/mAlsVToL/BzQYFYn3UWcODVdJneOQb9m6lCwYbU7xV4nczRwWoRphOR5OHOo9rPZbvd5XXTtDbMa09YCliAD9ROjzWqXgtznonMFDpcee7Af+YMCb7Y/TjY61naxIyzjbvZKs+a0lf807zWs4aQAVVu412ZgJVWtp7s7x2aJ1nTqvG1cjH5qM5jpZXrENv2njzQ38uUwvU+EjMm86uRVWtAooLfr7a4Ih8KjmC1L72UvC4kLQdM0Jv4nS6n7zQkVwI/KY3rARsPostlpG4gLa3hN96zAnUMV4P0wpSj+omVshTf3Q67AAl44kzrjDZou1/U5CcOVHgfGTigr28eYmq78IMWKbxrNkooOpgWxqXCVSP4aK6S2XkJKbhz/7suEZ5L84/RWs0bPHpqtq9Uo2TAku32oe/ma32DaxjaA+Xfk4chcyuQZ/hauV+u0ZEMMzQRJ655zNk4V+WSYeAQDdzjWHwNP5+5oFzWXOe3hf6yJlc5DL4buoqI4KLVxWn+oBNuBc3DULrHST7mAoU2ZMBK0C+g7oZ98YnuijCRss1wMVgjyO+uFNR3LYEZkorq7fqytjlV7oZQ7DnaoGUALnW+wlo35smzqcV9AK/3UWu0AxFf9vSHP10vByO8TvPYA/kN/A6dLEv/RxgzvrqMmV5RrdFomJTHUwOGm4mEY3VYIPvhLG8x1ASupiEa3PEJUAbtP5Js0xGXb2gwyuJ3JW4Mzv3nre9MXLvYx2whJIjHACANShmrkoWdYQVoe1FU7JR7vvYBVCMWvHcZbHB8hBP8cBKWfzH84zrV1R+OEfzWayNBL23FMliANIoDjOOMBkzkLV6tb8kfLAgeAUwDbdXWvmkbf1QePIPKJUpKwfm8NJxtIkr9yKvSP5Nby4bJFQ4I/NZZ+RZHW6ZoJu8kuJzTx+85tQ4lYdefacWCf4cHCDI9yj6aeai9pQNfFlcW7x896Sh9PJlozD+EdGkHb30i5+1Tz3jZ4XWnSLo/CDW6QbJ9LmSirM7gaG51IMEJfthrvuaNkvBqCantb1XbNQhp5NtN9WoWC38sYWDBSmn2XmPX7C42NjAsG68yRJwc78YrqtMklL5fo/ljvbeWnfGdaCvgIvYXZj+KPewB7fdsWJBWoYstrrTbxxHvZtSf4y60ujwj1WIYy0FTqG5eHTItRmGPesdQ264WbwHeZASdyXU8bkLrv8KshYCrwwAy9GbX8Rjiqcu8Ise5D7w/lK3YYMK7nA0PJIV6AdXfwvVtLQkjMm91S9WK5RUOhlbj+KZ/y5lIj0IEqdl4xD+vZj/X9W56yyPmkTMHhmDXhnJ1TXj1TcJpm75Gp6gnHdvQ1V6xewRc3T3fWUvpkvoPGR67EmAzrqN4b3Zx2WrKNBppMcRAm1GS4+rOGKAIpuduoOhJC5t+pzJr3Mgk8WviYMY+a/hSzYW4ckKYXX33moDjRPJzwlvGUS2FHWKAc5UswTXl5fo9RhDhWvl4KQ2HoZbzfM+ohm9ptRUe90Ahcl2QES2DgupkeZEgeg+gyVPFFygdQGPas4OTsTtf7VlUW28OOZ2Y2Sjzzjs8Q0vL/SKTbWMGWEQjq45QfiXOkkNmqYafx4CW1mPXmYd5mpKiR7LY3PKqw9lh7gnWRCwVFsR8gqmAwcEiapTPDMKxadgVFVghVR+SdJmd2+Zpo9E1DIvD7PLsndoHtiKB77ED0Ee4VKQNVyHfRpWC+VqpDxr8kG1ryrlWhMCkUr/fM0Ta6js4ci9sdX5keh/iRvY9JK/oS2Ff136HQ2k+z2BIFFc9Q7tQhtWrcjV5cjCUZ/xSdjz37aq9PTK42F1aS09qkJN2HGdVOPHDLgj1iYzfxeuDRbysqs/l1vsJGmvdK01esHt63ioX/Fl/oyf6BEajmgkupqUbPUHx+4f1Cf+JQZeQkUXdcycjtXwn44BtMowE5g46CrGEcdQMPmPHSxI+o633qqtLssY//O9yGL6f+lFe0MVahl5X8wwBDWRahfhXjJN/WTnok5N8xqg8E7KPAtLUqbRywyEw8EpxDTk70Ub9lm1xbDLM0qlYmido5T3k4kxTBqC/G8ITzWewZfx69rhL8FOVRMqwTL2UQl1AxP4ncKtBN8eVn1G+o04avq7QYkDgSykBrehAgjWmUBgcKSgOEJKxRbcQNDHP3O4UBMM/K8gIj3sQ6mORiwCKkmT2BuT0GxpRcJdVf5NJAUTC+Y2je2crjJDjoRo6ox9YA/ndk6msT71uKRgucFksyBFvPaY7H535G4hv+qiqXVdT9sD886wlldphHvsBDZswTApUWvv9AuRIsluhaTaVIUwpkne1P4iftTYwmhhGus7xC+4/LDG0qJFzegcMDQqFnl0IWrXmcwtlNbEiMofXTqqr4RoPeMo/mPeiTKvtN/4G93PXxnlBbsVC0tX9Bqq4I9XMFhEbeyZt+z+PCpWLJTAPNIHKfVr0kjuxVkltVjOc3zswDmQkGX6p0t1WStABlsw0yleOrkFBoRqgasGjQ7HXxkHwo+FDQw/VSTyM13Wl7LhYAh35vBB2qGq09e8wVg1ulzKI2q+ekbRL3q9VzvKPencSWtPlUlytAm+vBA6lbSrxeOV7vIQyXwSats1GyTy6+freI/PqcbgAqmVGCy6R00lTRMuN5ZblnlFM1NPAWlThvHRObbzGUEMo3tYGQe4BSrYLnJJXKHZ7UoWoeeC8hbUrbjNi4zMuGxy/ftr16uo5D8sO5VWLyUr3G5QcEvMWe5cE38C5GVAnvne7J6mRCIEfN66ASUD79DGNMCF7bkR4EeHTrCbxgcKKwzg+SymZzQ56WzKXo6k490MDgg7dwdQVKt4FOg582rTzVk4lJUcDMAQ65g8M4dIyHS1DwdhsVuOYH3DlRl6MPs7oavjavHsfsW0ykiGmFkzdEqgdJ8Rwv47Zw/5s3pONGSvR+XJDUwjO0i/Q+VJWHcAngDoAaWuOi4JeDIPuN4G1BT6EfW9Y/Fpqvl1/mYthgIOAofhvhzCXCX8FwCBJidW/VEAeVORKVkoaBdqxpThp+zIDxP18cw43khvi7cBXGwM/pVKKvlkW51ZdNrYfa7bhxWpmH+FD1MkVhMEJI1fZ9Fwo/jwdhyNKy9OzC0m1Fdkt7CwqeCLetYhKaHquNbcaYTlCV/yIZbYTzBR5FKcGbfx1jxJYkmOQ/rFyHfvz8M2t/BVdI8YFc6mTwpLSARHBSLejYqgcTruaniuD0NYR5x2nYO1P8rn6OBZ/FtxyPVtCpFU84jE02XuTraG/Sgzs+lIRiWIGXe6F9BK58pLZH+6v6GdiGLzv0CHcFGlv9km1Cs+8D1XAqeH4T8bYytghvN7Bz0IkMbU5fXgM/26t4ZygBvw3ALHnV7RV2/Ty9daJA9cDtT7/H4mom6GmYEceMpP10H3Lm9XlZ7Tjjqwuy3CQNv4OsHYlqy2sBkge72g6K6SwOoKkhzu6cIPXysIS7TTSL2EOPW3rBso/+Oe0kwqzNe8seUhJFhf0KGIjPyjZldtJ4N+AK1u07pd2A8XySADDSRYF1Yszq5rztEPKye30a7L+A6T5sD4Vkhe1DqkrL4FPPuam3VCnXYk67A0kGEFsoVTyJzstNs1cLOvqbdCmUAzrtfN4mkthvFUgYi+9ZaI27f2NxjQEsMcUnlm2LzlQB3ONo5uzqq0P7hgbhC1wh9OwH/pZPtgG8oTUWcufzB3I+ROR4bMAFW8tVW4Z5+kC9KB80HawoOl6gkl7A1Z3rtc4Oj7kdYDqba27IZFxAnJaUSvL3KMZahqzvOkfiemDEBcIpzg4zbjn83w+gr0RU5e4zKNLGIZqHeczPFrlrgr2ZykM0/vlh/8rre+0Axk/BcQZMBdkcOJktf/qQRqj4Q29B2KRWLkEDI/9SQVnMi0qddAS0/0MOp+01QKTaVT+IDCQNpjQE3ay44k/PP3mv0F1ubH/uEh0K4T427eWLp8KhBQ0NJ0RRPblmbePIasRqXNMLx3tg/vang0wzgfUlWBQgtHh59GmUCwHr0q7qJ83QvCFNIA7glC+tmjzjVDUyNpcq2T4q9pyir1kTsJtgYG1oEfPd2jjWr9YDslzQzxj7gyIZAaMIQFh2WPPgiyQmbNcxK0+TlqpoW3CxTJVT1486xUEHa/tOidNm1alDWfUB71+FVrPIvmvQZtPL7D/UxPsiqRmvznJarxU/yrbR3b51Ka3hIoBfQ9YTUmqsElQvpYhS9dpDd5H68z6aGvSMMDCCMK3a4blFyYNyPkt59+gvS+rt62XB/ypFY5/r1c9a0OxWOwHfjxAurL/OrlkXPY+DfjCKoka0pvwiijtfRUcCJOmb1aCOtEBOzN220Y7ca2Jm6iHPA1UaXrs7Ph9UoNlA47YtbmcjHhKptq83xgEz5TkXihfKs5kvRX7A/+LdM56PWMrVj1lq0hdHrApVhtfTVzAsp8i4LeYmlqZXShyDUdc2uD8tUdAa44uA4EtwBZYsPvyLstQswJefKsSkZHnBQ+zv32cJ3KufS6HZDFOPl74Dr7P+wDBtOkUbBrbS8DfQ+p1G4a5WVvUsWgtjHbi7yQJDFuTyABhHD2HFzgPhuXyy5iP4WgXvcxL4sOeYG+PF3j4IlZDamzh8p37wYB0NTPt4TWpIV+xStRX1rB44V0sFAq7gybYNYIyWPfyY+urXOhdi9uy4qt8FsJKCGrKh025GW9aYvB4V4UPNDcQ5Dv5VtLglUHD33BAnnwvGVa79RY5VyC9kRZxL2EkhSKBBFtXGpcxSm2WNPF9+BW8thWIvRZQF4r0sfRXzos8nNVeXSnvLHglCk8U1TOMHdjd1s13z4DsFW5mfzbI7LxaFjYloPrXCUlcKTxjSqTniDZXvJp6glZ2nMZfobony+7wZkjT3Qn/dS40H/6Z3+qweqoVpZf8eCfhjuW8rJ1bYTkeXZJABQ3O0s0ZrlPkhlOyjBjUycaPKJaWvUaUUwddizxR1UDncwg54yt7TFUJDc7mgbIGQgzNtgzGq3A2KJPQktXOER9Owxs1BAT7dFMp8497DlqaVFyeuqAW/azTxzDnoErzsnrcKyOTFxy++pyKwjpbv3VKEAmexyIARbdJmQDCAQQ5g1BCEmK7u5iJzrwPsQWA2/WJFxjebJdILA3SFIE/NUDT5ZczUYx8qyTPzKBwx9B8pwCE8SLUm77DcBCz+HpEGGI8jWfKIQDZryUd/d7lblWKDK5BrEuNVbF8LkNi64PhYaT70U4XiZQTJG04935NTNVH2l5vAm55apagoYYDUGKoP5qhRRycJfBglp3Jg6iz7ytjPCKmD02N2nmvWd0k0DbSbreiDDCbC/eLypfrVl1MF0KwRW4iT8QvpfRPjaXe33LXbHbVdtZG1PZpOnr5VhskpHL0vfbz2GRaY6D9kJpgCikWF+vMxFeK0F6Wu+PGP1geXhnorOdWRcYITNjJqSaakDCUFa/GXpJJNW+VEsU8usiZ2jeJqGjSccKbxtWzjrHWh5adRcOCuEcPZ3l4VqvIRPNTfm8+MoDSpu/fcmAj6YEJI1JYK9SCRdKYE8T4kjw2NihrR4+FqYHA75VBPrGKzc1RCvV9p1C5sPON1WBKNPTqd4zqkJiBqUzHCPKpJQGvURYakGx8PnK07+wEWsb+V+6kzf0whvzlZB+rJV3qx2c60INUbVXx8JWGk08tP5gf0jkrb2cACxTPD4m/7o6UXgXJGM/UlxMVEBIZAM4tGb4+8qmj1vW9GYjsCBYw8Bd0wSwLcxgzaFQgKa543U5JAg1mZwEm0C/lSfT428oepcAuonRG7YutPYSQZLXjkf4qtqTXvLWCj2qhqYGaLpIl+HkbKviuWytKbOo7UPXoixul504XqOlRQbUkazfPbpKQwS5Kz+8ijS4ydc7lWokc43mD9eN5L7DvJAjElKi6jdpta6JkXU22e3S3+4xmETIa/R3Y3T0B8pOHjnXroq60BL8ks0nEurMZqdvyiHNp7FW0W+gPMLr1GKW1gcz7GtTOPwskOcvULOMNlM6IBBkkdRp/VOEOUIS0t4+D1c0qvePTSK+QXn7N9pKwPZczGR7v6Z+GIiislec69MvT9EKKQNWaXVw2NCGxXnYfBJUPBNZStdpW44dZ6EGNxINPCEi+Jaq8EuCqow+1tlQWz0QKlg/Pp8cet1zoWijCLFI5fI2oohZc7IGHpKTkyf6W0du5Uiwpe5K5geDe19wb67qzbFermOYhIUH2wTfINgOlbtzjtqf4jiu6xSK46OzokLt0IthBXBb08mv0Rt057gMnv/5x8+nCEFZCAj2FIE3PWNNqrtnhNHo+rcmiphcq1AvHd/XoHdOn40eq7MP/R9MKWiGe1hkFNrbEoZxzuoCu/hhUgOR+5K9kCxjyfJiM431f4f6Zzb82yM4X6NoB9OBIXy+tmAe8SXQCST16/x9/5IYVzWtbjlEbSQrBXXRopChz6m1zujmfMz6vWYxaAm2q3zoDr4UkVkWRedBXQeXQK59xJmE9717S/8tiYPFJicAVR5syEg3vAuiv4B5B1ncuBHnXpgd2UhAF00vrmHgHrrtGsiB2x9t95Jd8ykmILko1e/HZXJMm4GoWtZgcLEr6dTHA8+vznhDGnlpzuljn3zC03sLq8VM2NJpZ5tsVCMJKhZ+8MqG7766r+dKiUX8yftrTLe+r2G6j5wW2q1thcx2YK1Ir6+sbLU9a2tTPnQmLwSU7Z3Id5jNBL4J0ty/tz2bIpn+ytn91PWj8inffencDjK8p6RJ2SRxz6+mwV9ief0HjyPfx5Cnox3f7mG+VvS87ZZKwpfxj32KtZgfBkynqAha1u90pfhPMrlB6Y9uxTusJxg4cdo2WZTL3lt6TqinjoXki5ZAnfCKOWRY6C+3NrnxZeuoghHIEaLp1AYUsqgJefUaCBvOhtFG5W8vW9sIVWQQY6y1/WgJch8S1asOF2QJjUvgcXFAdXSRiTC2vsBLaKVTSRtv+uTQFYwyUqKHqJ6nwgThXowi5s4eB1sSHEizfogaKwzlPOfE8SSw1p3ssVISyuB2HtCr53a5gZqiuZHy9sr/NPMyse/0YYTn9QxOzf4BxNSXEDeKmP3ZGbTu3x1zodH3qkFYoaoYMoLc5XvN7rv/JmEAaQ5saYNYeDSYJYNtUTxlvPAb3vBGVIG9ZXuVtWLGF2gVFn4HIoqrVyExNnxSk9RsQVmWeBohDOm68wrR8TdTyd/fkvjeiDdmKoXLlO4vW1OFuLqf+RpK2BO1grKCz7BnrrWP4W7tgTZmE+4aTPXAF1hrW1lqZFh2l57NpxLimoapSMFrLDDrxOv+wLnm0YCpGF/HkmXo439XRujmWM5iBdys5g5Ip0DmQlZg1jcA7QW6QFW5gsPEdOcAcEdQeZLAUM1TPn8lllSYT0ndnyTukX3WEfVnn0YNyXM8Rpd7goyjL8XH4roZ11T7MHrrHmVxTnOdfWUlESvoCrPxj8RCVeAgir24jdsVVZAN7/vb3fKP7FkoFXxk4bIf3gZEmyvsSDMF3X5xVM06TQ+ms7Pble3FnxmPPaTG/QO6UQyKQxv4GaO1PphISkJkQidK1mhIJpmmrpyiVtbXwlHQ4E1jqNX+lWb/TjLYfckdXMR66CBu3T2fYPeSUcGynC0ox4letqpQHiATjq6DxsXSyYxeeEJL3jRIGHl2TKEn2XPJrhUyUkyK+B1iU18XO6US3aobNLDHv9wCPHRFcXuvlYrKdN7MZTcHGlj2L3livqZf2h0sUXLi3HnRALNc0G9FGFhbbKxRds0TIFguUTDiQaPd/TVwwvJpEhWdJlxa2FNU0Vr1LqCVH+tFLLgjcsOkrjfEy5kgEpA9MPkiSmzGQ0DsB+fEvqCnZbP5SSSuXpMrFXDlK3bvXABGe9jKtd3CqQ+VINbchVuw2FeDzlUSIbO03VYxmf1ENMDEHSlglrmbYAW/R8y1nG2Bhn/5Qb09y14oYj59NhiOGMRIZ9GM+prQw69FKpVy2xWuNZr/6AEhxIGV/s61p+RMsQUnxiEvq0sFdbqNC95LlgxFX5J9aCgSGcQE1IxtpGKNWEERVDbBobnsr2OdrwV5d0IIZ8ixBsax8VtXIl6ypdRH9y0dueY+ruxIqgQ4LKzriwHHMQZn8SRhaFZqH0doUAUaQlH4JzaGRs+q5qx4/Rr85z0+ep54KdOeqxXjmuGbUva83ZS+FgLswdlBtwcIU/GbxiH43Y1PreV5uRNq1ywRt7bTBj9o6DV5y8PLl03hWr9wr/siPWxaVgtJZZ9mEk7UKLZXsXNCMcrotyPUC45hMviRM+5TA3p8oE70x+/4YtylnY9iz0c3cfwxW/NKxSyx9qSeJQwl70sP5S9zUyRvrIJd6EYe04ikp1i+ScZVCHtqOeMXq/uOjlqJBitQe1Xxih6nCRg0ixOYzxuZe9jwotWcRmlZanv8q7qBNDmn0mEd8hnT/qw1CecKLzrtHK/+ymUwb2NiELZSHi4dKenQp9g2n9i6wI5A9xv2nyO1vnf5tnxrsc5koLENGSuhB5xX3+QkhI8Vp9ZPHxBIe9zUWqO+yCpaTKQQHUREYdOxiu6VRvzF8rdEMOKMOVO789zPpGP3+n9G1EeTSSfjUvtFW6r8uwb5ufspqwgbLa08JIXWnqWOyAdTXEDgAV2E797+oMhBMEUIlkHseC7gbtrH+RAGGPJ2Ye8KhRODdiRrZ08C6W9JHbZX8MFcA6FBM0RfMPrVJ0Z+o4myYJPRfZMT4d0YEVGcfAyvgzq4z8T6N866SWGJ5Xpq3GX2oqwJLRgCa8Twf6/2FzJ4uwTb1CHGplR6s+VXAjdiQVGVgrkRBdJ+7G0b4T23BwxUPSW4sRhzI0TCajoaJNp/pAOc1pr8wH7Wsl2Lg2Mz8fP/zgNktc6nSvcdfdIkKPzv82kZHS0/aIw2mtLNxVaW17TQyMcSjlJOm4xx8FmXZwHkCXVl7kRDXHAGsR4TmsE5FLf74qgwgYEW28tnZp7Tw0TGjE+ibVaml00aWmeeJRqZE3ssh1e4MprruDgpwrbnM0Rnq0UclXMfRXkqKEbxrmP2B8gGidszyHBnLFItcyXoc3E6gO/99mzuiKJTk9Txiuxm2GZR5DGZeyrGIGb8HQf9CYm1bRy708hS5Y1tFIPG7lGoOEpiC41Dd+vp+0o7Rq7MWf9A2rD2x2lGIDuNB1uc3GsqJmy6M3NH8Via7wmd+hSfVTkN7r35++wzCDyo6e+FuQrgr3KXEVqeWAIOgfv8rLDcj1D/TwxLyKjnqUL0BoX1ZzrH+FSjzU9wPufI1dKRL4cBd+ANS/dK6Gcs2oUbTiXiEbw76HROfpi6HMs0iPm1dpnOdCBVGFji6ySIzfrFrWK0Hw1ti25SkfHhBoFtHA0CrnkXJoAukLf69+tbySmpSDwMR4KUfSlqiGcbRtDvTPPZKXEU1iOiOxxKNpoVGcvaXh4mpLMNhGR4AaGbKxM8Y6eXwdD9UoiUu9HfagvO0TQ5aRrz/ZjCMKTiRdykpzkynMzyKDViDdBlESUN1XB2viklY35N8eL5Dq9lNB06ah1cRoQ2dP8vqYKv4X31xuXQZTaf51YbewLl6PDmCg991UAyGpJEgtpavzk97F5bzHpa5G/ySVtFl1mXQyrdYczbHi0dkB0E0O44XPI7pu8PDPM1Hohia6IJLUmj1asE7JFWozOiW1tbXOAwup/kT5q8/xPr76sroPk40zY9K6I/M+skTgYSB1tdXAe91k0rOKNqP8SaJV7KwNEJkWC4tQF0xzOyy3xPfQQIRWSihiY7teFY+XVirJexRqni+BWm4XT10tNrnXwi+ZLgp6noP7zfUnDbW45EuQOTekhSjqYebJ4tICFLwEOOrKdy/hrKJExF4ug7Hxr+sb1y9zKRjUVqgLx59Uaqev19vhR9/S08WkIzTjT5aB+LkDaTqtIZzAqF/zZj7F+hpmsm107OZ5SY621hoT6M2f4zGh9QkjUrGkY+dOHANwYT9r33jtpWqr+ueGAvPsQYFhtWczpvGY2nuTcNlY2l6ZxubDbnAgguisNqfFRYeXWe/iGAsdtDo/PBWYv/7fchnM0Uh2N+od4wGk/oNjpgTZVtWwEDhG/du0SrEYl2IXIRqycncbgPH/dhvbuaYJxgBgopZq+pBizZ37EmzUWfQLLfcBGXmhUT1sMVQ98cPfM3Tm1Da1TV+U72Sj9O82EiyD0f3Cw+P+Ajse7uplnBIOrLnZGBsTL7Eam4eRxcgwITokjQZ7wTx2Q8lEOZ71wf2RcvgHj/HwFgQbNcNdTYIVXUC3s6GauZsI33I1yisUM1yyB2g7boGNDsQkUiQMMn7vOpTqQ7g9pK4eTzq3FBYStiE9GEO+MSVey47APMnAh2c8upvhrBiD41voZYvUzNy7Q28Y7hSiFrzNgRgjTCxAFcvHwMRguVLob0tW65WRmNZSP1K/qUCApJdAnwqhZhIEFIurm/pv9M0sMiRuMwiQnLKAhX7onA1Bz9CGCDoruJ4kVqxCH6z/xeDR04uIXMBE9B1Fm5HGqZc+B+UuXyZn4w+mzjwrYWMeDqhjCe1XkqoYrw8In+cMQw9Z1M3Ish4+JbaJoBshnm7KUhhcg998SyFzuuZXDFCsFG70uMT0WdNcUA2BqrMmETS9pTQ7KN6zBl5dTtPc+IlIJhMTT8KZnmFsPQ7oL+91DW090ZNEmEYr2RTPuRMLpGE7zs5jdJr/cwWY1pP8uR4EtsYNcEc3OeqH3yvNvr/cXA87RBiN0WMKWl1mj8JDZhhy8km8Z5jusqCtnZqy3fbMvMKYG8iy9jgaOJyyv3yMntYVEbIe4CICTzxDRWgd6qz3czD2LNAEZHrr6vqQirEaaBQ88Q/hO70OY50M8sCoee+QHs2Wpjwvj8uihIcz3M302ZEoLWtYnZRWsGS/Hck3rSIfLLUP87uwTyioVJ8SuCS1mLlksBMQTFN36vWXkpd2UpcpqrbN34DMBWs0Dz1aWYpZaZsBZ9a/Ef/lWpgrVkYpA5LYR9LYlcQrtcVVYCiEV05htnqPTArMWrr59hn7GJBNfRAYUILuBLHiI8x9FrFk2IYyPHXmI6lO5RBuW3FnMwyJYR+CiezUU2QFzFUYx/miLLlSGEdjF/tt2v28j98j2+HVI9McV0j5yO7lbqXPfMtd+ZVGl+yoX0HjgEzS8opAEInhUkTeLMxVeygD/4e82vrOOa5w0zS7r+n0p1h7e9gyqfDu1t1AhlkawX+Ury9Ig+cJG7JFOVVmBVkYFJ+X/bvPb2nYwBe5v6Sp76mQxtmvIClTyNaWaq/ECq7lYFJ5bMZw+/k3tiBaTaUqcvKIJSbibAxGE32YCX/77tgjPDHSs1An/PiRYdNqA/pUEnh1afy4EzNJh/0AWzedk0CvVl1BWxostJDHLVSa5YCsJrsrbdLvL/6qe6EDW7fGR7SpbiNTitgtwVvwCrfjXJ9afj4ynmK1ZRzKTwTruFCXMGmGZE4WaR2ctQG4TUsCN8pJllGouGXwAEYMIRjPlRPVDzcBd7NZjzJqPknlRw7uEC3vytDbqzZRUodrNNyiTQV6ZnFmZobnt3CNKqYSZClaRRVdKM5P9W2FtlEGCtoui9IC9QnZDFjyjaDf47m03Vm+GTY9xinN2vl6efSiuAVdyr2M0DEAFPM5fN9PdY4FFkGlY26+HKw5ZgQLlOPSOuGqk8v3RrezrWkHFpopMNfDPvzYaTH6hGc88FLVt1J/pxFNGyxfzifCTaCK+6ZJIsonigl3kzw0SfzlBm7iDwWxbuDXrzTYphlqj2Uh2oOgPPsPtkFxAVWP1lBx1ExYZBbJsycYqjNdBxHH23ixTzjIjhbUjofgM79U0bclj8taca1f9WImTq9y6cEyekLHVg9pdVLgisiiuaXHy3BiE5m0fCZUc69r5dReenXKl00sNuVqIKizoJhcHDrvUr38KFgnE2AnSle6kh4FRLlmehfpU0mH48pQKIzEPUR8DR9EELJ4+6x1F8BZK5JHXguxxOBx68xyRbpZ8Z0wlrIo+g8/hkUDRU08w0pEa/7CgLeMmbIy2vLYqspNKUzMcaLOpe+6WeyXR8akCin6jbYejxmDpsQ9vEF0PLYbW0nCrjyX0jUsijIXgdaR6FaVRqXq/K4SgGEXGAjKZ30pP0eyo04/C+wlNSk5MF1bMZ9Znk9qVWbo+/56y2kG0igl6gP5AjthnhG3Y8YjS9iUIsDevddMOW7O/g5AMHYXsnVly/tbJu+b4M1gBe+M36xfFRubRB17OhtBjCQ9y1erzhCnxhP3qW5UkUYmJ41d3A9pcyROJqN4txlBKDh7TL5x6apJNOPe0VR7haEegEwkET6I6F5kuWz5Q7jtvc0dNcpdB2ariIF0GuqSZUyGLj+8cwrtYOjWYUU6A1694HDLFcYKi7z++tg38bRqoofnf8E+kr71gljjF+gkQuoURMR85QlT6yKhrcS+Jlm8feLjBhvADxAKtpMFesJVURiDi8jmXBt81ldOZg/niZF8CXS5PIx4ZspojVrbwfGwKqK3D46Fcv/w3Oq2F5j578KvgmJ9dbK2nlTw7i61604MkRtjBxl1/z0AyhDtG2Y0A7/F/ldccOPrOhMGV2tUp/6tpER9s8xZEJLIWQy2596Xf0OTw6PgbRov42Jx/9AgewGufczm+CUlefZg8pjJIY8lwQWeZspU2OvmyuU6dOUkyjefvQcI3GDFHrjcv4uXBDqjNwzTuWYUlIMS0pNrtairKr4URam2ebpas9gmsRMeyPUcODGsFkqStW86/Fg3WDfvPrJf4INdQlLE69JW986ZvkaIpXuTxfbM9OdpX1TU112LBiEpnrV/A6CkWWxp8uQ2y/uoluPeZVA2NCW8JQT82opwLEEHdkLg5hKWBuh5HpXUE7S6cezYoBJWiMIFNMhNJ/AQBsafL4LpyReZpTp5CT+EFwvZvOKEo+7sn147Q9+hPnnSg+ouvtFUK/dTnVKN2JO1mqMPzizh9XsmoBO3qaxlb7DM4L3+4NK5bzz86zCzsjkFL4W9XE77U4LrAYGe/OiBXlYdBV95Ngx4uVYE4IqwrcL5QBgzONesSvrafOM3h4qj6IWihkPkCChC/cnACH/hjt3MvSPf4I8Pz6cPxhKjdl+HIqSpwGVn67vG0c1ANPtDHiuTJIwzB+83ZxcfxpLfj0Rnrh4hZ3t1nrVv1prJGW2+wsJyRLIYF9jJdyuor0laiKYfukIlnGIi8U8alLLXkxq4rXnAt4QIWvHyOfRxrKC+8dA6F8znjJVURgfxwHcToSf+XFlRZyDtpxRtcqUTsg2c+DzJVLn/dzekC8/uLX8spowW0HB6N+Pwk7revoVLTmG3bNrcNm/QYMxXlHaghzP/jUbhHWDYNS9jOy55sGA2DRslhf9zRmzfsIv0m4Ajnnx3nht0fRB9qHLe+lfZDGWMteBNAGj/VV7pPqkP0myd4uW8w+biE9+5B7AFydshh0ZUWAdm3bGXhGX2dBMitF5eE5SLJyxXUlWflUIOMNY5ig7mhvyD6eOkRu8IEIkv9jK3uL4QbUk+mflwtS+CJUvY9oAglXABVZJNqwKuvKzfDr2IPNkVuKRZzScT4Ck7DSTelHzVLekZj8wIo5xmnzQb+5vnae+jswZ4z9XSm61b+07BV+QBZUBMWGIbphau/TkpakSMSTAVTXI9863XiwPeBMtRYSY6neGDTOAHcxY0YpG15HTdajzAT0w987aE1Ibv+WApngyrtgn5rYhVEK9HYH00xP/kp21FEyPoZoSit4guSx8lIvBgdGp/lJf1iTYkrOnHMqFnJSE4Oq1CAZF93jV8Ac0rbIjKxrpXj/drIWCTowly+0WRJiAKfkflkoO12CL4pN9PFBhg1o2CgZX3aDnKBCsKwfqWej42fQrW3EGM8O2WmIKsmgCMMOGqZ4aAF/mOEOFXEnxLVPQgfFCRjn7iuLFxj5Mn7Revm3K3qYp5E5LDFCqFXFupH35cD73ZaGTJlyP8iauoQyEXBZonrAzWFm2/XQLCy+e5NKzwAiOSxy1QQyBAmwi6iIwgPMV9ke8jvKIhxC8ZwKHqFfkBiLBRzwH9E225H47dIaoinuj1ZQ2X0ATPtP5R2nk6aapE+st2pxlkfUETmgnvGbokcdp/skwVwQu6/9OmIZ5rOS9VBzNAxxkh5yEHNylRePXwS5VpTUaBsvNCGvkXKbgDOjw72lEn0SPkvjbp2jIJG8mPFG0H9fjPB5Vr8TTH8L1od3Y5HbAXp/uyDDWyWwGR84WjSaRY0rnPgSCzrHzGhNEZNg/uK8gJsbYulIrU38i97hTVupa0Ruh/JzNzGif/ksgxzYixpLyATxJE1nGh+DWJzX8RIIv+S+61mFPwNDqulFy5c63gX3XYvahSpiK6Yr74U340GhQf7ItiWmkKOeeRFcXZqcZn9c3xUbCK1RDhBBvc/wR64B0l9q8nqQzrfQqmQWXLxTh6wu9OdSa+0OzVYHbCcanBHPWsh3YR0Z9QvqFh8UzRCRmZXfKnuhhYa5Ecet6K41jYOd4PXuvJWl+I1f5ssTDLScE/o+u/Qn2uDKkxzZfTWgzTH6DqNViq67/l+YYpmp0pj/IMBcKLfDHmbN7tnu1lNEcdYqYbalsE6936bPAtYK6bE7l4pacljgyYbCLHFNmBqVdPJ7bp4NTjMpQEs/f5VEBfy8+JAbampJOlPKvUSizg1XvLlpqdj/OTL7L/1F1GGDyvhMzvBS9YmoJxZdtuVNDRo6JP7b4AtEtQN5Xi3qRZF4PK7S8nEVbcUZQXxeFFU7B54qLGyrTDbX36f1dICTu951Q0e2/J7J4YJ65rfbOLOMOz9ItQ5EsioxT1RJ50WM66HlIXjnJ1U9yOrm7zn7gC+egR3MrBMMcXuP4oQjCZYr/tYh9wq4X48zJJsK2mE7COhz2YPetLsKM2VxMRVg+4sMTN3yZ90KbV5uQIZ8clMmKHC/a5EQThP6+wR3ASAuMngzJsTOGUPXNzXcEPtpyXOqDqAriVjC41Vaywc8p9ilviFb+NrsdGHbB12be+mNmwGKUQ7z2NaFtzZQXR31Jg53fh3JetU9jIL8OasGxRnGC91AHKgd+XfudJ4xwJD+2ZRr9h6BiEhggeaeeUKbf1dqYPnJ8PAjgbMFa5AH/53FFwbruI0rJvQJ/FUWSXl7rCMzZvKGDPYE/mGUqPKp2LQ6fYly/nHvuin5+8pFf2rT5d6xR28fZ7BBqTN+CPaCor5+eerhhjd+Z0DTUbmGHlc3TcNV83cCXj871v9ssJoozsXDMwE3m9LUF8RqTPfIiTh2ket6ws81pmrV/1/cKppD7/CH9X2rbwUyJ/lobY6mIWgCxK2RbdE2Z7Q8UV/hnQku3Nw8FJr0BLS9U6b4CGAQkTeJcHiuMkoWTekyQrp4amhbu+SzTAvJYwfndPDH0aC72x8DodjuVAUvMXhsJVH6PJx4onkzqvo3IGpSpnXDN1pTOEuDgFLxTzQTDZFVOmJWPibvPMAepoO/SH1PigN1Cf7IBbJQlbGoFmJMdG+7ZGDhAPx/Y7Cjn2xCO02o0O4EDvaxm12zR2PXwqVhj4mmhFErSRVEzzN6dvOJY3yw37bac2rCzBTruuylbKK+4XhmLFPy0QVqCTDadKGD3gwoAvudyrSpPTcqNInloP8DNo354IVQDPU4VauVrEl1PfQP6ArqIb3j/V/D0OttCJrUenpkaG+kK767ll9gCoRLkvJz18tBaJavBkjtvKgkSZQsnwYiHoYrKL/NmvChHjFFYOzQeaaJSs9nkDjqMXQdHCyCjQk+HHMJQBUHyGfMLzN4eH1eL0231A1Eo5NfYWhvpDtfvTD2E1hmp20guj5bIrb3PCLq7LNE+vypcS/TD/YT/tKaKHKrDHBCqXvjHvGAp3tGjH9echjnzM3h9Lh/QFbKluV7qn7hMImski24IFNmESP45jgwUc7l11wd5KRbX62R3Q8z8KZ9rwxzaH81+jbg7mxMnNugJTIUuPIy0YIGKIY6+hup5Te0vWtYM2zPO11M9vmFElyl9iTr23Qbo2KoxIcej1ZPcPQVftffdk9nAGS2Nj819LVQvXd32dZcejSWlIFoapdQ2TZlKIFXLdUtekG7LEhsAA9CSbzySWZFUr4jUMIDbZX+7g9yJ5NGB1WEMbaA4snaluvc6rqzmhr/Wrr0B96Raz5hmqeD5ljmyF2jWo31J3rgk052FqL5jz4LLg2xLufhQc1f0Be1mtEHxcX1RlFcSKsmyv0kXhX/65xlZdM7EaKvLp8eocfYkb1NregyY8yK4lZs+pLrVmIoYAG0KLUWkywvzo1KwpunOf1pRN6wKTuPRxP+xX2i6VL7gPNLRf53UBWFuhI6Jk3iPqeublBs0T9ZWgfnG3aKBJHdvBew6RU8jG9qFO/M4ZwxJSYm4mdxMtuHtDb2xJd3gph6VjM+LPFKpPhqEWpBhHyMJQ/qEby0rgIhzicgjUNgUKpgjRP1ZXBGk/5/SyCJA6YdE9nb7Ch0+gDkkYZdzdAfgOB466B5RUdtoYk9PCIFJ7A8tMz74pcqoIKCGdjg3+JrwG8vkByWE5oUVSBWq6R+jLyhwE44kDYgFJx5qFjCf4WVphcrG6lw3aSOi1NU69oGcW1Vi2IwQgyySW7BWOVgvGMtMeM565pJ2H2UGUuZQW9Ep9oqBWkoFBJ9Sf+jiV4hZx95zQ1wFlVdfuXxH0rp6dy9gA68G0h9S7SPjKuH8YGEIJkP/oAld1Z+qQZNBp7Y8Cr2E08KMmffmMDwB0wOSb/LZt9hGer1zDt2QqSXZ5RGdA8+3LoK1VEkgR7eKt3l32fI5C+21qrsoBFOBwgFTjvWJaXgpbu3iSOnMXDbAr4YlTm5YHgFkeZUb6rIYlIP57WLB8IDPK12sVtzmSnMYssuevWhqF8/fvkRZGcfNfwWFe3qMO8DwIJATSiCZkM2i5HMOOBOc+2Unj93Q0cyNaOumirAP1zHoroLjxyS//AarhYuM75OB4MuZinn/YZht9Av0c0P5PsLFgMABz5/yCos8lhhyahgnIdBs3bLPDbamcKAMRqPpKnsAJtDFPMR4bVpXo99n9JFfL7ICon3laGJMwCaHykJ0qvye3Nb20PdpGCxEbc3+hOYp61g8r4gpdnslsNr2ZhZhkmXqR2UPDDaVEwAAvUjIafAaTefMblou9n1gsWgolNBTVyZVUwmS6FZQ19NVOHOAWxhtV6xjBpRixPdkRk0Swm2oh+VFQ/2o5kvYEiyu5JhNi/OJrw6Nmbm6YANdJZX+fAoXboi6xomuL628BU5N4C2ImqPp5nDeiD8nHioM9zqdsIbogxzMfJM57/yBhmdeV/vTh+RtGv0Sp67i7kpVq8W7hXc0qnn5IQ93V2lYHJK98xo3fTlM6bpq+zW6fne58ArgN/ZarfYzBQuUgS9OUXrzHJMNTbL7peSPgMjjMUNReW6nNLw47fMvZCQg+f0LqgcKlYu+40n1/rhh43lgkWhhC4bDxVAHnAlnMCIfGIx3utr35GHWanTk9AdHBtYSGacWBvZvEoBI1xLecaX4r6pYpUCKU1ozJoWGAXpfZ+vYg52W6WY0BBq8H1CybcFkdrQ2qZkhKQQwDus8fwrQVWxyz3aCdvR43xv83E4fz4nJVLPvgtSlf1GzfrmFtlcUEIzZuALctUMWBFOd/D2BPe8hp9hkKUaDGa+bo1mIelu5yYNYuqIm6S0vUK7hlyt3TWyJSc/6FVAg37S9IbjULGLkU5OnUgYeNA2GdppMbDFLKblEg7/T9XN3a7DMtfR4N3MU9W3FgoaGEo6F76sgjgU+K5D8zG4AHYwiA6RzGA13zZYITMO9SJ4PVjYeVNvUaJBRrkvhVD0nrIUtj2u4E0rs0KWlZ0qxAdSTL4mfN6iIZtP87ob/zAN8zb3pAdLwW8GjkPRKF2yiihAd80rNTWT61l9zbc0/G+Usl0OMnuntk1d5CbfrFI7Y5FSgNyQlAvcUXFPKp7enbSNnDvUn6fVoEyYXmaiiLSNqS+ErRg359FNeW6cicMtgrRY/1F1gjshVFK6DIr6n4hmRFBniILBffC9jisERZgTr/eZsfR04RAiximMYQMjrgdZoJh6lvLHuOXlMZ8siQFHs8Ozael7uaJptdzczEc2PM/PwA1hd9EsbZLApltm2OmGEjuV4eW6dleikPye9ZGxqdc9/dangg47yLJt+xZsKEpSSKYA8rxXvgaFQ3I/IPmgekf8P2N5XXCOr6eUOlDcmJUbBa3O7gFLMrqS45FRRUxYfJ0aOpAgO94NGa+dC1kKKQ20emgKjuDlpDs6HvBKZBOe9BumHnKfSKUHD7kj57yXM1pdi5CnPUWyB/wdieEoNoOEzimg1PCCQWxR4RVVyUPsFxQBlXtYIqprWFIZmozTX0E2TgYva6PDrMDljo4CmSR61M7L4O1cIr4Nyy3iFIC9OoXLMX1MGLZ58R1adlDbCa64GAdW5p041r6gy7I0pLZGU8uxclKtUSVYng7fKBwmrC58Iwkw+EIf+QZDb+L8rXQAxrHevw/X9QWJcydT9fnkt1kgRpNn+MqUYUQye7B2JzP0raEeejU7bd+E+ibioPm6/v6pymC4VbOAZDxt1eJFdJhVYIpJRW9Hvi2WLhFw/fWILmV/qcIdRrvhGWeKLZ6fvviKT+ElOyldxbdkw8fC09/gfouywJXfykKFi8AHSOXt5ILjPsJNv5+f7CRvVyNbVUtNoM66KUK2CDvxEaIQVH3p2H1jyT7qNPHTpsxlB6xHLZ81CtQz9tiERcxGF8upzhjqNFllywI8zGH8i0fUM2VM/lLJ8xj1AKSkcu+BzNGaCNUdZjE9ydLQHjgEzYZnk5zuPqBYg+cunPHp1z6Z8P1I+xOB/FCjQ2ywEWA9xffME88QRIkax2QWSNmLBUNWEWVhecza8bYjrexYg9Ft2kOF1/56XVP3y/JUa1S1cFi2Ojj6xzFjudOHaqSxGqCXTU45l2FwOPMo9k6oW0A+KWLZsX5gk1irEerWihgfuyeu+caUAh1yVtOqKTHhX2rrUXFWjLLuveKg3ts9JeE4UwwQkRyXLBOkotSrjHpkvAH4NrMrYvhKHHwRHdD75E0B8uYX8WJTUEXsFC/dHkHRopUEpoz2sNhGotQQtHqUJ8N9MjGjMwT2NpFhjYMq2/viRS+ywMj+3gJTrLPaD5CSEMHX6vPAEb6snNjBx6VQhb6vcVrADwbiIu74VWFOit2IpPHZHk+8OkSswYKJoEp2tEBC8ewZrlwvZt+aisbjnCPnHTqyHFhpLA4Pl8fIJsRgcASp+Rm7ZT5szBmvpIDIjfQ6Bo1P/GgVPoZMdMyUHDy9agmugr/CsrSNbFsFg52txYElC44gO96GOR6Qa56/hTRRA47WRFPsZ928UWSraVrLnM0m3OqjrAun1nyrvg9tC/0rQ3onNp3DrAOSyV/fFnNEXLKYZrKXP2P0vskbefTa7O7vVLL3adARPzW5CBjlBx24t35w/5uMH2MYw4nxtRVtx0RcYBOXz6mYxZ7tndBU/+P+BKQL3jE0LBFGKzbbIRz+0VayZNy+J4F7IFAAoRl2yBWfJ465Ts97NXQqoyQk6m/9X1zr6n2wrjAZLGS0oEXin8HYuw9bTqTX/DW/+EOW95iFmA9wAwJIG2/bSSp8lAsK3fmtpFbd+wjj/uszAHswZrdnwHTXfivCK+LihEyOKBfXJnrp1KoRDnfgn1lnB1BcJB4G9AtcTeiBDOE1IM6sGa6yLL6NsfLPxWsMpqHtyAIYJk6iu1IP4ZCntOJXoeS2rlvOg7EuoRVp4DFY0T9Tlb1Eidp470kssgdfQeEyzQYVPTigOdaW0VkTMxBScLLSlqD6aY2DgCBWLx1rMTxuC4Ey62Sr/QrKVca3bQNWx932NNrDzGB9Iv85Bsjn0R8IBR42de0kXnottJlhKGwgNlGDaYL90JBGKGl1KiX/vupM0SOEI+nYEt6xiWRpwmLXoN/O0ZVwCL/IMJepT9Qp9lD2Gfogx7BCKmeXy6v+ylRcAD/cd3VgD+nD5BdDW1w6mSBXA2cgaoI53SD0CfeOXyGdnG9uJEe4ZHdIzLsnXtLnk9w092f6vh3HGCxaKjH3RkHCRup3ZTgXHTeE4YOXCw1VIaAUz6rgGwR+kZLpZfZ3Tmlj0CoCTDgf0HYTOiRXBv04mE/4bn/BxeJ/rdFGQOFxXbpJ71UqtMUGHSNHiOEoL+auJP0oadBgtCHbsSsl60sUZ3HzjJoS5QKaAOCsLfc+IMtEUktgWqSHwP/o0mY9tkHJGHSIgac9VIBoxg55wv7BHaMm3WUY8Sjo8i+aZPbuFMGwLI8+JiZ6qc5oiQ+XoRYFmXXO3g2rbYAieYD1L6IZDLZX0bqjnaB2U+i4sQrlm3b5QMc0TL1xnUDCr7iZ7qPPXNv2VpjulAqXTHUlBChJHho1wZQEKyYtnn8WuIOr3TM/sowlaR/rnNtLMLsF1XYNVq4/Perx1YtqJytxTnr233at66x2L/pw8a5z6CA9blaE96df0pgQR5YF2hLPlnQ3Ut5Umggj98iUE7Awr6pXP+2Y70oOTQAL1pNQoj5DzCkRCMbrHxYLoU3BKvGr4xIluT6WCRDmP6A2zznkhTY1ddzgMI5xNxmNq89MKOqwJToBl4cRHDsY9Pp+wQ4DWpSFHz/lIk6NT62Bsdqtt+aY8pG1+4cWCO7rn3eyttNZiP7mwiUMXEo2pUWb4T6GPn4qSlYl9ECnMloVvRNeQpz4uj+ckv4nrj38ENIFs2Szja/DbHAtdUi78bmYbeHLkIGgc5LQjl6bM/pEG7ddGf8N/TonePpqary480BxXcMVsRkj82nsC/AvYp/o9aMsNDcb2Knb8R6XWH/aWQrRhzVgurFWW/Pwv5ZvW9xlQy/Hr0PVWucWKLP25MVBTkwIk048RyTtQKWpZlUf1sQ4ukhTlO62pHnR761CSPfW6WRh8GKsvKPDq0jlz+jcm+pq5UBMrt2njeG5lVhJGeMSEc9jYA+lUPr0EcttuQapURfP9sF9+z9LCqSe3MQ1VpawPH1RwJjRakPhH9lbsnZ2Lb5ooT+qp7mi8FY4ntxyehvQEUX+mnPjtDibP1RysGzd3iF1jOe7m6beCEKmuTZSdw4sD0qm3ub3H10cW68fZcmKoJNBeUaSgtnyQ/YNYWhfURgWyefo9uFsVAuuz3jMq5EoHJTQgLla2kT0mGDaJcIotdQMmcYqZXE7FucMTalsQXXsV47qZkAJj40gozLZEV0l+Sj1KhWGooJYN7ml1JcMMak+88RCov+ETrY2mo10RNNIpaXF/oi52VMjfK8l8aPGLeBOb1uL7Qjobr0Rbzv/wCDHvKylSj6JLmB+K9rtnhztUpTresa9JJ5oWMwlGA0AddUAVJB1b/VUFliH/7uyNeIq+GhQV+UtXgB+cxSasmG1HT03lc+rK5qmtn0tIl4Bxf6xeJGhrvZZ99I84EPlLx0iNg08zrzdwvWq0h1mWv06J4W6Cs64Vk2yAloMv6grzH49o/z/0tOZ7rvZEhZs1VmXZkqCEqhxwUXwfAPOI3XO2sJRy9rS8aJpsP5HgDi/oD/Hapc+9pzVO0Lz+w5BePQlcTECgVWV8+rpeeys0R7yoGNK8QKRwwElh+TaWyC5T0IGRsLbgJ0aiIVMDePag5jAt6XMNFUzhb3I6sm9cutTkR1QgW4Ql54zy35ipWWUccOqgtCCQEjff2zIewdeXNMeuHBtHlSr7+8S0cZ2Ec2BdeAWQa2EJHY0EnvtLmgLqRRff3SSV9b2ExT2spqgpQM5VfOr0gRG8fLdZLC93pwGVymmnXLuCwYG+VJxOF3IKNSgiT2RfR09Zu0RhhBvhA/iq08Rg5PNZaeGdW0K0z6JyFsZqnR9yRPwvTjmVTj58n8SBR0Y2OSAnFEm0QUSQTkXKZE5hP7G9BMS5ZoJi/PBmWRx8JRBqF3YAOiYgN1vjVjyuW9yf2R/xuDOnAkKBx5G9rRmlQ0cuEKGU4Ln3dHbsLWfHQBGP0yKezeqtAaTy/cQguAVOEEQZZCYw/MQC2IQc6ckOywBwpwB7f3U+TwVvwLpS39ZxV+Pr1pyopG+oMdXuxk+Vba356HVAE8vFj8qjwOHyGY2WH7Sm4xvRqlPIihbHqNPTD9bkT/9qYzpIDntMeheInidapEHKIq0X1RkHTpx9ek4jg1HouLvWL7t88BgqsV0QxsrQnjAraG+a4nshSQhanemkjrxEuDCUIweDkPjn1pvEaVIVfQEJ92iR69BLmqDYyRtDojr8u2PW3IzqJqlOo4iSxFlGW/7ryYdlvu8en57L8cV0DSyqooP66erfOimwZ1k46IL5lDmgbbMldVhF3T7IoRcw07Rdz8gmgQLfNwXfeWiryrdOic9Ki2vRhrDifF5dr2tPGQQSQIFvErzAZw4vMPQrBRp8gQ7iBA/ZKVdrLE0KBeAfBgzSovNTGILR4J1DpmWTpOk9M9xsl+h0W6hZfxbjRejQu0t1rZifrBuVV6J6Wz4uai1WIgfYJ+XR7VJP1KZfAKtuGOL66X+4K1QtzbdzWfN7uS2MR95z7BNDxVNbxhcKAAA7qBlmCXEQ/Xvr7d5vvkopAaX74BAt/MmGbkBuvmrcghzCpKIVPfRPstYMce6F5gGUj5SmWNQd0VqLKE1zaQ2o8RPSgJuu5Pxu7rG22ZOTbFG+JrGufqhcPGMnR8F307q+6Vz06Y7fvTLPOWUGR88gbZEXVHSW5rUvUyLAg13ec2cKTI8HxdLEgIpQw7J8bbJhbDZ0LUxLErC4E+X9p8k7Zbg1YnJ1JiGZBUuRRGqKpWs1JwgtsicUOuLPKvh7Dr2190Na+d+tXbZ1Ee4baURbdoUx/iY8/+wVCDasPQf+qFbY5LvlA90EwnFqBMs5VfobhLrFHrXQS/aRcwVcAwEGuu9qHun9qpYdQ8L7KWt1rrzYT1MNxHVgnr0voHq0vdqnioza9uLFjze665gD34hQp/EM5DF8JjCEaDJggKOqM0jiexAik6UUaObQVHtT2E5GJB0jkvo9LB/rvSGRMl/stG5DwC5/RoEdDYmkIdlIU8BPzlPw4hq09lnFvrj7rSAOiKqBE1TDZY8CcXMEztD8Q6x0QFPFyrMGN3chNx3OcVlrxJo2FX1U3jCyKU/KHjN2bkVUOKV46vvAA2V3RuHvKCp3LuPsu5PLIX5bT119VC2t5Klogtr5GmlW/BR+xIJHpOqaRGYbHO1PhIvY7qRJHDS64rGKrNdzQUNTpYP4UJ6G0ttoi1b4c+uBPXfu9qfJQurZS0lmPI8ACf8x7AtAS4Qey0cNJgHq8dalLDaTYbvfTCrNHwoGdp9turEYA9TGZTZ783lPjGDeVZHJh2erCTw0/VUoy7eT7WoHoovLgPlMxyM8+L3mCn+H6HE/hhEKdnI93mgCymAsGlqUK3ipqQJkFfEF//h7lg/BvE7OjE0f0bvD2xvE9t71dGEltl5ti5rsRdSGzGyrl3iEsRaHYfkAN6fKaoE2BMmJPyhK7dVRYEzU/btaFty77lopaDxptC7kMmhOJBfmsHd/YKEcPUCXGKInOqdHI6AV3743+zZ7sg/JbiyUF4f89ldB+cenK+1obR3k0Ffql9wRqgcMBvHRWsI79/hn6nqhwVCvV9yyZ0HvU5j20D33/UhEt9ILMBPEVRjNtSkzP65pBuc18Sh3ipmp0ktXUM+uFoffnyLOCRgUj8rJ0O8KVXMZTQHQTOmpkJ57Df8TQ5F2z2IlRLhgO6VHDR9Q3KZyGIguJsGmIOhFlDYf7b92MMOZDRI/OpusMEnO1Mwzc+l7U+Bh2ZsX6Dwg9LFdlBI2ze8l6ABNuBaRtim5dtt0PT78OQeMkVTkdcNgV2gh9ZYFm2jGh9GHvy4pQX9hNFccpC8BX43aeSaJQuqJbEo2c6vKVYCicEn9P8/qITEAdjLTuiEYb2BnvaVGYxO1KaKX/AIwwYVwxu9p9fLS4sm6co/eyvEy2wRVru/LLyzhI16LtPpG8Opxa/RGWU2F80b9Ap9QhDqV1MCasA+y94oM0UfKjHzVOAeR0HTFVsvpPH6tjnc3Ccu5QrOSlDRBD/S8XyRD1f5vOkkX7Tmsy849NJmO6y/dVlzm9V6DXocERKkrv7YsvbNJNXu8NdYzF2idGL6WyBAJR68Bp+50oKEmsqUIVHyW/HT9BIwFd6J/VN5OzMMDptQmp7UEsE/FuPINLjJAOLbtt8fvw4BNhxg9vmltIFV9ZzfnQtvB/7gyAdNr13qhQkKt5nOePlDf8aNvG4ceBbUv1dlIr1wjIviYMJazIA8PJn7W4ppkChVgSLOS/ZjloWDjCS4uxm56rErJfnvMuqYmcWRhZ1mbhM3TO5m2Hvsc/eAF/gg9RcGgTrL1FvnV24XoLmGSZ9fy7BvJRZRLAncarNllUkDVyJ4GxPXsdix1zzf4MrklR2nDcfTdmZq2K25qQYUSYcB1kA1imK7OxpHhveZEJw1rQx1O6G3hHEUdVQKy0BY+TUO1cnoqIyQUf2zNFR0mbdMrB+az3fZ7LjKykNqwKXlqGUhfbGd508j+eXROnxP4o66S3YgWo4QcDd+7LC8BCMB9cHHO2TdjjI+U19i68nqlY4jeS7zHUBpnhu/joM4GPf8Ksxkx2zCtJj8mp8yj3cROwsKLbjrBGgWfdztmpxLoHYlqW4GFjiAusDrOkyKxC/uWj5GrllLoipxiNk2iCWk3jiQKT147u/LJavXEr0GfuQZHegIovAkzJl7HaxgTJhcVg9cVJJsL5K7dX4fRwCF61EwOSo6b+9Ux4R5J55BOkbhoztAzSy49BAleEbF3F1aJwGLi9G1CO2VNzhHWBR19IBIR8D6P7EPf+/I1nmumOZVThDnbKErQfcsBLBY6JVs9Q9ZoKUirucD+YXJY/cMsSkx7WwXHvSkBHGTBFFvHDvaehy+S8hPj0PKUIYH3t9hwyTyqjFmA/hW3qrwBtQbm9sYLZgH8r3HkVO+/CHyfOYNK2a3JkdBvb89b4Aef345/u09q1VMA5RIvl4cK/g3fQCoSbx1KmsH0jdiah7BqLA4hkIr92YUceCMzJkFJTd4ebIS0th6ZwS86Da9vEeYPRLAi+zscgUWxVIUORw/xXiCVJVzC0VdnSd6KkVXv5D4I3sk3JFBudSpRkzW9sPZij98QlokcIDlilhvIIETprxmqF3aQ7E3l6o6Pi9l/U3aV9kZ0DRkYdLJ7kmqXuWWjanifDw0Iulg2DyDflZFC+/kp5ZM6eeKJCaNRW/spTaVcRynigmM2rFhVC9rB6cnAXZiqwoakSVqooMz+TijxhcAl0I0Y8x/t9mfz5xriUxlGNwVeNw71MBKXqgKCKxrCZzB+ZUmjJFKBXPs7JGaRUOT+4URRO+Onok6xk/HS6RDs8DNIPQFnDlz6SozUF9C3m8XjUkj848QdhW0k+WEGd3DThWnLZsZ0qn8424UBYiUvIDrd20Za36kwi3mZMK33fxqGtKrrwOzOBNVyOmlxiDnbYVRpNnRUcJ37PCWP6fJyE4xCFgCFq5mHBJxFY3hEI9YNxhE0q0FzbFmb4qY0AIz7dwRy9LDAeetY6meyH5vXgtsG2Cs7oNRDm/h7XxwYrNCC8RDh5o+TYXZiUqMojlZuOB4NOmYZ5RRbj7K+PTlkSzYrIhjCOJ2AprFMcCC/9J8hUWve0/Z0tnCXZ8CkQC5dOTT7H2buAni6ZmmScEzKAtI6LVmY50gpDtcleOfpOh4tVZr+AUJnxecoRdQ52EKQasbrXqhOe+OESECKZtzgzGQIMOB8RgFp/OI/En30kbV9KzfdHNKHrOSbl1LlwxSQcq5Q0a4GDhBQEMNoNf3bZslDHKYZxJGrcQX2Ok5zAvwCQInXkh/A44z6fjDx+xxi0Qq9ZdwZ0/c8LawNYZG/6iirLk8swWp7SelkqSMPzUKmAw1qOFawXgY0OAj+/MyCyt6btXbsFdsOIiBcKRrbdw6i5TPOyO1QUPPgFkuIt4T1Q2g7CXQB1I5TtwPs/PEs2a7VyMMGG3n2VMDDu5/CBWgsWc883qRseijkFgSJqRuCx4cJkzYQvcK73QZHPGZ1NMmMjA55a4RiTWvUg/H63ZXV78VWPesBBqlYD/95zO8z4JhByySS3g4wTIJsxbKMoNonXZ+MPjcwOFhET4mCPoO56ieYIXPDSRF31iOQUDT5mhZMZVanHnDFhAFpLZWiXRHwhuapngXHV2h50rRvjsBSmLyGl8CLJn+aLJAbawWZc3W4cRxVvupvyop9cwY3702UjiHPDFAXcafSIpedVZqGY7VOMCRoo3DKzFC0dYCza3kttyt0GORrZJbG/DvVFfmUUb10tUfnHeHWfmVDdZ48MFUbfYpj9QChQCe0ip2REIvYfL0KNmZ1tg/dukO2u7gfSBdwO17V5B+nUr0LD6xxTfiuIHzeuHpxdAtSIO+iUmn338ftiiZfB/jAi9SilgELmli73HZTzwuKJwx10gvVDBZ03QW+vIDV+WUTs/lOUTQpbY5H2LiO3xMM2JLywjDgGxQWqBFRU7HF3okrrtAbOAbGeZaqj8fxwsrkKFddpXyC26YEeZHPYVCXTr2OCbsJsZ/sv/VSoYs3qRMpASoC3+s+GwAuxIB7qmc1EVNUotKLU52L9r2a+7Hire3kzHfQuWYM8yTXZqB08P1wUAk6K+Lk/sx2eDdqLqEd+nn49FkF70ZSAcdJqLspEaqv9QlJvRgNLTOfmJLrut/35TkXKLmOgHOC0R0qrnasxMtKgvvP4VkhiKZspy/1BNinnE/gGVNPK9/OkHHw43zGcUcqnUa6q1mVX9EfHaqB/cPKZ4pBDHz4nMm57CqiytEMQ+zvptIih4erCFQxopX4APjkUw32r+QGTFcfYxOGByvbwpSfn8XOGA2euYJbcaYr5ZstxyWVJaijq4yuv+hSjwCfyVABHVN3tZ2XnTzMRe2UoMm06UC8Kb2W4sv+lLF+QblJBr/nzM5K0GBnUdOfB61CbYpF1O42i8iE6nda2yMMiJmWD09RZVDlaD3rMEyo4HLDvpOHpzqu5x0M5Gvu1hI9/vTeXXKvEu0e4qh0r3vqeVoWtOQTTSY6EXXc7SCBUvGK1ID7m0hVuWFrDc+dZBebCiuM6Rbk865mUiXbu9Md3ZDnz/dbjDfEC/gu1K+bE8huflCQC8aoxR112UEO5VVVh+J7lHHSuMu4sGTs6LFtEkTq6a91e92EfDKoTHBp2+6lGdvy+FRmBooKAb++6oQoKsjtkYFWjLSQlgMTzZHP1+iptP5ZFuW2U/KDgTgD42sDFQpB5WOS6CeRkKiJoaFOz6O3mUsiNqw/wH8cOrCIPOSts9wU+ZWTJsmiqlFVBHTE2NeU20imKVkxtTHq/WpMXcml1zCzxd+u5M/tUdrRLkhnSWQWDl1S/xevLMT1FVKdeZ027YRTtXWhLWhqrlcikE/c+qmjVmcYex6ISbyKGQbBxcIpgTAT5quN1ppG8vyfLqYw7H7e3EyMiwRLYRxTRmhrxPfLC/moALK95Qhe14+mHHja03v4INo79xeFe0Q5M5COrUauY9zpiRy0C3HZAuXbSIJDWsxxZQPVbmY3RQ3nZbR8k4dEDY9mJ7yw06bbc94V4CXJ8+X0X22cb+3G3PPjPC5RVCGGD/x6S4rdBF5aggC9pr9I4RvmswpCZGYTa7aQtLm77q9eLj6ZA+EDxjLvVBYI3mzYNlpFscUo+QbB8MFimBfIpeXYmY8C44FRhHdvlehtcTZEvlnCKkWUwpI24+KqaeWnjLWLRoOgkQ5FG5X99mR6U3sb79cThgGn4LRBmAmmhyrR5ExguAXQVtwHYJaUiRL3ZvsJetKcbdoyYi4TvuAaexyiNCilPqa94mRKOfh/A6EHMmX2ORjm5BKcgxI6UL5ifcBWhf3ulCzJ+ht+UTpkIZCV44BOrrYzZzolILGqWWKKci2oaqlxMm8wcfb+QDYOYuXT+WMOaaO8YmUMPyJWt/RcH/d3YQdZ+yBMTCu+G3mlZsuMCKO7herZMFlqKWKF6QFpkZLrDM/b39KrR8ZhCJ/NsWilXfyQluLeBO2KQjIUifu1RlNAFOoqrOlsIaF9DjeqpdOUNlCfJH+d0VS2voj4/sYWpFvVpXpVjEmafTF1NmFv793dBIgvy0bssoV/r/OyzcLAC+26XlAn7yqVTIEo46RNFEvU3Q2LAjJUBmaSNkkjdtj0VsIodlb8bKE+qQxnCnrkr2U/igWq2eJrq61EG8EJgUMOFCk15cIcoTKFyRj2+mASwGVzw0uqxLngWhj62HrGbEtJGibm2RRiTQsfCfbmOibK4Ve0+zXiNsNDI/tRPrvqUelFp2xeptYUAB8wFOMLph63xclIZtm/0ZjizXZSsvDmlasAa3GdC9JBPo0YfJIQxtsBj3nkStXFxDll0qP84UdtxcTqG3yV+pfPl5L6lwickKEXcX6W3d/ksVxCMvcHzatTgr+ZNTScXqN73s1JerPE4X0P33bl/2HWDwTQ6Bviw1zVJ4FTOnhkaUhHy+mr/FHVjlrDUKy00ZPP9AYHkn3s7H2c8OjsZJdzk86MyqqcWTVXRMGaq6+hfd9ehjMhiQ4NrIfGy9o4BqIwL9YM58L+fMAIxzXkt4vuLwaIFP97HOWc0mT8gXbdyJjbUW4oF0cI1w/AV5zZlRirF0oWKu0vHnxmfjozTnqX6G6pI/UqRaUZPGxqNvg58pkP/BkoLK+Wp6N/9g/KzdZ99iIvyKanIu0aSL1RBbqxDOT0McGEz/qQGZL4eCFXC8NxO/+qYGFDwzZZ9j73rMZ5imDn0xulmH6JlTjH68INgiAJgDpqqwe3pHYvJfDYVLaw6kPse0DaPmMjuiiWl5W7GBrB1yHj3RVTSW6JD5gIHoATWx1dtlHYKAR8IhQbC8ct3Lq3vGK04DNrdmnmnkoT0YC6VYdOAbkhM7bqUs2I/XqsO5HpDDIubWOJYQzNhR0043ul1dpkQt0DE2joAQ6SZKDR13iM1KDcxCDJ8a02kqFNOmk2ge8YwScMTuSviEYN3hKrHEFBjNn2jx4l1/vNR4ebmHI6v/f8nFM17w0EbbMb4BJfYG/a24UxooRgb0b5MxzvbPjrzwjYwxDqasXAia5PVH5vDHGvSg35TG6XNacTa5RnAzQYCp8lw/kT/jy+vaSpEbYUePsQqXb/vsjf09rN/PGNyRx98gU4zni6vSn8iCcYzO3N9OSg6YpOH5XjDbK6cdT0g0pQdOhhe0t+Xef+oMaOT+ED/wz2yRCQ8wYz8vzXyHGOnqV9c83V3EjE0/KqXPN/lTJdkMwtdZ6wc8/7PwL4WPdnbJAHV9ORcKO5K1Pd584t5Lq1AWvhXtKyOH2hSZjDHYHdAuP/mOsC/lowCIY55d8Wnq0lig=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vJ8GwKfmvkYLR7TfBvv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2cbI_Mw8oLhl5.zULO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amcerUHst9.OtxaoYE0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tmuYjqGqxrSyzj2Adv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Pcsr2tHEJ4M2CqHA81A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lKyxt3ir6HRLmQCILNE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yyJMVDr.pJXB.1JvNVZ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lFJGAORGnZmky6po1gr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qbqAPYTyERVTKcQJvF4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8wZlTshAIshFQUpW9S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9fxuJi2etzTg1HuNpGB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cqlWCp_AIgfNSolzXH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iU0L99QoV2PrPKTcXW8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_8o.7gu5oVtJcA5KyqB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hP28I1R0.V4jKcGxj7p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IMu79eBvD1XBx5Za0za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a6ARY1gS0iy.qQQKCwb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TODjNNUPvaAxRQPK_Ua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BrsMsK1gwskf3JaoCW8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80YgMYrDEdgeQ77kAC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BGECYBHOChphd6RZ1rS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5sPUhIOeTL1ePAaIm10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I0yCk4zNBNlVRa6Nj2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14j5FFs0wqhNVkVgQey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C5ZrtZQzFtcVBqA5kQI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b.HoHnN7hcMtv3eJSsu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NeGArMHnSOK0NmMJMAZ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yG4d.CRBMovVul6EhvC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23lynsXNlVQtj3saDP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KMbLGtBVIlnronpKm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nypjwJxCjMIEYkXMKGB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YCF6tm86cRWYy0S.0A9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PE4hHQKebDiay1Mfjhk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Lf2o2zgnL1EbDWCTSsv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eVcW7o3lVpsdD7sVQ8o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fC0MHcvzc9za_tJEJqk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7o3U9iRw8yON_Ptqi5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eItoekbY1jed2J7aI9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NiKYIHXksvkc0aPOHI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xOAlBOHGxzOaU6qXMn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YMEI.VMLfXkrOoSk3BW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qX5DrI0Vfw659yFsF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g7jefSWF9a_HHHd1wCe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co2clK_xAvg_JycaQVJ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rq6P422_RyptT22Hoto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CkkdZRRutEhqM89qLJ4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qsEJl_bTa6iM8Z53H3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waAdgfhKeR_j49WB34l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K7wbaLkNgjZuMM2OJGt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LEH46hn5T3D8mJ7e4u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Mj2wZDv_dTiVnoHzEJP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Ni7ejB.gSoPwUnwkaa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F7DMa0pyBwXYb2Pfa6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6txPJcSpwGG0v3wcmWw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PBI1TPTIIkTnO0JI2U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b4UAwWHIRd1lX5SDq7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mtU52s6SJNQ6b1QWWn7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Gh0WexuE9Y8BMC8czf4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omHRnG_aXYKgRDTi_Al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SyEDqU3h_8PKcZYUveT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yQD8E0jE_wQq4k2EEA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oBNpqgO3v7s.Ry1tg3k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6ZQ.sHOIVnrDbU0Ez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4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E4pZsLmoI8_Fo7SxKOe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nvfIpcAi9pElWLex7u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CHSozqTIe0TYoyspb_o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0DTAY3r4uM_cxVf2aDL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5eJCOnRe.qgIat7hg8n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lLbE_h2VIHKD7NyeMNM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jypwfZ8Ievhs3NismPr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S4iXx1xgSi.uXrhxeEp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AzkDP7i9pvuRGFj27S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ZW6nyxyTWGb6g4vXw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2sX05xEJJ46LO2cGX.b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kKVzNWOSeozjPYhObi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PEOi41hxrqWCcX3Gfr3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4983DRppcPLbYZMqAUP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fg3Jsg46SRWiN0d8RL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jENar_sZ9PY2tdYnQO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S7TZeXo8B.ZkGsijazk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EOvuG.auqXdYrKgi27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BFFOfdS5.v.KnxHf1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QvImwQ959jKH2uOM6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jP.YEON5v2ZLfZGFTe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hnQQu36BNQtroo3qps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_NAaRaEo9OmoZ91Tcr2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UHJioVeatC3BzLnVeyP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NVeYGqgfgy6RxZT.GZA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savM9nMBOKbgrsKtpYF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.5_Y6.Qoi8A9bXztydt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asK1XRb0QSQ0C3YsaT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K2ZL.r35qmpsOXZpps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C2eMbaBfOT0HalmZj8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Fq9UvY8dt6gGwK1yZ1q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.OjncHxLkcKFV4DkX9l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3ahFUhuAjQj0wAdAqIr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83ud2H0aFRpnchzvMl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Q3rFIDn0PMb9gRcNiTg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rk1dVBJi51dwYRRLigh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K5mCgGjtOCL1fQSxai2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3ITFilzqR9o33Y8NdHc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m2lNBALAZJ3c7TRKXy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ULQyuObjG3ZrfXsgMs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VIs7Q.RTvsG5r5PpPpS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wvoOCzybX2whx8MjqE3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bUwNGNubkuZX6b7viyD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W8CQkZJ03ZSGcBVD0xK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baFAJfOECsGPsoVQ8.E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2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4zA7ZeMF.Hz_YMKKq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T957vv.XVHFmNkrN63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1W_dRjRrs72YJrbC.Ra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qoaKwZQhOLI6lsTSgM1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XzEK4acrpcuwv4y6jrh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f0aVETxbiXrolWHb6b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fn3w4dHKyvrNLD9_rs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XMx40tdeFBadgwkWE3L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3MbGtR.C7h0FE416an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_NDN3VseVdIr0hlecQJ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bsauqdmeNzOEJVD9ra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5I4yYoWmCoKz5XTZWRu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ZGuaNnshTsfVnwdY_ZM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U5QxwTryfVm_LxQot4m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77TnSib0phOo8ifiSb6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u4ksphk_RbLAA5dKbwL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rd527O_P5Kzp3sjJva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R2A_E1TFg6d.PrMS0dT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dwohKuzhgBdPKudcczk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wzm_XmmObfqdqey77yA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zgQG3IZIy.mA9QaRoM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eIQeclj68Mv8.6gWh4O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NReiQnfouDjlSd7KsZ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pcMyps2d7PzqkJru7BM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.3kEciohdA9F1iRb9VC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W6._H6gCzNN2fXTPca3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W_nPyLUdJXXEJWrdX4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uOcaEgQC01ZDlsry1gP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EajwnPm2m_VFBVuCeFX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a8IdUA4LrYak05olw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eKrLNTPlg4JDNbJbv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ZiPHQlFDlCLJgegWl.X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IVSSBzenkQQENpSCeF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Zh1Sx0tzYRe6UXno9Z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RNcoLYaKALpxRC8SsCo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itlWdLLATsjIcUYdD.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M5TtEGr3fCayM3opg9z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F0QabzJkJogAgq15aer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sTsz0C2sFPeM2a0zl0J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RE5EPFfaQ0x4l1FZ.YQ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cWKxVW01jpLbazwie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yB0Xwq_lqGT8_zhbeQZ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RfPXFllowXr4A..L9a0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NnB4dPvPS_vDePPFt04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HMTwfIZh6VkdzuUt7fO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KU4PUUnavS1CDUxNxG4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jOWPDf.ZATkpAC3qjO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Solfjle8Jecnt7b0FK4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D4vi8CglyVzZmLyDOZj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bfCiW6RNyFbtXQR6Qu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BRfUopKqkAsM74jbL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7lWHAfspKy7SB3hEFo/xKzDLcBh7OuvkqLXgFDWQ0rB5QNd6uBcrPJdVWnu9zWXyLb/wq+G/JCd36mn8+iKCNG7OUG35ApA70k19CEh6uU65iNZz8TAR7u8x+NJ/T76hhV2UylAejJaFfLLRNIHSvfJW/Zfp/L6me5cUx2a63C8+oWj85BDCqn42Dd4jJbRWUjK8aRJ5eZNqbq7Ur6QlklTRm4wy31+VMW4JXrdg6Ig2JkxotVrOHfK9FXFTEdfg/t3SNHRL6yrj4Ym7cW9z8WAPC2SRkO/ljsEV6X84DzUDjdIVLSCBiiAW3lc/XziU+yUGwVzHcmbXHVbQHEJnJPSL+jevYUTC4/yIPstuQHteVXCaX3/5/jp8kXEkCzhrXq3SMkcsgcEh3sipViKjVV70/GE4I4zrSnXSbtko4Q8rKfR+DGktodAYgmsZRAYqH840EeelKhAzLtTLWntcVkoQeqzzdPaqea7yXZd+KyLjg1m/ULRHzhyLNvUZrFBzPiCIvm6VMB5TielaqMm5ZAOuBhg3X0BZRyYvOvG6iQrT5mRi8hU+FsdL+XCEFDpsru43fCNca2isRaivsluOCkB3jZLnl9SsOT9jBnFgXzHlyqUkLSuJmXk5bSfbLQoGhEERZGb6ySgiDuQ+D3sdwOcs+iUVwzcQEjvAyBBK/2NwIJHkKoPfS09AbdauyDjW39eapnHPVBlcD+YTJscmmPqfMTuGJswlR1wXuKWQMwHR4a3r07L0h/a0vTE2eH1aq9k2Nuj5qMoOD9sOOPuwbOMDCcaxqxVTa3cpvTyW9SVOKqN0zDHbL6UPDfe6HKL5Ld8qwEa29Re7Q30mnquSxtnWeGjAPygowaeLkQH/pdLOXkxGBX0j/GfWrzTd2PvlVEFfscOoO8nPEBIwoY8SGgilOMJbv2+BrV3NQMJdFNgm9maVSA2sFJPbOkYtfV/tXVVh+oZxUaN5mzaHa7n5M8B5dFLnQzfGJoU+zEKcqVmgLnOxRkDax10VYR0v9ZlSBhf1OLMB1aKUyVFIzqXjw9ESy7fi6elFb2dq/XIXXlHx9QS/+NuEMnPCFPHdJ/2jA9+FUWHgBlY4LU10hOwOZGotjJ6QOpCCQLMTFBcyYYIcqpqVmKuAK8WBBbwT8T9AqItsLaap5kIFOKxL4PFrJxupthf5/g6X3GOR34HsfxFySszvQ+Cl5MBAbSv31NgZUS/BATnpA7SW/S1hvyI7AFOOWygUPnn1Nrwg5mhuX1EVAhVxu46LPq3yikIiMZ7bXH71/HqrNN+w3LEAbzaa9ib+9+ijEV0J+UoRTe1uHi7V9UcbFgj45nWvUfXY+MtX/uavXZywcTLB2KtRTbdLim/jflRHYAShhbYRwK/2MZ30K5J8gvL9f69loXh8PCgt++Yks2vY6f4P9i+HRb0EbwAL0/AbKDKYh51aL95oYc38gQXqK6sICuekk3S93/eXpMrbtuQ7+g+f9D5A9NH2uKKVJWNAXJqLnHrteMhiAUt08c1BArOJyepW5oKTT6VJx21AEXydvCQuDdRlZJrTKuK3DpZtFSni3Oqif0iJfGLLP7xBKBC+wGTwrUEhQb4/+aSrNrNwTkmnKkUrJ+gU5hjdvOn/uASd15JkdoH/Luja0KfKd3GG7yFxmt7PSEacBcsBjzBCbmUtAdexbfCY0qFfaM/1H/ibrwVPieTdfQW0nProNP/skwVWhe7MV2USnenVpLmfKoIVrsvrRbjjUYZfPOj/t4Bv3hKHF/kLYx31P3W+bZE2EOUjaR6UUiU9flu59r1YKp3/GSV6QBjmnCOZ/H8ya3qhcZ9U6jGNUDHJ/jIQYnI6Ce3tqEXSvgq3tbeU2vY036XVv1BUEtN0u4BxpcUaFximJgKmHsyiDLPd70Bif7HCuMRse+bgxyQGPC9BOGEPI3dx7oseAqoZvERHlKsxx8gHnjPFFReLQ7R2HtpQBOTn+OYlWX8AmED+5QbKkacPDn/SNgMirbQrek3ohutxCBa2MnD+REJve6hFUap+gjPcGhSSgWFHN82QsKMwibL2a+cVNJ45pDKvqLBkO15jsbpEKQnPNbyJB8nTpBo6i1kJyrfBZrukC3nySIwASrdzyngnRLQnIQkeCzV7yTCeHaQc9C/FfRaF7Udn2LJ7wAoM6wegFP7liqNapX8OtqsvASv2ouUHvAUnt1A5gs8UzkZ1ykIHSFCfq7CSzALyHELRmNjpB04PDqPauCOdI5ujxn6JyDo+3V/mgRgyODBHCJiOLkgpQKi2GOyEf6e4cmKtWj5UFDhRSNK0XaSIFiUp6c0Sl+DqmYZcZ34t9qg171Lt5eTM3Ftkjrb4raRob8TGLgEMRFB0nPrD4JpS4pK1UeEyelWESRw9EGo4kgga2VbIAxelCJGg5F73N3JRT/Ncgx5+N+Es5S2OUNWnZUGnHqGSgMXSUPKdJ9zjQPPZAgUaTELF0DbZ7G71fWEEuQDsfm3cQF7a4nc1X9MeRVNtIeF6Nq2J2ROcwS4R96L1ZbMMKSpac9t4QtqUSW75agOGOHtKHxUQXvnvJ3ZKT5MtLV+SachXMQ/IYSu6Cgtj83XwSDtZohCtoQwkk1OsAjD+sHY5pX5LMeDq8qfJrifKumxCp4sBlz+XPjx6BXHAMFL0QurGIX+hnnOahd13mV/7/RywcAIxz7wSMqGTPDdEX80q7GBvfXbY6+z3c51LakUkkdEIwueRrqQYrYa0/jBQH0IPmguzVHakFcr46mQOV/jr8ohIwZyD7vRHxPpBMQUqOHJYiPJ7PpJCqG3CK+sBeQ9QrgCivLDmhE4/9BsCjXvqWftlF4u82Vi7UVlbwYY3xJkS74zcucqpVL4WofnJhb/jamYJHXRLJIDdTEmlypXbk7Ut4dIlP4dxORoDyQycXZEnXRnClVTnlnYJrRYEMSYtDo6CQrLQPtUJe0Bvt18I6vTr/tZvnwSml+FgZin2THCJyHjOPCrwNEJY/wpZBebOeIwGG+8ihaWxocq4Y3NB+moVhCLQ1rJ+IsuinMt08dC4yvDToAtjnGlW1ZSGiL8+WIPCT8zKwdFYM+yxI7looI1idCSIuGUPLGRe28fbexPo+83oa2Xe//xCGKT2rPBl1e+TyEUFi+8uasrqAIWWapYs8BHbMJWl3OPK78NylMc8gn+J828aiDs1mHuhaKjOWPOTgZlrolP1lKxUGxtTUY2c4zQl3EshRRv+Lx7f2CjOJUtB+mGVWDZjYw++DSi+Kq67ky6vHDa78eMWKiMw0IOae1UwrYHzURLfs2Qz9BN6kNPFOeXnRi4R4Y34W2mIUbXqPY+kXMsaIBD40csl3KqDDB01EZd/VOu+a3Z+mY/J1WRHvE9/E+1h4+rQp7+PyQFav1HdcdA1FemCXMTWhRu+VAtp53Iv8ZfedEeePpzAuA7mhoxTF7bMr5cjgCU+sNlGwp18DbolpMJGpKNLJlNw20bSahI5RTE6w+bVSLZo9XG94JgG0ls9h3AMOYbpuNrBZujxUynEdov6RVeuaqDDRuJ7ch6NFLmyXXiBFKh8FFMg2r40TM54LXL8p5oCO1HEtDl49tXi7en/cRMky9KaLr5Tgu6hFWhMB/lbNAiQwBaesA2WFZ0nW6JBnbFb9yIDDTtRX/zouBLMpkCJ4kxqUch6jIiDgyBP2yZjHorEVhXm0j4z6nlYwXhxsnGE/hhz8NLQFubGtK27oWZuUduNmyIKhduWbcP80srJHmCkLioqXWysG7fpRJLrOHyqnbFQ7e1JA3IRFgha2wtODGEVtwKeuWEIcfq5hF6dLCkgElti8wu4FxF9+YYmI1YPzd7HPa7CDP76TnAsdS8EiCm97dlOrmWNAEt5PwZ6r9czNdwLhUJu1T/8qbO9tu4k2nClar/EQdMgR0wrN7oCXYmfbiZWMbe2S1DHoi6jID9ZctJCpEmmMH8EumGRN6lmtvRMudjFAJIvfzKkFrHbvkZSbfdcpWh8xD3jeJYmcRqUZ3lTMrm7avOGm2CN8i+45U+w10sysmM3LWpctUn6Kit5SJEzGljSTNZftdV0WB48NwqNK1f50EB5Bd/hGsGuGz5miEgTdMUult6bdIeLEIzsGU83XH5D54uP9g9n21EP2qnx59yhRjoohqD5ZOygz3rdd7H7jquef3vn9/YP81LUYVUSZzUfklAjXsn6Zf1hI9BsOFJbn3cIE1ACIpVOSrcfmLD8r+eMdUCmJXAjlXA1NmHAoLuM4AQkUBgp47LW7sAplyBaaMRyd7jWlNa8398md6cIvPA5etKjIEDHFUVLCYDcVynbG1s0a8C/JwdGDTY/4ToFA9N+QGPQAaQoUlDTs9HVB6Oahw0KwUvRJ5gRG8OGRVNZVnhXclAvr8vtCwYsEJFytP+5hUcnpLwe+r4w3OOqSDTisD9nJJHDCXf32LZc7ivkwXJXnhXrrQ7dqqGFqaE/pyuuczgjVFpqJZ8bUI7fQ/mHNb5sdvjnvYzOEwf289PNV2XEMZryK3aIK/WdbHbhNrJq+aXt2Ozms2c1OXn5wIQmYphqaKNbgFFpEpc6vLEddBElcAhz7SFe7cRNWtQQ5gAUfh5zf1t0M5rxr6oRsGn9z5qW6lizs/dLmE3gF34GbJz+7mYYmnXqaLwO3Je6xMDxvRTNAxQVcTO4wAp30cKbbzakgyB6mB4kg3Pe494pNm++PtGaNi/NIEtNrws7Um0yzCO7m7UN8TkNTEmdcsT90EQqGkdAa6ggHvgGbeBF1hcP1TQvYCvnjdyvwhGeWf8sWuRDewwaxqmYLUeJKwlHDcP4erds2vtCU7/eVzAFESTQNVlRo1g9uZ+z0pSEMjcTio5uBjm52n+ifg5QgTxOtSxenOmEK7OZLqEf/HUnKONVC1KMM8dm3MYYPofADgz+lbEj/AxUBGaeO0N9BWLMeI/I1g61GZDu6iZ3K8gb//GvrLxXbS7KZv9URvIcyjx49uyd3hUMVGuzz4v6vPSlMRsGd3aEwriDF5Ja37KX2lwp/OknLFAH70347TUPBRVnqVLao6nON/opudAZTkwuUV+dSOjzael0fjlQDFyHlfZB1gWsBnJAanEnR9vr+Y0KXTqJwVTjzbcsHc88zzErS/5M4u97GRpiTda9F/dJxlOVkO79F2/Uvcez80o7qIEsJ0EeltsiIFQB8R5taCGrE70SVeM3q3Xi2+W0OdeNwgbNPEtrW3Neelr4MB0nWkCd0yBEh4I7D6Fq2AvtvRTf6rGE7hMlQKV/gXWv94rPE1iqcxfVnNmksK90fCYG3Kb/SfO7OIRVFviguvOmEqRmKvO3CbUez8rQdNXssUxNUW5KlMU+oSMilILOZz+We5n0OOeGRuaKcpYCKOl5Bw/TKGiVhqxNqFxydkBqeTwXizQYkUoHvogenyn09f2RLz5xSepSHIgjhHy3IZxfDfNbvc7fQyiXQ2yUQvfLiuhw9ffmIlV29YXL/LfgtLTlDzQKA3TkYtes51dUQQgbqe+bz1xb3cSN1T+CEy9uUq7NPMa8uhghdqUbaYK4WvabfYLjeEMFSP+izcwL5mxyleL1NRL4EzEhYyeVDUjZb42MvbHiKOKq7zXR3IjBcuH+h2PlYAvw6f2Nri0+807pVuyR2auoZQipytT38cve3DcC8MjSJWdJEbyLbrf2AoyktKc+DlkX4AgjAbGACS52s41FWGRLc5RiKtYsXYNiwxWHRbj6lGbzKE/8MAo7A7y31shaUMvIlUdvfLKvtsKu7ru7mB18iCoF6fNfry5EjOxvYqy/KoblqCiQMIQlfFNxICQdxrZq/lPlOWX8BZnPqt+2uX/NHBCmpk+LbTkOVpBjBtGuEIxXum3Q/aN9wv0+H9ZEkteDqTuB5aayD6rBJPkUXrVVRq18PbQszp6ZL/eyJxb5ZHb4YSbRtiUThWhMn5Wvu9KdW4R75ufpXf6X9HwPugkYL0M+eE5mEaki92eCobgq7Tczyr9uTY6d8xjHGn+4lDrFhD0LZzbrLVlo+rb+kdK02dBfeid8UGHsXXWrWEelITD1jh9O5bXVRMP5ClqSCWTEV23tw60rIMKUGu8j+zZfOy7wdaEadt3Ww9zD/O15KyWiVX1h39VCstEk3AmDklKJ6NYqLT9nbFDjdFhN7Z79KV33MHPgWjtb3adBhpH3ftoqVYGHfbEepIQnK6OBGECtNhk7elDF5YYVsBWay789lAppv03LKYo4YkPaMqAXag6tfwiGZFjPJsFN5GwuHfc+onfLaHoP/U12fH3+wDEK2rCuuhArVj+4kqBIqdHsug+IkofH57vQ6mMKhu+UuBPvSe8xKh+syiIomN5AUgQgYFvy/f7DmOYD/y8BQI1kYZvlXlT8d+8iAPuBKFim8+vgSfLLnDZNM/Hx0OXrMbxe58ioL7k5iQ3pAsDaaZrhYo735Tu/rkLhoIy+kzBSoVI2ZqdxJqHJIketzkKp9yse7IrtYT12HKaH5k5YPIw4RoLY+JP+iAXQCCS15QF1KdHzfLWT1/3Y/3vEl3wZP+YNWS9nPqRuK1Pwu5wYSJtcgjmp6Ccsp1qh9Ehpk7DzS4lpIPbWlKKXzYqMbWmZnPK0KAm2I7r/DrUqGkVEYE4KZywskW4F1li9f20vFlFhezewVL1+SgHP/2avnvBzI5+JuQAXy0K0vo46nVnjuBjZOizfttScjHqADToAjVWpG1DbO4gatI83s/ErBUeUaFWl32pVHZ50qSpxBMLS+0ttVkm8n8gxXD1z/VXoyGVnwSInfg+yiq+oZoUE//syQuzlV0klRE25AkRoLIFSYC7gAlLIECldIT8A3Ih6XrKGtin9WJzCxWp/aFcDcGvofvxrDWCrqcjT2IRdQiarAaOfGNsl4y+ySC13RM20XDCf1+yF6kphfOB2mDnBG7BCOdDlkCI7VTKew6+hU2dvPn4YxTEL32Ys1a0fyr0HUs2UarF3bxmGfe+GkPL1RmKQW978cTKJM+N25nX2vAdVHbinCijHgKDIWwvXGGFc+VplF+2vUZYh0ApJJUAIryWoT31tlDMA+U+cT5thXgD0kiq9VJz2tdDb96kiTqoYJeSztaCQ57zGnfcUNjd6QBAR6gI03QTatmBza2bkAVUTjK33vUD9S8PKbTsJVxt4jH8x5Vrx/yhMII2F34altfq5m2lxt9CbH5VkaVscjnfNDjFfRHsWJa5r1XucINlco84128jj9SnTxCZ2YlIDI3hMkmcuU3ucTdtGrAuxyToq8+4TIH/o+fUqfDujWgcqOH1Uml+W8GDR4TH1IDDffXbF8KnCsSkhoXM12W3dtDP7xDRsesvzU7dl/FCb9Z4k/d1Lj6zrLJDR1ipyefEcKc7RADzQdUSwn9FO7gmchLR7wzgyGwhqb6gz3a+BHMvq8LgKIpwx23v+DjJBjq0dMknBZTgSdK4mU4oPQllbnbxRc5+mMMo9E6HqRljFFeTi+sAetVNgO7wGAHJ+JrmZKDcnkvHAo5xgIOz7aCQg547Eju50TjM7Kz8Xxogb4bkRVDLBHniyweRBI6eOZCS7skHf3Nv2veixX+VICeSESlqZN3WUkpjFVyzGDYgfc3iYbQUpF90L3p/+mxwkDOG+Hlmqxbp0VlVgCN+MXJOaiQrJc2fv/9ySaDQwsFVsE2CxlcGu7HMC+1mHmStWECfRkPkjlPjDrOjftM2VpjPl2F+E08pxxUc2YPX2yE9avleW1DPAIJyHArk/yHi4revIaOLTJ/fFA+oiBgJMjidrpvkse8ELWxLskZ/z0cKhBBmRrJ5IFrMduQTgu7KRNaSIy8+lL3UFbd//ZkeT42SSRfUmgTD8UmIV3rbHYfYMlu6RYeIkKC7hc0MPuS9W0Ofwd/XvgZiCcOqeUK7Zn4ueN6DTVVbnPKUXuRli9Xq6/NRVrqViyLAOi7XhIejqFLx/srMcWSIjeSAuKNbi4wRz15eTj1gexxQrLFUn+pytak2wnZ+tamW/VKUfxqN70IXsHmR5SuQI88uhWP2uI2H8BqQ6bIuGqHbGQ4eYFW7MUvkXTsZKg7u4BxKLRbBKIOLbMNGbI+a3W5loO1LwwIbtPr3lqhBXkx1FvLIic0cc/zHQv+2by0Yk7jqy/OdI6hBwNqVwdt8t6hSOVsM94ILetJKfa22uAtOBTlC5CdTWEuGW9SdQKaCa21ZY68X3snrHhbKAMRigGxIgWS50C8B9vp6PvRoPmEKpbB5XMlPeaF12ToFSfsbHLHDuRxdnYwJ28a5d9W6CdhzAz/zM3lR+6Acagu51RV58gz60rerCLPxx5KOGGvOPYIZ1M4e879YumcM7kc2cEi3CjGvkd9XPM4yqH8ssEwSGsh0VzdShIpsalicxzZINHqc0etefs0cOkRjeaLH8EevL+Jje7JpFqH7WHXmkROt0uWTmo+6K3tVHzutHKo6TaN+QrtD2jdLZ3icv7aeDjVVByBD8eQd95HC/zQDObxtZ9whVrOon7KVhfKBFRQ02cGPPkRT+ZZUq8g2GYIBZRGr7eE8O6sZa2+xGcq1dIKf4gjtplaqWgSa0Y8Sv/BS5CT+nZ2MZN8xZByBphc63KmleB9dr9dPUbUc8TdGVLWSkVDI2IiLhfXW/OSAXfSMOFPytjg+MbZiwykK2k/y+loGyNUXeW3BS/kiLBA4epmbYTUOdHeUv+jxr7kxKPleeDccVlkpUs8ELHcp8amgeO05Z6XDCssTnNJ2VCBmT/crRfQzgRcsNFdYHjDNfolXH1qIT7BxgG80QnFRtmKHpfHXzMuo8zpqLDVBmjVbERlhmA6/3N4uLE6rybh2+Pmfwa9GAv2N76f79NigAw2M8o9Fv5coo67XVdQ2ylVss+xSgqRa8YtLQ10xfCuCCfYTTc/GTGbeRZdCD3qxHfqhtTqFyCp4Y5EB0VQ2OzFu9UJLDNiyxtlmz2x8CrjFrDY7XD3XmRI4oJ5yrwVW6MWkLG1hqgBLeibWMWblpOA1cJ0BabJGHpAyiDc/5ghAi2SRXkKWpk0jJJef+iBTPi94Ax+uEDH1Znqe18CRwDS/KLiZjobUnX6lPxxfQ0EbWuNYhV4+bVxA/4g3ao+oSVkvt34l2oUFZVkfo0KkIbkIsBpiLi+2Sdm6+Gk6xVm5EpG4V+HPVgFneBsZ3otXkVJ4YjiWfnG52X7HZ64DhmLaul9LDSIbFTV7pXzozzC+5fpvaxi94Uz4w5vO9NaVN2td5+bMkU09BUbF4Q9MdWGsifhcxMUFHoNKtDBEWeEO8SspOOIqIo2v3p1HkZWgftLpb27i3tLhQK4xPKxgaToUH+PfuUqthBeUNvrc72hHXuZKI6JOxPzDaUxro7mJS4xHlxxcpARMv8rafgoHvWTbcTlMfN2BpWkHEJvdjd66xTNd3IlO6WiAE5bQIGbvIPD+JwPOIZqK1IsE/34WGJKqQvmocYgLCBBoKg/7rmSUV8bEL124E/M41deuUtDcP6qMIrBbyQhL028fAmM9P4j2ZKR6k4yg8uEIb66i1xxhd4POKF8fdbp6mSOk2sd/LAhq4iA65QGSDGXrSTLeiQGsHDveso/xVafp6f4v/siY9TjDY3tCU5PYZVriL6yAVYDIkx0h8UwLvMZvrTjeMQk+wmwle2WJV6qs9PSTJtCdlsLj4Q5O8bw0o7Q8atD9t/TyEznPJXHUoV5sH/aA8LR/XwMSG5NBRP0B1/FEl2FeHSib5Kuir+svSChAW2/nVZjT3yShE0QPq/ARiapucG2eqVknDre7YhRR80/6ZwgiKh/XKyBvwI9G+7aROh3xZUFFY8LVfYt1lZD+5Nm+v4ZQwpZt2/Rw2iRqcr9yAQfiCi1lzAW/pfYXd9VdjZx9I8ht5dv9vTPEDdlt1GrgGRdQ+gTSe4/so84t9XIxFIgChNcCk7xtS8hRCwrvOZgC5Unvo+Ep36MOaO0P3ztlBQGKGOGZSVmc+bCf0DugOQyJSyR8lDAZsMarfhgGVTs0AAhy00NAadxGZpk7xTRjb0/cu1/15YyZrOnFfkVP58oFjwGJa/Xrc9K8euZed6jiPgWFloiCrieewJ9P+V2PyG98rrIrGyu7GS/xqD2JR7nNVjmVoST0VKo6bRdTvrm4mlcbYxcVBJG0FTCu2sXjgjFD3KpHviHdwz9dqdMIMaSV+ymdchPReJXKOQBiz/bmngOktVqFO5eapdiXfnLEfG+BYxEdohcEk1WKjCc4wmogZbFxewAsfpldtlFFqG8CerURsL4gGVGVeLffBDg3LJ3FzsJQy0Y3nihQk27IsB/bA3pdtMb/QryZyZcWPewIHmPCL3qfXepeNu6DYDRkE8Jj3DMwalM42qkO/vewyPZUj2Ru4bj5U847KcLInpc0yQUTJMBkMUppSG1G3hDBC29/UETYvvm6Rkf8SRjvEC3TCfrFh96bCbywhqzSjJ4cQUdQ4ITkWtbfEOBk1fVD3DEpNSj6tlNi6EYa8X80DcF2JLqsHEOeleNWsVL1mtYSXDUWH0gaGBw0tcaHaHAb2wWuJSRtcEuYyxgUcYf7cjnMS2NMyLtkqIiJ3zbHpV2eob60NsiS6q8LDltPugaQ2n+wrLXkg0aKSafzFEBm3a55P1LqdZtwxycyfpf2Cho3PYVLovt2tTUbB+PtPerHYjM2LoF2tszmrcLlmmB5jkugLaHjMxbimWRsz32fpQ6u8h5Q0Y+2alJOVaZDuxd7JUYmcwIVLOeasslMb+3/yi0Ojk+RhGJe1JVUdJKheI9DbfHLRucA0YyyzYz9wok/j5Gz5x3+uyfIynFrHTu0ZHKq5aperkXcVR1zM5TkjHX8Cw4vzo9akDu4aiE93V2CqmTBf3h7G1gk8rVL/PF5wSL8j+GA+RprmoKOKvIUmM9edoVI2WCaL9UWQZxYjunlo4/saMcpCvRlZJwd+3ZKW/qV0VevmWFOlq7BojRZMJn7SDsm7YOCQ+C1qdRltjtykPQNJyfb06g1cSAY+ayLMu3lfWdvY6RYXnoKS0/K02WNJjuLo/d7xGCxQPiH2uRoXnr7tzboPxmekhnYpOTlClr4eiOBrmffiYPgR6Jxa+23WTQbnS4M9yEY0jcvcs3fWLmgUcIFyqkXsScCNx6dQ88cN2pTbKmUSDg4i3WucyAvqbQvs4T8sA2wHdjcI/MHJGZRTyReW0EwE2xDsS6dcDDxlvD3jXjhocsvHf1dOkyscv9qiatrBEyN8/SkH34Zu9N5gIU2sl/DgvFbQ7PrrbIM0xzO6iipwZRvWnncIO/kgVQGvXtFl/7HBtelOV/mTnAH1Izp5mFimQoQz8EDuVEl67AukVGxeALt+5jXZ6BCPX3VTAkmB31uwQRakjdqVQuq/Tw4LsaVH8XJ6hKM3BHoA6bs+nXwv7g4Q2v4WaesuvdmL3rpkFzsPbNml9Z9vSpDRxEhOgwh23aRWl4fjz3GNk0JZxml/1c+85EKPKtClO9Y58v7fTz/rBE2CNZzFT/Ibpt2+8t5SntRorew9EvRnp+c5ErQTKxWTNvoJyLBJD/X8KWKIg0ab7DwcCNYnJ+Y2hT6EVKNo0p/jua9vZasNht6RAoTyVJ7VPFJO2MTmNq7rSnKRe4smX+Gt0UCdusLwTXRX2ZGJ4rNPzOz6U5kc8GKsk3FGITjpo8r8hRkzix/Oso+yL7GLvyfp0kk+cwWXdfXf/WYtKcP8R701LCNOJXy6HdTXwxJtQi1IHfbKWd86cjW0OXKUetVRhZ/kEuqZSJ6gXC4cLiHhKv0ngob3TtrNQRXnYu3Quvm2xEos3lWkt/9zISVCQkg47kLHLCvyEQ3zThagE3nAMOT45n/tdRt+UeXF8/EeNXAq8B4NG6zD0F+U6ACK5GtWRVUzxe1I7FG1nm2RFRc170uBTcuyxCHdyL4A4B0eN55P8CdO5IiCw2KNvKKFicZlt81ei6bOmrijCz2RWgnxZUqi5DCfuG8xUMqFpyuzytkmS4sHugu7IbvS90XabKQzjA7Lb/JzEeRif+A+26HYZAwmySZynffbp7QY6M3m18BeiyYr5I3D/phEBLUyuVZgWQ/joq74pg91XVKaJxfHFblMefuDXUtJzelNxT4seVzyPVMtlhxOrauHZOknRRM23yA9IYe7C0VgrGnXM3ofQwInqK3n5vrCabSL1vdnJeoMdW7F5P2p598hKnjyLl8E1veSb98IYYPRBuR55bgn/mHn39tA9iHa7nBQIch+vT34ShRWfkBvp4Na7SFvwpYSx4KKWxsfigHf+A4A+4fmUIMbFMA9vuiYGtKX0HC35e58FT3tFZQu/R1d1IGEhZmyTnR7zaDOUBlp9gNJTJu/Qx6fpYCuoBU/Il+RbORRE9F8aHl0gS2eTCPuTCBZzSRqHRPzYIxX7OpXwOUb4Mr1oGG+k8/ShRauqMQdfu/sNcAmAoRxRzAkpNQnJBmlzXOQKl9vH3aKqS0tpIiwBTqiaP7plfno50iZWHmbUtJX3d/Lcm8TkmzcQM88KhAXTwQknAgsCM1Oqi2YDl1q7b5a3/aFD57pFReM7pajywMw3AJ+Y0L7IKQa6/sNNojh0Y6CLNPe529vljGP1Ds25X0NvZwSihBSwBYzphM67zJ07hsRyHnDe+4Rw+IbrdtAObm4eYzldAj1nkJ8m3Dae0iqzUIR8oknhStQRVkEBl69Z7fjSdaA7QBLKDFE3ZPRpY+oaPnCVttNb3/1lL6nVmebAaBzwwphat1uTViOHg33KUVuzmwIOXOjSYQNA4FIY067zNT5m/gJESOGn10hMNxohbKu73GT27ZrMlXoqvqCGyoV0U/DKWXkF33TbLlJ6aLBLYgqOqXAfN5aMbEtxDbMKFL9YR8r5XwF1VtDm7Q9XwZjwfZN5aU8PWjFEGpw/+djEaCDTbg15e2dRYR2feEEipB6rEiKPS8aDC1XTgnrmkm9OPhVlAD4PuSGdgsaw4WGL9dTINwTCnZniBEtPTaiYYX4TCUwlrqwWQOqrrScCE8r+RqJZAvj8PtvVMv7X8NcImlb3UCdoW4td4iTZe9yQS5oKcx63tnFCClkYdr93IoxUWDupVUhxjZNrbJVPm1NkwYatiJrIxIhKkSECae3MGSsxl6RATMI99Itmoj1exZ9sU281sdgLdSvcwQnKfOUivwvYzU6buFjMrWdZ2oDAVkHpCZSFCjmZu2Qn9gK8Qixmsqi2XKngwnzZXJ/iFCYgxw0Jestqjeow7fBgJqhX7Q2XSkRmYJjbyBJHztUOQEHiY5y8p+alqmyJnCnWEteqAjmThgIw4+oGgo1TEpqPsuZXDJ/MQCJp8JPilKvkoecvo1o0enpmpxLpK+nUCuoSlVWp6o3yZdWS5pqVm+nmsWSoDbytWTVHrd+Zw1DXw4e9g34GO8hF+50olhbkzbyV/29zziDJHjf4WwoDONLL442Uyj4GYAMHuUgaCJ3aflyRvbpFHkof8q/fC/2lL237oq4JuQUtDz7AYFC/nlrHlcMXCPP6YOZxOzZsdJP9iJLT/MhoKy4wfSoL7lxsG1xCCLfh+X9YgROHQx9ale1T3xP45XzuLzMY6QkH5W2Mor9ZIbKAgoFaCrLxXl4UajaS9IS12L3g7MjzIgOYNNZ4vEFyVEZuIAcjbl+j94/ZusUTwUnyFWKurX46+jHQ5Sj9i05cEqovtWroF3XZ+5TAHiQwUjgz3l95UlRL2sl31OuxeizCHjpEdKV4Ca3HMYJXhEf6BWBpFwC6Wi/tAT42ARbGHoJ1OoI8fwVxxfDYRcro90PoYhWMuWKONJxlDbFuyDKYfqzHP+hxJRjNdD2G0+uAyAxblFUc1DMn4Mzl/khC299ecexidP500KvduqcwhwrsUEvKiOAU2VeIJXlQGR9m7yHeivviW+DZ+kuvpNtL/Cwa5Z21KKCBSlyJ3veCibWob1YOr3zVmCdE+2LHW2fVYdMbew1/WmHbHY/s3QE3i0kjGgXKbgW6jWVkJGyDjaYPNXalkdq7wrYJQSlhPZWqI6Z77f6kPYfV8V8uS1T7A8p6W+fbgl/lia8MLAwqjOhjkHNs/FmjpKO5uwxEbMTeCaf5uztKj5DiJPtBkCoReJh4aBGnl3BCG2bobqiPJK0WdeBElO9w9055YuW7U9h8cOrTe3rfC6f3/6oQgAmnjAYWMmIWFZph0STak5EWrwWwYyW5PPHJuD4p1v4aeVxR87xM2hrZ+XJVKXQmpm8fp7Q9ppPZY7ilxB0zJQegKFr+ff3AWTnIrIN2lzLH0qEC46hlnTb8VKEtEQRJIyNbdA00A8hOkwmKQzSbAg6royCetPwNiNYHFe8UBQuHLeozm19cxECAxhHzWSj0qfqZoJtkRX7mrdFlfaWnguvQTNtLDE/O5/ChGWk8NnaMFUbZqs7bXMRSQu0ZuHTbYiBUdwmHGZlMfjdsJ26zoiE4sRRkW0KQuDDN9kuQrQz/zi5G1J7Pb8wG3IHUp7e6S0zektJ0rqYitVX+jntScsxkO1o+EJ3BA4xDjqb+bZjV8SZ6Wbn1VGydPoIgNrav2s78yD69qXXasrWfc9rCiTxw2fbBiAlL7YewbH56r7cmX5vSWohmx4qcHbn9E5OZe487QD+sXMJZxT7VkVYI2Qc0qKANAMEM2n/9qIrbTWT0/l2939MPueDXZrivcJwW7RGBC8EP7TIkquIAH9QMJfV1yUU/p6RFqnmCA9fDB/6ZWPZxJQ23GJlCxjtZCQL7DefJHrqjKc6rbYJfNwtlD89jsyXqdgXkMF0SDODtxK9bMA1BRCowWAwgKuXqx5EOJTGLOgcCZy0Ycq7SAFM+Lohff47Nz1GBgy3lNgbtp1zebvv7wnoCVAHBuQaT+XSVoFltgDbylbjLTCWhkhoy0mFkbzfiLPHvtl4A8MK2x9mSTzGZWYe7VNVDtWj9m/bWncs2Pv4TLffvMG/6Dsd+j22MAADnMYLklQVdaGB1q+oySgXLkoJiCmnDoSIJOx1V05aA6cExgv3FnTa3KKm4a3zUG1tFf1nMgtpaRvJkYAL3Pxzfft3OzIuV0vSbUt6PjJuRnjMeIUr2ZTLD8UtO5UDdZs1z05kGkD4TLk9IrBk+Y562pzwMbk2WwSKEq9fFLEUcsq2aXY+/q17iPLHC6DGtl29WCyDGasyXDKF+k4UxMFiL12kEocDrGdVhWtZ78Qz24u9aGWjynIx/1VUjWEP3OFu2F27mm3ltZdn7vpDGfLPki5J1TZNy4gj4HfDVvbMbcqusbifgkkj5ic4YNXJtsrb9KAy/GFhQNpOGn1bBXmn4/G87p8cITROstSG+N37Jk6erenN+H231h6CO3KdwZVKUY9UH8znZHC1Gv/5LMG0IyJILiaXH4TD1bIwVHNq9afuIwcAZeSqjHNqCMtYmqMW9+ZKxjCZdHgv9C6K7wGR8AcbJkzjKVba2L0jCMrWkADFZHLk/UofwHQEIIugUYbP0zUwWMLmmKgbeBhIsweSTCPw+rxJeMeSU5E6Q8fixAnqzP/mEclG529o8e6MM/Eogha1WxXQMWtQbLQbwUzHO1uvrBLkjQdvOcK+4jeg+M1OXvwobmGi74T6AZqHHZC2eHqOZ7qbQTIFhIQXJ6Mv+QWak6i/lLaSJqL1JxJ+8F73GYGNjcLwy+dTEr450FPflyfihUvRRsBdaZhzeT7SKjEbHibi63rHwFnSx/tG5TBL1Bg8SKzzbXsdYllNEGpxj1ac8F+cx1jWdwzocTTHgAQtvcJj8Vc5hQu17q+m7jiuE6ewaAIIjGlAoHXFxoXaGgrYUaOkkeyZwPGt0FsvDMQ5zBvED0NibvmSVkj3zOJnAzOHZSEpCQR2fV/fxcyQGWAoGcEphRO8RgAlwkpIVILktrSAtL5WZpNMSvt2iYVtaHf3smt0e7zm1f3MxuhDnkXLktyaXGu+sKU98s0BxcFVSFpCM1NKKgQ9BY8vLmcU5SgRevONDjK0c1tAsImxHkCzdb6RMPqsRkhnt7PcCUCDrIfY4vsAWiHUaQ6FoGfwetI+lvHU2uunO5XzJfxbjTmmG9bD/KE4dph5kgF/BUeUiSfhk7Gpqlfp6UutUnU7kaaAgFK99LrNpm2oe8zLQe9bFldFOvVVEW0VxciMTA6RVCFcHe6erf9Y0WC5pO4StWGrS0qjmFR/S/D7niQu8X9KzW4rCk/IyuhkjA2AHZ4Gb0EYdVyBUb5zZyO484pEtCFSGPOUblXcGG/fDkVVpJ05fMtKOldZkMHRm8juiLV6svf/tLAZmB0+zfxzwTHoAEP2FrqFor3Z8/v1ieqHOzzgK+7l/ZMNVhnF6WSQ5SIcsdDvgYBB9Tl+DgcTC9G7lJNxw78bbTHSv89FXv30XcEZwTS/K7IRSW9t7iqeLeuqqPcIl+wEXtPbi3FudWfwH4UAlQqOwWJ0Tjcib9+b3wz0RkU0wj1xQ1JC2I7gOkQy5aWpnvpAJk8iLV7942fczQlDgz90BBlezjRUNLxpGVns8tLAGGDyrDLLOX6GHhIANrdftR0aFpyEYyEaN00e/XK/FPBgbxOPChiv5TRuTBMo1N174reAgulahIV4L+gqlVVvXsEJ6IXyiBr4FrtsdifnL30TxR2GvXaOVMjuyX6alj8B4fILorD8dP408u/36zT0A6ssi7sMbv9zgvfIGWr236YXgtoL3LBos8pS2zk0uLbsc5OXPx3EUyGUVU6mdPsno4u66w5nnzcZDpDEMLDIwjmPKbMwX4W/yuM7wDWBlhpI4rzC3YTdsxtgwhirfJJGrWwPHTHJVvA/6HP4d1Mjc8WRM5H7MYA40OfST2HKrPNv4xZunRF3AuB6kKv53IDBadVL98TZtj0nkjwU58cvojIYJopvvNkrmEs/BN1gr2ZpQouvkyv6M1MNiekU1KN+QXoy9b3Z9fPkrOKiZrU842kOgrl0ltV6c8aqNp3AKbdsAb7CxFdBhUGSr/xYQQ2tjie4AS6FNpK2ATT7hHr9M6tkEiMfJqLYEQYcZszhRRpC9uzsiHaAYbgJAOJV35biSyrQpbW6RD+P1iEIZyFtMHoEh4EqU5Qc52VgBSQs+ozBa6BqhXhGNUJuklDY5/BjSPFM7isyj8tMH269o8oAgXOU3BT1LTK3zKQ6s0Zx9TnY0BB7TQpwOQNLuXCuRR+VWEwsv+oNwC5q9ebP4RH023a4nMvWR4LKYx4bcXy71VNX+vVQcpyMfdWqL2O4dknk7ETeLr5deTRdboC55YDkBpbHG8TsKULwwMnKGqSkW9/ThKYgNoxdsl+LM/NJrRp+pDdaZKGCOqHAOwKXiRjuRswCR/QlyrwwTYmxQT/02SZHsGjAlnE3mO3gVJAg++pd8dbOPenKq3PH5/uBe244r89qXef5eCy693Jo9xBGSMxdfDCVGyzM2k36vRXQa2uRJGjpwEZmP3UMX8vs8x0+R0Zq0wSw0q/42xi5fZfpTUhq7qnTus7JWs8AQKeUVgAsrqm41eOKxG4fzNN8Zu3qjY0cUwLmWXRVVVu9wyr2/x2OhbXfS27RQ5EM6nbkgwI4rQYtdZAuK2BatR6u0hoMXZy2LDCCb4x7OH3SHVw+F9gqLED5Ow5AAlre1koPHnxWhXmR2SroFBGbP7YUVmlkPLqBn7UaYD/Id6kAc9dmMwoIqmAY7kJnYLLLx19/1aRZNkkQnS024lzpmsuppDUMMOw6gVe0lc1fNGetrEpDReqr8iTEqohDsGxUBX8FHnBhX3lBt199xdiSXwMg2lWEHyt4DRn+sDM3YzRv5Ps3rbspL9ssglw+1wXVEi7im39rPHwzcvLPYiRgNKjfs86Pe43fFNGvDhWT493gRSPh18HTFa19hnBE9HMOd1b+gcQxjsA4akEX/gtU/rJ5KfVOCVb6XX3BMVM8OxXpuvVVGUqmHNbVAzsAoNVHUczMacywOhWONNII48V/ASY6mWUv3//2/7kgnuRvmeEgyaYMQ0AC/ckSSoj2QmclJ8BSMNRD1EUAFgZmyhBHufEb4mXvX2VBXgJqpntSHHlt5KjdPhF9zqZzqgBViMDHV8VXBRo23cfdmUOVhfZ2t+vMrhcOcD+2DPwEAG+gA8nJeocidtUL17h7Qzz19oGHr/VtrCJyf1fyLkGHBbqTQW47K/Ir+e2SyCIZcE9ZkeMmZjha8KeNbS2OCCPQiL6G1SiNwPs7sOO4ZVSa+n7TptBPE/szNczHepjk2KP0S9KN0B6eQ3do7K74fMsDB6kjC+MZi17y5PtWvkKRrqOnUEC38HqWuJcsxwT3GBK9++Pk9kSe3QxxsfB/1fkPFY2/JipxntFv8/xQs7f4DrXMp/rkVK35S/MQNIuI40yUfFqJ5a6ApgDAsWXn1N91RY43qgQIW2Hl3/65QT/p/PhZM8GgYER8vejkPEQlS9Pd1qt0w3hoDWIyapiS8EP1zw+MYuWrhZR3U+SCe+aZEVCUHyChL1/Tplj/qkL78zc8tMyeYYBDiXQ6h3ZhWKkMO8n7n/+sURdhatWw8WMvtcEco62j0eVi16iIfcE6ACr4yTA2X2El837n9OdlIpR1VAu5OUn+k9sNhoBxa9jgXOeWjZEuwbQI1AhWPNzDYo7mLrS1jl8FDgYpaSCZj/t+sxkBkvBALwFdutJ2xTsk+0WeUg0cpCLMpBqjmyRLv3DYv0vKDyWm1vnNrWyKQFiUxAvHqtBJUwXOD5JR6Hg2FSGbgZYi6lz7mW5ntciYRd7kc2+L/dQuS7mV5wyUVrc4PMO8b+qWa9JwL74++LF2otHKZwaSEPnEhE1X+If0n06kn7LOKGZQYHpXaEgYVxXv6CX5JZERH/NdjuvRYaOge0sCs7xFDVKPUMGkVoxG/6WTGRoEM3O0l1UtsFmcU26FtbJ5Wc08r5uXNysUndLUcbOn2SZffMSShIZD2fT+TV33pVZ7hSBnwxXEarQJpbLZ42T0bQ0zoCudToooQCk0R838Jdsl41XD/AMgPdBXoCtvaqHkvqd7ZBi88DHnMbu3zx5RR8QNkStemhU5Xxo3XfveO3zSePatOWhLyCQ2RzYIrEH5OPiiy1fsOJns7/8EWserzHL1ibeqhewdgwrXLB5rRvUN83fKoq3TExIbQZpP9ia4gGRZRbQegAzQt7rXjABbvyTXnZS1ijFXBXbbvgYnWzX1ZW1DgNqEhFRZ1ccSW0OoPdS3OBn2QMEBct/wsqKf3GUSrmkFov2FzRM1uLHOQErlS4mu91upKTCV/YBUL4zjCbEfEErJf7AwjWkF0GZXC0utD0EnG9e/ncWoHdh/yCaCQs5kOJrF/ivTtWsHUdrl/JYtKJmYc91f6s3wGoBq9B2ejQ+D6Hmmly2La3m9gTrXtjIQHegDFvtCue6z/y61L0aqQDQ0oQNYBr1IzI4XuWSz3BeLp+YoBjxaR/J6ZCejbO+JsyKZCFiDCZj3K3vvRt20NQFgF+9qx+NJjEW8LgoNg8zWPzd65C9qqApLJYfKM1afzKujLIz9P2n3Y3n6gCEPZl6DZsq95dbFnh5BPf3pkMMr8Jr5MjBFlXqpHcOEMdTXdXH2MF3T4hvBNOuI98h6T+P6LrrLk5yiw7irdy1LaBkR9zpILYFzt13KlHJuhOR0RE8o7+nm5hVkK5Fk+ZUXOZkM5bOwkwrx5bqgFSivWNrCnr+iTBm7jpelYal1Y2GdyjDng9JVgWujhSZc2twgNcA7F/jeVHL+m2QGWCUi4Kw2Y9AnjmCbrF0KO+sG49ieacUZO1Vr277lviT+1kFEvwj5PhyZf5Opwv29b1hgy+E182Bns3OnF2icpikR4N3WgIYuSoFI183vLHNRJ9BLqtI3TiIwVXZINxqQD1pF2pm5vNgGJ4zA9n7TvTC7MOwb5wuV/YHYr01OAnPov1SCrwwqvmjRxxW6jr0KTFxrD8zRkE6hJkmhYa2N+0jdJ9gL1++fbY29QojgFmP8UgEyibExqD/u1nFqeiKMCgPVjb9fOYEiDY7YVPvPCZpoeHiotxyWMNJ33JayolVT2PD8NHvs01ZtZEiRvjJv4zfKFt/lZa7KYIAob2I985OuYdpqVE2UWQWosFaz3GgUwM4dAgjRD20Xsmc9YPZlledLgOQA+aUDrxOgbGzlP2fWI2V/H1qFwTmrlS2+CegfAFbLoDmFfLxM6joBkWxLRLVMatrRCGbi5t5KfHyOxKSIUh4G3/aTDhlcZ9AapnR0ELai8aEeS97/+Y2uy27nma3LXmPS4enU8vgQbE8q+oT1F9/4SVWsBYQbnWdZRuNVw6B3z46c/Aw0Lm414H7bV0wnblluocnkcrm/zdd7n1v3txFfVkpdv6whk0BEZ1jJgulDBZSVeguWpZG8mfty89T5iwUlKduwSOp1wKu70/b5VqUOWrQGC5VCtwrs517kRDwFejXU5ylXm+v+Va9cVXN1Ht+0jzB/+uEkxcLrBnx2UYobRZ/ujHvrOSbO5vUy84rqGvgMM/OOoxSqiJw5BDEoyY5NB87HZ8JDwAtjUSdtcCXyTAP+mCL3UvbN4tx3lIDTynszaAK3Qq1SoU6B6s4Hg8kTES7jpRycg8wGb9BzU396oqt5ry9vot1UL+A0ZdsfrZxX0HqKuILBRbjnZ3FFcc5LFfn1U7WstP5D1KAkk2E6++RICPCFG+o1dxLpMEzY54l2AL347367GGx5ejSP1Tsi/bn0mhHAIRC7yp+TRO2PVLktIC5wxQTPf1ISmZiSSt+fVH7JzQ3ytt0/P0PM5PBdvNPs3xKfHJDlZYZiGsUKHzi79+N2xh7a3RYLM4KxjUC4EjI+Lyqjx8yWb/EXC0S6dyqxzXnSnuk6OhFU5KKh+ORIwx+jJjkUAdnFIFFI7R172ZaVxhC3XMeGFxlHHLGQ8GjLTVLHz/SQwwt2AD/JtocW1grkyjrCINapjtoFfVtHG04/oiKEY6ql+SfZArJRTvlVaOaewG69K3Jq9QU2GX1yifBwk5AowxpHvnBqF6FWONqdI8AnQEpLoK5fav41b2UzSwz+9hHKJ41Uf10ht+RZ7uaWnZFmOE29ID8Qkhv9RrmtNhcNor8LtKn+kWdhfwTYapdFEI5zVhY19akNAGu22W2093jxoGBCIfUBRkrMrRrg0B1cdRCxWX4Hu89j91T/UgQGOShRXizWEZnvSK1ctLBSWhm/wWbB2rhQm2ms1oIPFQ83513KdMewep9vXWg2kqLD9Ccl/vdmTClqDyIIi/LlTMP1ILV5IzJ/jIfWwrBZU2Kj33bJRNa61FM71Z6c21PwIR5Z3+TbJOXeDwN7VD50+m1r7c+M1dCZXUt4MLQj7ddDGMbYsvS9zeHq5pg8ESCgcIzG6Xgkthi0znt70JfXD2cxvW0LSaau5a8l0f+5LYkOKRs2V/BKvnoSVEhh1wMGjSHeI8hMIgiCZZ9O2FHqK63kct4dxFFkB5P8HKuW5X6I7yHvyUZ4jHyn/O1PMg4EOqNleg9xlVaeJIsu5mpx+7VyD5nRg/TLcjEQQVUUH2Q4pdoz4DUm5q8zhYmVBFKYDe3/v5WXkH26Zt3E4yPEdtQ89aNW3bC2tJQuL3M4uBmyWnjwcOUYRPD/R/dKXPpv7nR7uxuHDKYh/XnVWj9MnVYiAGOo+Nhd4kSNauSxKEBB1qGFmvYr3PKN3CH2fA8Ej0unKYHDKQ6UVW8rc7F/ieR0j21BwQ4iSj82mTeF9EPk4cmmrErqSwxEK3tvTHsntPtM2wO/Qp+FldqhbXhaDY7WGfvhCqm+azSljhM2VA6MzcaLR5MbHLJe6ciVO96JYxmOBHvtgpY95ailicS+1WEGUwlEmRK3m9EDyQJ8WNn2xt4OPd+y/HejFYd+Q1t8yhIKgAA8GUQVMnMSkz2xN1rHzXRDwZ7o+bercPCeIxs0LLMWUGbtwROekCIjzv3ZIN9rPEFI/vP0u7xTJY9cJ4NkhRbuVTQ/YiHBiLyF1Eb67oAsWkOyYTPPpiH6Hu74g9hmqFv7LorSxwE96R1az9IhCgl3kREy14ht95wzx1oLp4brLdho9TZvvXBRFNW3+rl+cNYDCgr1/UN+GDtI6iTx0IwICB0euXH6fKN02SG92wbHg332B5t6G7InKkxNfZry6Rqueu5AZhWbgpXs5w/wyySukpb4lSx6lXGt0h00gLgOLrosBPDIAy/cH0nJH4CopHiQXqMXbZD8nrF8aUjfWMKh1y+tXNyF+T2vYMGSmOxnY1GsftzWnp5P22BgmjhckXnQNAXuwompiTw47wukjgxUdPZ944Uf2MdF0etuhw4W1DHITQuFIhZYizoShNlp0/jxXeaO7aN9wkrzCObDiO/WGn+J0muUMqOzJ9///a9X9Y5OYxLLVtaX/OWQqfLJa3f1ebS0sqNjbkbQS/xictIb8j8Qrz6npHezG+qP6C7Z8lo0ASOqmWFHJAGNOK0fkeneZxuCPV0Q/Ltri1Ipo/vzCvrnUDH1yqvCmhrTA66GXiGAVwltV0EyuUQq1gK1czx47FfNjbo+nWZX6umoQtSWPtCHrNl6+BZrEgi8ZUZJwdFpTvdMh/rzTzlTyvnCxeZIXBmadkten3apCbaY4yKLMYtn1ICOsz/GhX7P8D5vfH2l0zJ8i3wchY0HsnJRPED8PydIL8O10r0LTaTHpmGDt4NoR+EmKp7SPwzGG6yJTo3v1189azIpDqIPQpKKEH/kxpfippjVuSw+UAextSvbuSDEiNFAii4Pp78lch8GnmDWGAgJYI917wpNBJU+gR4b1rUfJps3R/R1EkD27RKlDHGKPEXDp4sHDOmfI6IuhSeULTQxOmnVbk2xQlSIowZjfFXxaBkX2abh4Ne3155ol/IubxIhXrkyu98kbV4dNu7xBKRyB4nNF+qNn3ANzmADg7baPc27AflARryfW9HusOr8FZz+XwgbKsek4Nv4klo/iI3J8JV27ZMdBCLDZeZM7fjJbUGgNUJRE5uLaV1gqWWj0AQGOzwjT1eWkKMI07rSXS3KP7IGMLxxvPP3JO7c0TeQfq0XLuFieapgSI0A3iUgZ+/kUvS80H3JGT8KEXqh3Bre6UTjmRE5dsRTGAStNcBO/hLPBh9hNAOO51YFfONx1JTEyoSF8m9ArI3Fkih05CvLbxtJ7KEwnrL7QtWjEGlUrkvFBUyBhMGzIiqO0ZCba8IGQNbUVM7Hq2sNRC5MGeCY6gN056EvcBc73L/dYsLLI4+SvblrMfxeS2denTZmkWFVY2QdMKkP6WCmR3cRyU42SLyLeKbOTdNbjtW6gl2QqOMRAgJ5jaz8MjrKXIV7+1P4dRauHttxLKmGN8jRfXWUZWRf1Zah9jAYbShdd6/PuPr2Ea/bTAi9V3/idPPAi/vmC/kBiRe6s0A7EWls6jZqgpNr5T377RMpSPLwNA4j0mwg3sEVZl/1Bv9KcZPNO6KOtgUlXViONdHa8cT1HkNY5WcUczkLhwwn6IiDsCVNoSTGO6cylPefjoADvrg+AACw6DgYTIIjFs2Jpv1JMfA2jVekVeYGhtXhgiyhJt0wOseRr3S5WRqaK/NOPrJm37wMdb2sFBBunl6yvWlXgea3+w7SSa+16zZzu8xNptA72ZPB3D/bh3ZB8tHaIvVVJttTDpbGbLhhEsaKckK0I+aWhx5rIlkbLqt0dI4PlMPOMg6b6n3M+V4Jmy5UYN0/MR/ZVL5S8QwMsw2lQacQTlGvqo2L2GEnmjTWST8yOxMaev/T8mFcEILlbdcmOX0DFbhgYMYBfjmisLefXWyKlm7JPjkk6k9xpUKWEIk8ACWYBJkg9BvEx66M8Bl7rpd0i2Pe4drDyYPq5FTAawtt2ugUbdbEaNlohosVzMmhtsrtZGjbbbgeX/1bJpLqmRPfAymnF34jM7lyyzMfcT83oWpkBJtg6HV4T7K1LVF93GDprswEY2mzDyAbBGZq9SKn+cfSf+WciRBNtPJpQXWkhzY1kjgTzmExB3fllzJRkDxTrCMnH3r7EPx22QMFChAX2pZEQAt9DQ582KD8xhdKwEeq7Uzs8F+DwZIEXd2ughnhj3c4WpPJT9a/eyi91KNfbWNapDWWbwEpoX+Mnle+7DF3kZQrfkZt3NR7AVJpTYLSVeffgcxaI7gjUYcIwQe4BNrEUosE3zGbO5UEw/oF7sJ77mAAHTORycYqq9fNW7O86UUjpgvxS5R0BZnDpotmJFxAJCY/13NOmGbGYDdfoAsdMOEHumoIDvXp2xO159E088ysEpVp0+JdnQx8Q56DPx8sjE9zAlYdFxev9kxDPwIwy+CdZkaEst1+AK71IZ06U0H8AOjboiI84iVkpWUK5jbMirRnS+PKsptcjMzNIR5q1BLxbyFgka7ZqtC8XqKY5S5oN6Kw3ef8c1bL7s5kb4j32b+Z2wMRR53sO0TAIajCu2xY8W/GU+4OjQnJAzbUBY5KbA08g86dR3WuxBB+CYjPE9Ml3I351aIgOhsV1HQgu5Gdc+kAQgIRVQIX8GofKtcoFhImuQ7bZJWx4OJqOnlOa2+x+pwyi17qtg0yBLsLJNFmZVzOXtgUgqW3V0HHgS95ZfF0GgUHoM8qMIpkVerJQ0aKcew0GvSPHUWs9vFoMCC1u964ZTcEKJyBbaynDcIKJFI+NaU74xNXvDOz07iy23NvtOBFVpYW3aQyxADu1M5Uyxx6+CUxNDj2qzrm/mg0JKIrA+yef3GYGdaInYXGG8PUdkCGz2PJa8KKFoW1822MH7TIIDwXLiIqyjtHUCj0IB3Hw2gqLeqSNaUHJGy3kKx0DdHIQUokX52gOlcWSQonP3c3CpsXIvHXdlgYBdAQ96LdLgumwnuurx8Q2gSdbyF2pN8GL8Fz8NnhA+jT+GMKJCIEd/nCIbpxJqD9cOw3kl+EqaAo6HguXilXKFdxfd2BBhxPiI4CZ+u4Zz+3QhCdkA8FU+60ipqNZtQrh2ENJ1XhBDKZNyK3RVYNa29GA5KL87OP2GozCYuJDkLF4YMKNcZTKhtml9v9uqQq37iEkBXmyfZtGgmqtkg1rXu+uxu8Mn7bJ126wCDUQBIsYxg7BQZcz2RPdxS4oekmQ8RrL0maULzAD6HmNiMRtt94QpfjB3Ssg6GVZP08zv4p4VBpxhbXMlDBnAY51UX9oDLjQq6JSWsER4+XbOeO+ucfD0BP8iybbPThWNEkRVbLhgcycH8UmF80bCTV9acEtg5iQmd9v0bdWvEPmKX7XiTw7aYrolvhdtwrAN4tltUEHUJY+L1UAfX/hARXqX30kkGgvb7La+zSWYRcSNPtltG9KqMT7p2JMSWYedPKHeLHnNZXfPruVBiW7QhfTW25SniNTIWTIT/UCQiabfU3Vr1W3MMDP0wPE+caMVhI1x68ex6aPvHK8j6yWdOKdR5SRbqAsCcGJdGt1G6BPjl/vbYFPIctLVwhuUjtyDvuefZgKDBWZT6gszyrMWRfaBqGByWT+OfFvnz1GmyevCZ+40HT33kQLwQp2vd04rkcfvP5ncUxn12ciqROouz+19xAmZ+25Y8OlfHgDQ0InPcNBDPRiAQMst57+cDrE2Fwonrn9iP6yXD1ESt8XYGEwVqicg82eM/+J4z9/GKAZZ/E+kNV5F+VWGyb+3CoHvrePScLU+h1XrqHsa1gko7XzSeujD0C42E+32ZtUVa2m51PXRymV+7km+Xru59pmSeYXIemoeJRinK4jLPqi0jWDqn5yWdS1gPtwEzaGXwhRGfBAXsSekls3wEaMYpwADMytfidUlSyMmwIFnQMcLHstmvqHcjk2azOdhZb5csv66Sdb0DVHqeyUtEpIfuHOt9BCBWWLE2a2QQpu/KLsSg4pj/VrmORbj1D+xJDXaTpsSZgnt/T5zcsQBl81WGANN3WGSXwuX9RKO6Tup3tScimielrnEf1KLKETjRWCkOIJlG85srRgmS89SK3xszR4QS9dAw3S8Nge9KarXuyFEUOTLBmP2wpx52hMLJAq5EebJaLXcSO/04dwztmUIUtSGXnxwwSJsIfE3pmNrq1XbEW0xV8gm/Fx6RLDM82SuVbJcKTXDTJrexVxquNR7HJ4F1No7L8zMn46c1HK9nRt0sA5QP5enqYdbeYWn75MgBXtW10DTxKREUCqE9TQ0XJsYmDhBoEz1L1z7IYpbOi7Ydd0kGS+vJvav7XFBSjjv+vmcS0r1sh2ehkswz0XlW9AFI6wTWJ4EqVEayi1ZGyf7N8CM1Q0sR8Og8ztwo+sWIIZZwn3e9c7jr5neAohub7ngrQRk6gXFXuQxqwvhN8qloRqhfUcaCc9jN/iPdXMuDUZc+vDsmxcIA09Oq/lTVaFh/3ESV+wJDDTkFCwZ9bheSBNYzAVz8rN95019i1r/lddS3K784EMjZqUkJA8UqHEPi1YF4KLrEeXw9gl/jH8mDsYZWcEbf5idtxxHsAyCZDTu066vbZHsqi9rQo+bIN0Cv9rV2wgxHw7zap4KGTxHTJdGvQTPJScIeJclv1LT0ewcLrolEOPehkB5DUS2TSc79rJx8PSUO9iXJkya9OtkjdR0q5nuurA1ZiqB7oFjluILzHqEh2tMnB7Jb/LgP4l1qAyHx2aQmjM9lRQ+zqU42ixfAuuG0djERD3/drnXg2+GmowYqEX109hHimIMtbBj1ZYfspB1SR/OJOeObrm3aUb1uQt2rf6WxvR2qDzT04EJzjF1Vbe5TuWL9mgnUIrXYaFIAu3nh+E7WetAO2kHi2RHVtomz+ZKdff1aZlUXkzSWRRzkbCFR8fufNKfjn9NCPsHlvhyHNHJoDWRjTObidaoj3C10V7HwZhmIRGIp9vjDzw+HVBbMAQeiPpBB6dmXcpSbPc0VoZU7+UWqXgX8Msg8NMs4VzJ/5ofca3ddcbKZlJdRK2o0yOkfLLsQD1ABI/xGAMDkagNt34Go6sfv37wJa+/9Sa2rMkqWMBmP/DUD1vYtMjKc45+dyzoqzMJBNqYrcg4kTOhR+ZVK05LmyEdjvBk1viaIIdRHGo9abUREEF9OY7mOUnlfknIxB4oP3lAmUVE3XtwzwT9f/eIGvMNg4iace56s8AQDo8xksJH6lmURlgHwf6wVg58Y3uzR2HWqNmPrapAJwBN0A8GFmk9Fm/jD9xHpk06ltFLnUYzFCKAafhopRtXx4ENMtEPvZ+qpo4mxh28yYidDh9gu1RqkBlqV8rCxNDNTdLF4okUqbOkYrugbm0sbwiFfJBW7rkUJf745dEF/MdtIq9EUtea4/UJ5EHrHryVzT/dGtXu9hXd9syW0f46UZUZm2QErY5FCvKInGa644zqofson2i5W4K58BZ7AywZQSU5h0yZmiPmBZ3M+MkFn6dIqmHqeliS1iQ+it4n8UmVOmTgaIiyJnYueLbuENbL9MUeU+rdhQfjWk+q09sN+riMs0rdFtSAYWrncbfK0AX3/R8MgGLmGGPGmEoNN5Lp0CsWwkELNZSgrSAPJBGpNkq81UOHBjTjIOlFea1IHU+MoZVayu+MVHKdEhHtbC5PlNgOzsipGiLWinLdOH2/3rJBuFKSxvl0BlvPiXcdu8u4qu0p7cutxpc22saKq1z9dPUgMr2ZnNf7almCa+rgRqClBIL7139EFEsIZmJEgvFsnUyJUWeHAeFhvddROmTW8Dlb1bJhomfn3mUdh2LZpXmmGqg1XCtAXM2NXOuhMpnu2Pboiu7O55NTG5vdNJc3i19EihWCj0SCo64L2Sawy3jwN4v+oLQswIivqAwETtI/LhTkLDCRgiQOhJ5KI3LsOiAHSxC9Xwi15jXsc5w60i9Ug0D2WUls2/cp1a8OJz/ul/vSgjCbsNbRNW2S8z4WfJLrYahAsx79fcWebakV4KKRpOv4JmFRRQWKudp0V8CFL0fmppMg/d1nM/faTWYdTNsMWmL1GKvlQ0jXIneGK+/knsJBRKo96+9L7kMBwRgUve6WmhK47/uOo1kF85g1vnS66xwk5wzkCM2/73n0wtm1y+sCy4n14dpX8V7bs0hyyMj6aXsF5fPL6qN/SyL/PJoBwfeUNYtU2DHErEdt2UE/i1I9wRXG6Ee1w2Wa89rZQECeHx0E75u3jhOKfuXdSJ+22hfeW7AV4s+i5zlhjSQTH+wGUJhzDWZuH855KHd4PUPfbCPbJMIywl5wsG8JVGuVt8aDxPN6+zp4OKfI9Bh0L769zbISiql83Mizev+N3uCIXkFyVhwYEF9Vki9OhVDOmBWZoWqtJLza5Gz68ZKBdONX8PphNFTOmzN1DQewBlWbwezDXvIt23rbqlt8BRCtbT3MV/T8rmj5mPc/9+DHzzPWwkQg2BoWQkd5zMRaoVrzBentxosV8OSxGT33gOJV7JkPSO0wZy5T8Q7IdHa7Aao9mXH/Jom8KXI2Pnap7mo7jbaEFLRbJju9dCdFeVDU/9KVGLQ6HPVCshwiLwjyrvYZKLJgbuDQ9OkPYUqBmNH9Ugb9SCt+8QYCmBl996QQNWkfxPwCtjKPNpu6TvVy8bNExrtlMIPpN6+mvIO4mj8QnqTsoL8SIBLbSwGcddu1Xg5QpQBX7sqZvgulmjdfJ+LD2azZskSA2untkekKaxrqbPne5Az88Mnz/86JxumIgdM7lySy3CMzKLrgKF3zE5pGJvxH9SMPPvcLJAuDtdo/IP0q6Jiz63pH+cVl29Iapkdxx03oLWVuiniaus+U1zyxqaXQ5k93/ReGnanfzbT0QsApx1uZNCHPXjOWcpxco+TrNdTJ5eLtBSzLUMr2sjk/s8D3ajuFC8Lb5I7Wclu3gW3AV2Gt55RnlSLxgzhWhLn7tD3G5oZeC+lg+asaiKRxFBW6jc+D+pUkk+3aKmHhcoPOzz4G/oft5QoCDbmuSUQlgiEXLE2Y+Qt1Lj15sgTv3g9M4Q9TdPB4YBWFmbAadF4LBjurAXuVfVGF2/OG/lPwbKNCRXpdYf+SjdzMp72nyn7j7fNhlFXlEXTMWEpdEcb0ttyvBxF+IYViLL3HnN+yP+wYD8BuDSdLYAZOYhnSAHSfDdgwR/5b99KaW88kqqaMC5wW+R6Qb/S0njga1UBtfGg5/seMeGAcQjCr+pDPLRroMctxhQUga1nxiCmXh+GerYsIP2xag74AJSrh4u0WhEyBA3mGJ9gf9DtHcuf2Qx4VM3Jri2J4oUHKhRAmgrHwux3qVshDG3RPc31VByfDzET5yRtxvTJv0arCOUoHQlxRGnRpZdF3ExpbTQ995kk9mE1hMm5RzVBVL2TsRsIR4/GT4T5usemgNOx1aa+BJwtJHBgNLwSyQIYvBf4dp7FtzhCTra3M06TJ9rvG5q/Mrrj3GwCUtxqzDJiKDMaEczmPxmba3AnHWkAVFkyfBhayKyyKR+QyIZqHCz3t3bbcHAjR83a3+WFOQeFhc/JlngTQTSWjqkLkt7H2hfGcQKAeUgejKgAS5EIOYVkuQeUHfBggqcJzd+sUZkg2tp1+reXFWmGdw4rRpauegdWHAAIQbXC/aU52I9aB9qYbXBKp8w1gcbhu34oWj6lnAW+n259HhfmaDCOndmnIRPn2UUeQC+/8n+82ze+pIJPRSeKtEK8ekJC6IZdry/t8HP31RVi4QUTiglveGUdT75wqFvba2jZkU5coiBBHWVhGOyl36gcnsooG0Toj5MfFrdnEZzj1kj/GF8U5NvLowlDrkhFfkkGSIRA22RxQXS3TSxir8TsQsaTBFeFFebXak/UfBC7EJYPMp1ht4JV8HTA65zYu5LpsOL3yfr6TuqZhgxblN+G0OY9yJudBNZNPfkw0P4yMHAbkbj1xuIlfhKtm2zl2Wek56wPzKiVpKXc53tC+pVbl34x1+Xxtpm6TtZI159S+sllX+qFDbS1clZjbaT3ngpuZLj2Lrn5WZ5EOph15nEeAUILJp0WPZM+nspsVE0hdhVfvftFzbc4yauYGQP/rB9A+9fHNHfSFXHSHDOzSH3/4hFSmx3/YkZ4Z2DLFRe/ryFv1p5CgAlKv4/zZEDIUQNPDHXN0GKZxcK0IQm8IH+ahKUW+5n2/GgCXMWDfy8Kh9nHvoOz37Im3n6I1z7K0fVD+2h7ejdPyR5UMvUzn5+XyJNxVer5qsryzq3dowCWNgP5EtTk0eFmF0DsVidzEZ0Kt2PBooHsFQONa647oj6KZMMOu0/MF5nziKw5lgaNPV4k++UVln6aAdkpzmcFMMezVIXqHaizPemUmIx8SNnFMUDbKE+1JWtDeRIIBNlBTFrI/inBB6/OPzAcZrJig8zu3pZ10Px10QePHcpql0CVvs42AjZI8M2vsxJlxEk89vFRCRAkyxd19/qWDOhuykRcpq6hEjB6+PrLUW/41Dg26BmnUcPCV03hxIl+K04m2huuHrA9K49G8+W1EircLTNmFhKQlWp9/IrPyk5civH+Y9VSuk1B3bdfCNgd1MLRyw3tbEIWEA0FKw8UkfmJEWjnGDJU8/Le0EDOR3COYc/7F0oIlNbITquSXZ9ZPuOfRgdthhaMtUA8vn2TKvpIWcw5/XlvCVsCWqVDQNplmv5Ril699kteuZIe5rEJHKMpdSClbqUSNj01eyZB5AJcAkxcdi9jZU4bFTv+AySDMIYEEvtQqnXVuVlZpiqE8obySt6RlPsmmJ/Dk15xc2rJEeLXURboNpAEkBeyPGigpOhj6LLq/DTedQFy/C87wri+GnhWs8f2z6sZaUTZEFGCcvKbW1ydjBMmK4olP4YVPSqdsEQz+kR/5F7DrjJ5U1O7D+5435msUp2pDkWeT/dcl41vuZgc4MeUZD8JTU2uACo7PN3vmMb3XExeVOySTFunSHauG8wjHnRlgfMxzIXzJREwCeitrRCacyiBHHnYpKyRqygVK+TkCiC32kXOWF8GpSv+Flh1ttyM4ZuVveNtQgvoKXp32F4abGM2m5tYpYj9lYQ5OvRnkC7vZoRtxlrgKz5zk5pev81urd5RySCSrbO2lY1qfZM4esOuQ9u0mEpzEajGjeV7LqVwGAr0+Z2VngUVjiaazPsqFwDrWwo7/FdOfSaDEIYAiXkLnF49hS2iRO7kabVSdDl4h5AkLqQp4mtbL3kUfvGflR1rANdeaq1ydOtDjf6wjsNMdCVul9ECDHKXjVbrAJO1K9eNfEJ0tOKu5HLH6PK6IlRxPw1pxy/58ZYb25lpvPo9R3uzPkn93iu2vhZbMr3RGOC94rZnJDQ5aLyG/n5fRUbusDJD+RqyyhNnOUIdq7ulhry+Fw9+RxMW1sLKTy/6OZQVCf7+4w3UxIjfeFhbQhVmLhdaRqsuCWH1dOj72y51H9yy0snuJ6iiKO/2AX4GTZ8g+P110mbnJBd8J9Tgg+D0OK20uNtTIMqAhjh2vIzAAD2S/Uc+QKYYTKKxzskJF4ed681E0IC++WjAe+uQ901RYe4HHbZAZpubw3rJ9nRr1DTjyLQ7xgZ9v3cIEO8nejXEiSFzsNQUORYx06z0bjFnBXjsuFHJ3UH43o0LcwwuDZZFEhbXfqEQlsIRLFJ3Rs/kiUfj+Z6HiDm628o58j/BhoUnmaYM0bwVvXHJJT5Kx1StUa3HLXJNYP5YUAvb2h/QQn1U4HEu9nPwQUKwdBK5BiAIIwVsgs7ottrV4Vsz+5NwoQk1O+XbdNM4abENHrJx5dzRBuORr3Og4Q/p9ixa7ApuNaRdA9nceC3OeSTnRRvwdSurxoOtpzMRrgZBeLGajoBREiOYyrKywAytDmI0R2VKMi/qmNVMVSPr/lYLIMEybVij5sDy/7UwldPOY6TutPwCe/Ax7MKsMy34fBkAzB5je+1rdDC4AkCxgdSge6RulccVFdtU89EIHdMaL3jSzu+RpDwzLRxCjL0cQFp1P2W2BINip2M+dxSFAj9noXqhV9RZHVtZG9/IeiELcKZc09Lg/aOmkI7o2gD1/giLV8m5XS52HZr/h00/TczqxnHaT4ePvghFZQQhARcxsM9WeI0AHwpdYqz3cIaes9g2PRJDKW/NT6+LWlWWYERNb3rbJrqgGCeipy5UOGL5i7zv4uYniyaj5HeeVHwioym/ok22yMjMQFwueVaWFAkChKTUnBRBjT4eHbwra9hA7m4YNmaFLTB/753yjpZd+EPAHPeHySipvXdbTqbz7sb3KlqCsynH3Vulke9ZTGKQxRjM/0KqeEI9Nk8uiB/JJPeTywjwSW5cjAC2AAdAPekiOhno8yYq+aHxYtWj2WNhPuoEAPKabFWgPYy1W6TVF6YPeg6O8C8Xdvzk0Tnz8B+ZLhE5H+gnGnd3w/qX5+SvBGrvP5dO8CHzDNoYpHzCDTfPmOxZdJ/zSgPMnRS/9zDvG1N3giTrAYqkg4UYAerErsqt7WTJOsdM5mjvZlo1lakTjAiR1oWLRp++xTfDJKRy8wiqITG+2fs4fWOxJkpmQyXXnnhakc2HxinYlWf7Zb1WxEjG+PqwI8QlnRbGqoEHXm6wwJuhg7iIK2jpC1+NlwzLgBO30lj96ssjGqRVrUvLGM1UK3m2jfsprgzT49OTZVG/aGuO/i0otDtskEoev2Ijxa1qTEz32rJiJ+3ndZJi2LjGM//KUvBhsKPAgCttVWEM3hPLNe6E52SqLKHhTIATaza1aPmknn3Y1G0dx0DfY+kn/qUNBgoSzrJdDLc5EmNWG7bC06fTdSJU2+4896EGrvFL9KaXr0zpji9pGMmpxlxjWbUjz0iIdhPqotdhglpMFc9alREWfLPsqZXLNhcOb/iy/kijJQxOfAQJwd3rSqLVl0Erdh03xu9/QdIGqvZhLAR+s1d8kj6cZxG3egNVasqXcegEQU7+KzooaoTK8bgqdejugl47PUYHkEOq1F6CU75WRpSm6vYfvx9qJoiu24csJnQ4+gBy9XaXdNdPKPe0uNzVRPxSJgIFFNbcjHZJ9DSfIqmTo3ssGo8dwmWIlobwrvM6k0P7g3AB6EPwHepPIgOpjeHy/M7ud7lFzUVaI1EesrKOkLaKsWTAqIKSGrZe68f6OlFf4iC36/yIRbPg6lqVOqIuYqd5gx1Pw2iaRu3A7KHS7tLMSTQYWh4vpbiBwHbL6in3gdO/YsZbF1H16+VNQLoHEySTrSAdqgJiD0GVmiZThlOAUtSOCoJGIAGXZTA6LRx2q2fZQ6eULJnLvRTEmxp/EmX0qgS1g9qKPtzBORF2WK12B1piR1ZSw5/OSRUcMJ7Vwj/IYcWwn7ViFYrmf7WTvf0i7v+SvSmzJkqAuJjwO8V0zDBsdkfrw4+kXXob44e+kN2adOpi0nxM7tK6QHId8iKOwsECulP4Q0a9ZgjQUXcXUn4pf75z6kIVmsgJU+2obwfVtNv4dv9bRsQun+SfnavFNF8BDqkEOfhm79l7o1DbuzPv924T7cb6GC7Oa/lTKWI2U5CRoq3DDBZCg9HyyMWAD+paKtiyFZ6oJPb861DeaY9MyIfV+g2ksH12UreThvt42yrtZ8FaJRvyJuyibKIKQm5l5ePhcCzvuIM/q2woyVWTZKDR6TXkQR9dBj4wZLdCFuvYgeoInxGW345fK9O23vqffTMZjHRHmJj05o/PX0orpT/GHnVXaQWoeT9mGyl/FlPrMzUWWs97wbWgBInREjahxU2ANX7uZXxoDub9GMxaLhJlsqMNNDram5Zpr/7tX5WZUoEDcWMgAwxGMs0GNUACoztKOnpW+fW1izLUXaVUilnujjFt6NBdwZkwP2fdOITkR+hnmxH1eaF7kR4c6yarWZxgfqNBN0B3RiXm6EghO4UpbmXdP12Mpuae5IdoDr8A77ImK7oXb2x/CXZCPGUHk5ckMB25SeyOsIKSc6ax3m6wW+66nIY06T+npXpqcMLOSLbf8JZmnyv04gOi4J/dEEnGV81VFuZAp7+InBLu0QsQ6ze1rDnbEMRLCMC6tHCGkxyB5AcLe7jc6dXo0+A8I/hFsiMH/QewYcunmBQwlpgJqt9WPm2xOtJuUmh3POF386sla9otefmCOrAcIVT3ggDRuIcxLdRwLeBgvxQqfYKEpOgZjRxxzeMiqckB60nCJeqrjc1kF4QqA8njzykIS9rwxJq5ecxRyZNutTSxGTFgrU0MuiZBQwtKqOvXrzjaTdkESErSXdJ1QwG+6aBfgBGTpPNcFWjpWMLJEFyK6T7AWBJTnLGmRMhCK9zBrBM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R0a8vuw1ApqTAblihP9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kbnWS_x9yrSRS6SIQ1f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Mckp9uTpFxcutsme0fj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W3iuDZ0Ys8BxlsRuGC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QF4yoHedqEBpNNTuXj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Kl_pc4_XYdHUY8Gb28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qZ5OC2fpXfZxuP0FXZo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BlowAD0BXFseZCm4Pee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2Uj43b9rbj.Lq1vGM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Ny8kI4K6s1qh3tQR5sF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sKSv3FaxOsi7tCDs7O.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VCbmVBK3OgbxZqLUWWw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mHg3ZzCfPTeFI0UNFgk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oL.gQ5gAnfTRyyXzmEu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JJRte7uFtE_8WqUqVh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_UXMt0lJUI0rzQNvQF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pmxqgENCy1ncYS3sD1e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KETDbRmIvMa1.BI3p8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W2HPYJRix4rlkNsmRBHoQZY5SPzS6T/pnUhAo9JM9Zy1WNHnj7m5MbLodviXR+zfgM6MtzeFOAZTUv/4DraTUx9AurL/IwNliPR/TEEgjSfccyneHQCowhUsuXpLXzLuKUhQGKq675F5MTgWyoc+970V69LxRO8bcDA1+4Sgro9EpBpj+6zjajW5ciEmhnzoyTpwaz5bWqxWpxnnakwvjt1GuFcVkpApKlM9/bFQRSwbOnmdWBGj94BiXnr+Grlu29WoO+NQxl+ioWsmzVA7pUQmYoLzCTOgmceXyTFpPhrxu7YEfrhJKR9Z2+5UJNpKKFfuT+u5fcSFZKlags5547L6dw1++at2B4/6EE2borQtX14PoOOXDcs/9t8W+WlYRQjGzTen2+WL8rYbjScbz2lFMH8tuiOPRtJtt5zaBhbFW7U8orC3obBLDviYRMDHu0yg0iEJki5Le8EevoEAAQDM8vhVjDBVX1NlA19sSEAE91Rdt8So8m5ZW76++QAQh1MeBaCXV/SP4Oh5x/795L4Yva/YPTWcUYemgs7v0GFZWwHTt/1zC3LxzT48SD86Zp3sXY45Hi/fnglL7NmqvdzqDMAf3N0ylPkzPAHrjVEPo9hyVriGeb+TtTAgG5VzU41LNNaakTSY7RTROrfIZKSeflqTdPuYvxjkb3XnNwp5s86qDAgFPRbXCZtrOg4caAkv/ZaetI7k7Xj9dtw0o/dtxAW7IOP/vaxdDSa24wAAZat4CO7/PrVPT1O1FyzYGV7/ldZtTEgUxgUpZJZJwXFZHLXJ4Wrs39p3sRF9dL1goe7zlPtIbVgAtJSIIHhkvBiMbcRnphr4CHdoVMAyVrRqHH84oJlYCL7Bqe+aJI0xfbVjavg+OLRsdc9lLGtCdLpfzdMPH6Ahpf4CE1i3ucN35YUyVAjfb8HSgeSjtms1a6m0f03ZOO9xDrgh7dIK8KRzAIWyaSoEyItAT0OztQZz3wqrgCK5bEurVmZ3iv7ilcRTRONrbp+XfKa9fuUP9Wd4Uv9rY3t+rgOBCUCTdKTTdomgLuGmCyaMtje4oAKnp2StXsIB+ag7iHB54TgDCqciyzAj88zY0ZzZpbqtbiojrOn9lDzVkZKPD5SIgHsNjeCMYZMCRlZvr8Xa7FycTby6bdAhoUiiWewaPhcp+Osq9r8YgFovHIqGra5wjmkA7OUPtuQM+HXXTWFe+0pqvd5L/iSUJaVwZc75c1L63FnaZgjCpwVYPlnJ9ukwYHrO53iMgq+InOVU9aTQ43pMDqBMnoIL+UbDBnXxBz8ibPcqx0GK+f82Aq1g6P8bxlPb1hcUfHzrBmY5m/D6mUBYoKpMhCPNuBrJDj5f0pCtZXd68IzmiDBPaj74cEu7hwpaVQMxsLeEegEJ3yYu78Uha27xPp5yh1NMYXsPy5yqOhmrnOXBwns6YoegJrVdBDwjn0crXWIoH8f6CWfrzILEfD3k5YpOvk8b5g4x8NFAfa3vK1cMZXQn3gCSqTFxzd2yst0xX0Lm4pBvIYMeSWvL8qKrkVynigRXz62zya2EC/rpHTryDc/gUHPOfkg3rFsC38ydbm1OmQn2nM7PYOjuvziUpE5i1TtzG5Pj36kG4qJ4w5ZkjH47h4LYniOW3m1CORYGR+CsHPVa/wT+N+snhUkl6XSSjijiJx6q29HrekY+GvA5GaMn1jvM29hM1exefhnqelojeiwgbEbYi2D46jVUQk7CkShgZLG+UZjCFXK15R6tMC7BLzujIgcLuyiHmYb3in+SBJ+8cY9v0wApJxhh5tggX9dk5fjv0takDKrVb70iw+ctY7Cw+4e/k1DsudTKykaLBMiJqtGGdIQLnSVCr7WgbgYGvu/2ro8wxX5Fz1pJADpjuSGDzyQOBI5TQoY4TP/zrHymAb2XUNtOdGw3vsniwi+3/HAwD5N9NUntivAzW+qWiedV/JFT3sZIqpZLxaAj93seaJg038QkO2F7x+Lnfly/c5AvYHvxutt+ER+b1NjQ1CvzUuM5jVMHh758Zrq2zwVCqBYN/ox3FrG6LRvXHmC5mhA+yfBp3EltM7t7uWiqtTPDFWdUj2Mo04jDsOAspMq3PG/eUyi1hklCQRpHRT7ni8SNeIndNuWOnO//a66h5CUU6BhDm58FoAFu2zUt5BLoh8L5FotuBvYoWqmgsSvP6v/2VgKOys1uM2P8vxsMUE272m938OrEqKDZqcw8XL+U/Hse+MPK1TV/L5YkiJOQUKZt057QveUWJVSLnnYGZb524TI7EOgLkOj1aIzJ0lPMhIfVmrZydorfsYeN0nLG57fJl0KYP2gdAM/DRpsNHyApieEezcJHPmZ1nNNsk91BuIZ/Rt1Jc4vvTFl6ZxhIQyW2bP12n0wrewCxjYBeVRoNXFYtX6H9ByLqs7H1BVFv66aSer1VkjlLj6yNy1CS5i+2ZJgxHqjzJwUOHe047vQXRcyyF2NEXgoSsZjnyBqiwc5ujaYdRQ6mZ5EbdEJ6zVjg1tuzcceAKIjPdLTQ+K0t5b+na5dmdojoM1c3R2l8V44QeQx4D9TkC4EbF36klWCufWkWsZAkEwqOxOtt5Fyy3Gv+LdUaW1TqafcpPA49mdB+iaOHt5R7cb/9KaSzRi2MIyndbpVD4E36/uvI636P3tI1PXFrXHBaxqtj/WxKgemYbLTLHNrPhw0Z0PXqK7U640CDjSNH4tKLox2yYNibevRSjIr6Lo54a+10WZlQ1SOsvvnsvaohYxusB10Z8rxf0aHR1q7uecZklC0g9Uzo6P/8Vn/Ov+RVp+QeFya/w3xBl5TCw5qyQ0kPceK6FfETMVsA9RYrkgWNPv3n9XJfIvlV4uyr27Zl7Nwr2qfx/1WFQfkBv/TVALe6/ybDdD4fnfxManIrTqZVt0zg4e0eHpKrEa2sQ2gAupC/pBynYjAo3A0/30Hkg9r1TavfJDfEYJ7JTAfqgmRCSDuHbdPrxzRuaheEwPSclTWrFbuw9+1zAiBLBfgIxE3oLyZ96qESYGCzjsIwkuySRq+ZPGjcN1acEXeumHs5xjmZjrakDsnoavMqp1XnGObDSZNW2RsZHfWHibdxwkKYrjslmhRWXancfXFB2Oc/np5iqpiEXz6ulv7d/ZoGlLMC9NVMVvNeM3exjta/QL/2xDMyLciNxiFvpb//nyWvILUS4NssGd0UTZfT7Pv/Rj3oQbsJ1snoheOKQF0dH3zAbXta+3KOdLMI513i2tMKwJpDVe2mQ6/h0Py4gj9EnliSvAz2FgB3ygcQSyAf9dUjLIWpyBALtRFgxx5yEuo1NKEcveoCsT4RufxAYyrjkkXiUnWzJbOSyA33+CzoqDlPiONHdLLoyoDhiHJTEbpZoHjF3a2ExZIJNLxQP47jLKKv8hZYs0KCnEfCz5fnF3hawUoAvz40NaCFltOTMuEdNWRhVWwB6c4AWdUAJzS77PaSsa7ZCFEy2IuX1jWkI6iv8FbGH74gV2MSLVtWIYq1RBLHHcl22wUdHRbbApXOfHfHYwIiCcEFRj1HeXFxGXivY9jprUkwpfK6+Qu9ZQyT8EBkVISrFRzkxeWMBHCwMeZvbpPvt8+wpGB3jiOvWDSiJRzSOWYRlaBsexUdhdSSLAYnK4VDDxJLGN+fp/txxWLaCRwQKB5nJPG1MqY+6JQ35qt6t5cRjnf7lNLJ2mFDKJANyxpKvD1FLBNRCQg9z6FEu+8PSyBmS5hKzzKqS0t8P1xzgNmHL8hjlchfWGYBQYJdpAHd5SmRvVhF8jBHD7ChLmHo8Mrgsv2CtLduCiZqJ/Mwk/G4BNZFHP+OyvgvMTnmzFUfZoCUwvNjVxuEfJ/u2vxOhwHmvZVQIYE26hWNvH1llV5+6HPaPDspxvCuluR1wZZHbi8QqyQuFy3Ax9LHiBbuEKQ/O6hgcnI8QqI5efgvziMRnRIfnof0DSgkvC3VjdRWvm5AINVqJ4a18YdU171q/zu7ENXJRzzoXbzxisrU+T16lvsPtYg2YnxPHwG94jbg8CfGxpaD3ibWUf7uIEKkFsdp12Z64UBEm9EZTLPE0EoVsn1MJ3LNLVP44EABsLwGIZ0g/KplywLJZSfzJ3wmaM/azB9r/VqhMQgOK6WTRpsn0qlw+VrBYFOZ9tkZlWw428Wy2RlLpQPYZtnQr1e+V62NOddg0XSv5C7Iy7hgVX7GDKBftiWf9n784cALWfLlU1VNQxSf7qqxk3pv9aH/yu2qycytC5bn348u1zLQHjLAuH1EWQ8amWfoit/qR8qDgcCqFvREMzqrXyBfhadhuxKqR/Xdw2GmCv7p97vlF06iuoVOq31me3UrnNJXquoZlfQJceNNqQGH2e6y9rX0SR2xuLKcHJoMPLJSySlRiMrSa+GTBLdaZegxYMsUGBuK46wZ6b84j/YDanvu0QFSH86gfa9yZdIb8ij7aKbb/7PJT5/aUqcFfCcezlNZqQpuE3bJOK6yxfX9lNQYSukhLV41s7Fe/EbGFcK6nWMujaCD00XhBOxjMa9KfTqtNDqNldHM7deoOZI/lq34eP410oY6pav6gfZ1RrOzV7vyrOvET9Aoj+mbk+xSkgAaecvR1rY0pl/18i8kXJAhv9AUtcNag5tQ8E4zlU46DbCWGojnRXSLjCtTYUunzYTtNsH/ulWhtRCW5U6Uuh9GswVt7CyuPChyPfuA5NnFVHBIM4NUzuXjsVje7Whz6Dx2/UEMngBC7/oD3WvjT/ugdtJC/3qU0Q6SdWIc7eiWMbTXU+FJtJ9lDlf6DDEbBqEbo/bAueMbVxzJPBCMdMFdXMrH+dNS5REsa7v3H2vQWTyJD9Tkx1NC8ZVUkZkvBwhauGIzxm48u6M2dwqSVLj9FshknsYx1tvM6vonizEW2Sl3R8CplH4CouGC86AThOANlBUUbeUkIgiRy4czJZ5yxupLdqsiiKLyicyHaHe2bPwiUOS2XjmyTTS2aF4KegtfJq5ziJNFw9nBFB0qjfDpgnzi1W1GoQ24Qr6GIClqU5ptcuMeubLhYHibIlEK/DhV1X9Y0s7c7HHgcu5doNeM+Keo6fW4PxVC8m3UL2FFlWYxSqrHoefgDaBxznBCvH25+ynGKztf3AD3EtomYNAr+1/ueetCaEmVFSdWlbRv2EgkcIHAjLH+uaBoDTUoafXnamC06MBy8Gw7SGkdjQfGZp79VsY5Lri0o1t7qSbw7P6Ts9OyX3Nk61TpjjI6a42QOI4oTTI5ojjdb9yKfm7Uso6IhiD8m3C7hqIX/18Pbl7KL41KCdDWSf/Xs+6XulTM6vp9UTO1/rMgSC4z25AzTwXRhibKc2xzWqimnWvCw59krDoc/oaoaP05RHdYcVj32OJ4vyojZgp3lBqM5+cFcYWToboy7wJWFvsUURyDn1F3XvCym8ndYFvojgP+UZfXdGuA3Oeui7uldWvjWG1qIueQMTlGUfHW04OA67TFQutdxlY2Clx4QnI5TSQOz4uwxPxB5ozIB/6SSgp1zGEesMaZ93VniDOQ9PG7wRUzICtuWqFzT10cDDsvDQLV8sSEejYwFGHoC4EuOW2SNEHXep/67ble4TbjQ97Y6yMBR1U6wSIpxOU32gmHI2DIFN7tKXoQGIoll2ui8ZJhoWZJYBkS3QIEGQaZOIRYvxV8aaotWWf3/n3z5/pO3NLOq89iopsbwraY2e4fLWVX2q42h6wMayOoTkjcZl7HE5t3w5lbyF38pnS4c2zRK5yfR7jqfDwfFqXX8qdBHpTic5NSf1Af07B/rYaaz08myMlSUnYOSTM3fwBYCaLRLY+v5ENFW06I6NLY0FSDDvhTzeqERlqjja80LLwj78fDwaS4bW7LnmZtgKeAjsBqZguplrmIKdOcRYhYCaH8RCO2NidaKINP8GgkX0FSpTbI3En7ZI4qTmRtu4zRq0JrK7yWLSGo/yCw/YAFQo6qoljkS5feT1txKOk6VUtOtbr8hLk8erZr5JHXllBfXVXrAtpTDZfAsYjF8dwgoM3H1I9dfMHPVZPAeUAw6eNKkflpV0RmNMN0JJ8/h6mnsnPmNYXIr22+RgMr3LgXLpgpPhtpm96arPoewF9q7xJetn47t99abdRx04qkmYLHsbw4d7v+u6SuNL8vtYg0WT4jgVwX6EFosjZC/yKIyElEmnjcN+rNwGwKyaI2wvyx+GXtGhdz65ltgCTACeQ1YuyvRPExuo6QqSWYvQI5xG/00Fc2KB87TVvz0EiZeFtsQgkaBpVkeT91+dk6v6RfSaajmDXdjIk8w3SjQwfNB+/qv9FlgZ/YQURogt4cfVGj5AcOx7Xcz1nYHIEtfQecNU8x2AdOBGsyPwzLmJEKy985Y4RiwHPl1hDZFoQ/Cg5U9cmRhyk4Kekv4vr+BWQ/D+JRKjgW5HnghRYVVZeaZmHyZXQAwQudvL/CAhtz8wk0PaUn7HpPrDB87Wv5Jz6mkpUxzcmqJv+/h0zRV/sMdotsXCkNUTXVrd07+OFVyzpZIhIxLkjCEyQqyuUHETdzHDGUVxrzwG37WxzOp4FXEwX6UekWPXHiQGZ+Reb50pxh+TTg1tFeON1heTf6KGIoGeXL0OF0Fyt/CIm79xocHMO18uYfD3AubHNtw9GkI2Y7z0pRXdGiNxsTYSAvCdAxXmvG5bhYlNwDJmTjSGTKUopOGzgtr3fcD1Ia9s2Ef+i6WLVdD7VjNTSZex6DiFafBxPdaTnQ4qMg1vQdYmZhnyPIxhvXZguCfejQVin5Lq1PxoJVlV3EFUzQdkxJMZCFa2cqnXg6shD4aSifgj2L6vWBr6ixRSF/pzImjo1Ze2jFF/rW8qJ7fIIXf+ydZxLu5eXuXcq5V7PMblKPjInvoJ8nbtuEzr8ftQYuaLFX2eKxud9tE1f5e9R3Z/cFsGaL6Z5iN1uS8t771vk/ohwLvwM7HP65xJ6cExTLqJhZzTkru4o5U0xXiB/DHvdWO4ogepbT1YbmrwUn/W6BmoyomnIHsp3RIA2aHB20W6h20F3XbYo47hepsJDTqvxz1ufWuBPoAac3G51+L9G5IPCCowu/ZZwaDYjzoDdKn2hnMP2QdF5YLkCG7+K81ttTxV5lZAKGHZ70LBEA4t5Y4wIyCpdk1Fy2nq91KNXHyOE6X7IAta78NYAhDnnodvisA90pZKX69lUnuJTOm55+Z/ZYXfM/G5ROqVsa7l5wzn3a9Iw23JX8e7rw7hV2Ce419z04DE2qS6nkMD/kZRn6RfgwQ2gYmOwNyAMKBI4CFreRXTmJwN58fLMCkZudG+jreWpBylGwrSrHoFPCvFkE9IstCs2Siz5OURmRvV9IzKPjHHGFP35OAxaisRzI/xeMOsJrJFxyOLjwT5MBZIS7qPHHhyikn+8Rkblc7rmOzXTA5WoGeS2rQN17lcQHKyBqEV3jKDPtOePgG4rfRSySUiStNP+1R3uXdk+PXZifPnUHF7SRa3vE8FYXC9gu/f6vbHxRSCFkMvVh8ooHvTkVQimJBwQYRYBw7R6NBK6Xyy6XijjckHyO6pUCV9wSkD55JAhxpVbuEbDxwlMASWAMc7ShHh0TtLoi1XoDPDYbXARDuPpZ9I5hS+Lj58aKnNE/S4CO6rk/FGc49jxOfAxrMzU0f7kT5/kKy+l9U7+j9lp8SElCMOkX2IBiY7vMObLlSpQGmkomgtRO5Grc6M3lw6fQJfOSCSMJmkFIBiGrwNb9bdzcMmoD4M7xyxByZUK9pMrrdo/UYaflD2i5CqEqjGHPwwqoeQJoTL9fgycQgHFy0Icqv8Si7G0VfzSsfMQWcYDrHU81wfEUFYr/P0sBt4A5n8yejFOkKVjHN4pq5OMuHJy9zPkvTzTQV5PyV5UCto43CfWSgXilWPbxPPjsjpqTjoCb24ygryXS9sAGMi91wpbJ2EPXgWRGybsqUZEJ/MRvdqNuRgklIE0xTeP57RQ7sV7cY1XuMcLQwqQV/6OtiX2/3riyJ68cR1oMUqREsvtqyXxTgEoV5RosTJZ51o4DxS7glkU2+GlmvDZ+o911unLihH5tyKJCfHTDz9xoync/iclxX+WIzpZxhBtrSAyXFZrRzMLz4LUXV2LsHsCsNnmsav+ZoSYfo2YuI8q6EOcXFxaeQvrRTt5J5PYyhm+Zcv+9wqiJDvPlOnPiMGvbfADie2kfRBEKJrSQu4mZ8S1gGHmv6dRcqXz7cwzZ5uceV5S5Rb3+RYUW24lflX/2jczlH0HYC9lAflTc1j87N/9A5qXIXJRjdMTimco3/XJwCktx0X7ADB4hfIXQ+x4eU1mAQhMW2/4MIUPCm426GC5/RTO0l/hkyIRzz5iZIL+rMbHRstB6gBmp2Zm0rA8M7JHIETygBuKXt+q1V/JbUlWw5JN8FxHXbN0/8F4XfTkkP6k0CJ+0FDSfQJi1DmKRN4+xn6iENnot1/ZAqzIW3gVZn+oCnT1zRPnRdZtJl4SIH98EL000d214Uh9kANXA+DGYUk/kC2MhZw9RtdEw6T7aSAQJFGIBrENBH3hkC02FpEtR4R4RbVjoQrr/T5Sxra6ndfyKGvDLutxRkcYrY1lBV8RqeBj0HVAs7y6ae4N8rRt3AdQqm/u7WHC1u0pESoOK0bxToEyVN3vkw472uPMPltxXmQbOX1dbdDqGL9navsDshdMJwsak3N2LQdJUe7VMlpTCdsAMOWbaHN2fW9Zsc5AmL/Pi475uBo8vCNkaTNXF7UNEiCRJSIgGR5YcUqJyrPX6c/VfuaCsAGAtgG9imLQL36W6mVWtjYO3WddlM0KwCsAXwHAdMhVqSe41kBLu6JHkWkh/3MgoxB4QMGl1w1o3/TFwvDoox6qaKdTYA/pwW14P4bqwpE0F2fh2o0SoJslQ8TWKn+4DfcF8vraFhPO3Ch35xgmeAWVyb3ehLXPEYPfo6ts2NJFv9cQt9dTLFH9A9wtazam09kkF2J57PTWQiJS5y+DXV4aZ+1khLjcXtsEGg0z7j595Rdat5TI0Ii6ajvZdvN9KYcd+nG0Okc2luE4D5IAOh6aJn2fS6Gn4a3vQl7j7z9s8dqGQOo8uUsV+1sUXAUTSmBqeJkA94A3gtEtqBj2Q0ncQXc5kqVKUOCZqxAKQUkVOp4Xk7ctLfgjqOBAnOweB10xQVuJ1ysqTv2ObGLhbRJbdrJ3e5JG7rtnFubzO861BnmndUkKX3U/Dv+pYkgfzK2gmidcyI5kSrQqq1fIJJeVVtfh6IZDVCU4bCHTi8dqaC4N9nPp0Dw2QFvq92xX18XN8jOxrOSu1R0jFyWTi+mNNWg8LOVSwjyq16MyTAEFm9Oe1mRKtnsmSR0UH+ZAZLeygFOUBIFkuD9GZBpoIPAOwr0cTWzRznodAEleFrvrIK8p8rto/h6470JWDXGnIGdlJDxSlNZRwFFdykiaYwwx2xl5SvSxFOGbLE69xrZ/yPZwbudYUqDLMo52VdfE5uiTuKrHRjKIAryK8mY+hoUmrC9/qUWoVvdqkBZFd+7q4cTJ6zfmLbTmhm5kHMXxLd29j+jduF0o/4dDoFlORqTrUXcWVKq4yacMM0rE6Nsr/Z6yVKTrD4F/k1a7I+RMRF1jpOLXsffw5GkmNLWewL9AFjEJu2Cy+jSVKBL+xcbCtWwpDYhIXrWeX8GcDvWhP9mWxaqSqMXATtGT0yVz1/Bwoa1r8N1bi8GRs7Kewf+5TaQ7mJkZf9VCURwRyEQ5GIX9f6w1V+llTNZgrF5/wUYbA6T2PJ/lNGiHjiieofU5orsA4FJt/54HRbsY03qPZxPthMyWp3tlu/7EHteMHyPuRsjBvAaJVLG8Vos+4IoKKrYO9dMz1tDyeAO4xVlld62jtD4dV4JbzKBGUU3ZAQaAVE2nLVpwrgUcr+k1HuobX+DpFYlsxCpyaimRheNpB2EBmqBPAgPncLCnWPG92SXbwJtD+XpE2jNA3EPxCXRiWQvHfF66myRLExMPQT50yAtjxRsZSM3ELXGT+PI6o39zmgxKORGoWci6Dy8AxrfS12EeNLErLJ1lskJ87EdSNEEgiHoXhDzS1khmOmLQaVz4XG4ApwJ55WJ5kq1jxuMaKyjsonzuOz1iqJcvAJYVtcDcxfmDA3+KQUqyxixz36UbwX8KpJpOrcby1x8mxRUVlDZN29Jk6jJ8t60g2jG3vj+y0qkTpCNr4yTwrmHpi0Rv1T8KbkHNDeix2dQCL4DgRNsvA1TgjmZLPV01xEwlPmoK6TCp6612D44cRkUSzZ6NPefL3dgHo7zbdDk5ZHdHFOwAjOTG1fyt/2dP5Ehqu8+DD/E6cV4JuhfeJlsFWxw1ytrzwGHyUWaq9IybB3mIfMZMXrLZowEFWw1El5SvumNSmjKgq2Zdw/I79TNgnHfSj72NrOAV7EvS4m38Lu6rgbyhiDsssShIBlOxm7Q0f2484P469HPfFLJruYX8U9ZEzbxywG0kecwzjYjW+aWrro8d/sowuOqQSeO/R3nOjQYaT4Yn/73iSceTI0hvk+l/uACiH1cvyQFni9OExhDHCOH2Ojo/IujE6vwd55c2xKdPe6Y059FwJ9Arr8zP2UvdOn4dz7/xgT6O1JxmqvZ5mJ/DfE6g5ruluMEOhojm9YPev1qyGsRQHGcLc/nTDQoFjn4vAL4Z/Iy/TmEC5/uQzqlKXqanTg019qni+3bfIguyxgEP7Te1Ah4idgdr74SezjdvAKRo0bzF7K1dBxc+M+VzA6W9Yj3FlJaVUGQ17uyH7NfT6k052JxZM4iQzo0vPzyNGjPadfddxVHIj7s+ka6hdP2matktvigL6KsgXvMZP1gLyigznz3UvChqcw8OoYHYqb4bhOZJc6TugoFahXzLF/VUqIX3Ju1wuzJGD1XXdhkEjHz1KGNCPRFakhy6xas8UihwpMgt94GNg5K04j3MLMxv7p79azkEUNLp0lTmRjve4zzvF5+zUpSTr0CWSoyWHuazQZMGXCbDAbawjKTsfsKoR1RWKpzPrWh+fBgfDmptikfiWAgPgz+jKPtUaayDAgxEdGZQ1CJI7gwMlpcPMK5NVt2+r1gnRtHaAGGqaim+a7fGiT+CC101M8XkyW5MkuU0uno8+O9+mgh346e3ueJMQDaPLFHSvMbsRFYRIYRtDN8e1eJKmpYYOBJfWeEc/ceobmrrk/T4FVXgB4aExp/HhRANqQcfLOiZgCchmvaCQX73UqUfXrHqx3j3syxL5A+EfwNnUjIggWW8/4a2jcovz5JzRTMIC1DC4YR2lPHX2DkNc3edaXgriRY9jwFzhSgW2k0CdJskyXwKl+xfMulJqiQQ7LhPoau3pUzaMAXBbOlLSY/mZecnOdCfTJMRrbbFpgbb4OwXZtLA7eb+/YbrbaX4W95vlqjvTZNEzf1BtZ5NF6ad38Pw9+fvIOGaUgq3SlURNOlZvSJ+J/iWnMEDlXyI22R+2MwnblPBsw3yFuyFeTP47rKSKkyp0JeNxYtTuhyMEfBIlLtBt8zOURuvqoWQNFOl1+Rv8kSdIE/HGN5EKp+gHZok3K0taC1kfb5nOfv1c67WwBmlLwAJGYHLwki4A6rWjr9GqlvWRtUVLDfZrBh3wDScpAOZL61mKQ9CGNaYu+g/Nvfhn9d72l2yatePV0SWQgAoMMvX02Dp1XTAC7MgrZKchFZ3ZkroQDX8vns+fq0fGIJ751csaOTt1UMqXHg5FbSsI8KMBZk87BrcNt72TiJawOOk0wkM/JNBVN4AUMaQIbxSfhUs2N5L4XU5FiFYNR/lb4ImU2kHTtAxbiUCvrZtUXi/PNYbZDX1cccvZadQTS//hPTMTDENvV65JSudEjneb7hQmKmICwzqf8HonETDZJ2492fXTDIZbaDyniIzReGItDjdxfDssohD/RYIloG+UGpTgeNz4xddHie8OHf0WnnhKb7o7x5nRCkwl25LJoM0E2FHdNt6I4YVE94Ze+Y0mcO/qJjNp4UiWMWZKo560TPncfYb5g56LL8kaf3uA+DX7LgOvAUhDsIOrfEeggjJiT1VzTfduvV7GXAC+B7RVesm5bKxPZFDiSJpyTsRyyMhhWWYnLv7QIl9VMGaf2G6Hn3J9V7bEWOJivhBC+w+K99YkxEPuhz7wElRgEJIOdggh20RsVQlnQgF8rRzNV0fA6tOf1OljqkzEgWbku/EJahsbMe6LOVWfjdw1Tnc3x+YXLwhCXWULe51i0Kc2znmsKR1+4ilaJ22mTDVDo+KCi9TRcM/U+52lIZYxzN4gMuCa5roR0QNWZMaVruk+yqInzmVPmjTOqrZwwiA11ytdPDLv8x1JFi70QbSQ5Pz9KHAOnnHO5dUVh3Lx9OvxPy4xOkdHMcMKSimiSxh2i2Vx4+df+LEdkOn4iKEkzZq1HT3NT6sEcuee/9O2Hd7asntoTV4OtQ9O1DtRclLSx31NbgzcTPkLWjtZiyTRdCAMiY0TpOXR6S+XaQ2fokrkG4H5jeh4QMsgc4ly3ciT83g8u1CKayMgyhkUXiR+YYb7YdQfLEmmc/tB88RV/ysVzTMLoCi4UNZ9FFrLfDGDdTW10DZmSpacQhue/zPK4XmR9xh9rNYgQjSCxsFEUKqnVbgPngRrQg9pGDlxPVYGr2tto+AETEoJ5PHg54a4Vcd3bd73C7vOKbFhF/VgINfwbV0uBmk4M4R1FyApD5Q07UGTLTVcyj63TZLNc17XcneSvjr88/PNtt9Jm5qbNZaJqJqLByXEXtIgL93RlTzAYvpiRcUXh9RKvTe6ozRow51yf9ex8FA3iTWb5tN8N+Fgaw3u9U9fieA2K9oy8zjpDhgZThCgaT6Nzcr7AcDnKzAncONCfS3esYAtU5PKI2L/7kdrgtf8VDdJ3hIaBE+SOfVvkveipyzvkflC+O5PYJBcl/IGP7/0r/BT18I3anDl7tqNNO4jW/n1/xkPf1MgxBz6aMtrxf0AJgpZ/HkfLwBPVwtRE2FeZbNcsGs+S1HOjudEuUr6Dj384qLu+xg1ssllf+NWe/Zcr/3yl6yoqa5fEle1eCQsruONzdYrQnDUIt9YHQGOZtlSaLuJw5OboovcsXZrfzeVyDGHC/Buiao5pApDLJFGlqCRGtFeSLh4QjHY9hViJkOOSUNHnT4D9Yap2VYokcj4jp9qNiAHnDiyythCno8bTl7ywHy8FWINba2iSTtQOT93b6bdgiXZNx90UT7M4lSRRYsYxTk5/KrK02+dVjZJter5S847VHPIvAtT94dG6YFcGVomQvd+jOwVKf0P+1Hu4/G7fzVGgoSaQNPRNoUREm1kaps5GqB4tzv3tyavRz/6M3nq3jHKElqLmR1h1HPB10SCUNjWOdAjjzMZYYdAy/cu0xlFQlk0MOf2RkcThsA3jG7lM/M/NzxJJV89VoyuayG5RjjqrBoXw2xa/4R0yn99Y/EFvaCfsNf+OlE0vmxOvgGMWCGAxNLB4AEvKga35JXBCaEUxlf9L6jk1rmupwwCEciQUByNSLYByexq4mOyW5XPFs1bi/0CMUJv1X72GOZb1TPgQAqpv59Kwpq7mMY+ajS46swHFacupD/FD/uACRKG4/pljxwhLW4yNKiScsRHnRRuJsXjI4uBBQAM7rliOQNeURKMTYHsJkUeDBydjEjGx6+QWdgiJ2UVfp+2QVrM+u+eab51x/DpQFs4qI7PzUwDuyyJfrfBlzbCDWJe2PfYFxiNXQ4uNWC2O9H826WUT9jcM3H0Jm0SBeNiFgkpIMG92UR2JRq/lKTxO+XZqn29w1FbkBqLoMa+n5McFi04/ZtGwUNkOuRsCbewdp3v9FJVSTuucjtnaYyAJw2WfTebclKr7BKz9NfX3SBLefPoFGP8Ttuv4RmdLwt5JSPoUO516RA9gP+XcV/4QbYE1fwpKI2toyr2SES3OkesgJfQmsPgByz/LD4F/JqLwMhwgfYbTjO4d/6Ej4ng95QngS5psbEcVq+gfNouUUdeaMb2Np9PQ2cAjhMpVUfc0deha0HxmS/Y0c4vthtZJGZzNAnOLsa1VVLye87znkfnKbjI0a2o7esFkMqEjkshq2WfbOjzx4qHptOXQNau1yfjOMKlJzhkqtTKkFuAlth8wwgxgludfn85M+GSE22HBeNYnt7yXV3G7YpRO4hVeSBR41LfCsP5UamkXtEQv8jkQUPMr1oY00XB29tOLlt2095D16vaHt35usPuOT2d02JFVBrPwsO4vxfL6i24knPgiz9oHWlQhg0Efj9vZZOV5LeDJ+nduCT9HAilyVy0qIm8ZrdLiK7EML/dsb5WGdPsGa1aVOHQgKSRiEVSTfkgRudw6togyAGQen3i/9dQKaDT1ErfrohVgh8D4ZyEwxZ89WT94R0SUd+4mQPFienOcGJcDlTDD1hnfYj4hJ17MZ/d30hEgozLcIcHzY+kF2j/ZHtQpoDOAInfK0wcN28+Jf3yLTfOZZ7neyNpvyQjFBf7I6/NoNQGFsM0o3JytEuANdoRg6zAEmwo2Wal5c7V8f8zyVRxwA2wBNWnbQ/gFbNRBtEuiRAaawaIKgbe9kySeN/6dcexC87Sc355phcP+i2UppO26nsFNim/TqgjQuhUf7/FTcOuDR12ytuX2iYzvoBOF9Uj+5lLwxYYgKjn2WOuQJCr3jVA4tYNz6MH5GzAHsqZvSjYcgB3hKnwJMYgRA7gnAN/19tRqtcmWipJJ5tNMpNuBDhElKYyWUReyYPDX1QqO9oIrkwiviau2tGUoxEc+2cp58b9QD7PCaegmvc/FqNgIZgiO6AZtgM6gd8wqyPzBYwIQjikRWsF/N4bsD4YodUgjp4EWGCWYWG5TYE35cwAjpib+bqKh40TRS3pvr1FHdVGz52eySJfg/6sKwhw1vTEQ4+1rg6XwVyWAZhhquS+CJG/1jVmg9BBy4F9kETjaHv6zq/aKZ9QNPpYn3jRs8HQ60x3hYaP+tzX+8YboE5QR3tJkbprCa5ib9fAONtflNnNyEEyOQugu0BIs8bLcli4Pn4WymDFTtoNf8uSKdHRWquDsvTGjDsLvIizRlDiYh+aiqlamsmb2UVmm5Y+mrs+jwkOlUs7A633QgDjpAK5Hb7AAU148qOPj+O4fZaysNxWejwm4NyOoCUxMF1s8FaCnVj5Gs1u8FAZOQzmwJPBog+bZprMMtUlWZfF4z7AWqaaDZkTmCf2bwCKQp3O1l7hwykYCbo47mhUwRMDdf3aCVyOuQVp2l79pmINS5SLC25H5TfHEDXGt/yEXrejNlU4REgdUrU9NXd6/goGZ8tgfor36Zw64jDwxLAzGVL354F/FBYWQN3NPoG5JaHDtK9MLJ+3KwQguptd74WATEhk0Jcl1BD6JJm2535Wi1k63fXz2SExO0gBRDUGIQ4RNdavQBeVjLPma25m6QFWUGLcCj63lVVyv5lnBmQfxITZaRO3ng8qkski2aVfvEQXinyYSXu5dgABSCoZmwFE3AHPCKhpq1oEm+kHm559y9Nl/XU+PtWgZtN+8FwFP4uRTvrzWSDKxIzDjkcSlYPfRQgxD30md8eDnVrZOxhfjYjXwkI/WPqkrqVSIARg95mNQvDiUGI7uUcfTJsEFoTPr7F/pBzxWZjuLRBdRchN6bhnsK8j5gAkBJu6cE3YZhwy8U6RD4MeBY8Yvarbd5EiJCljpygDED39z8duMs+/jsJrXu7jFoaF78s8J6VSQJeL2NQ4FH2w1mTSbgmlK803V1o+43ubAEpEG+DRgLABnm0s7zbotwd4WCByQfEgg92jbuu2ufX5kWBs8Rj3IGkT5NepMd+evJCbD9UgRWLPv/J56TsZMYEtOSx9Zwe2UryAQCb10NU/CzqM3791JIEeWrQqWgQ7T/C117LsoO2qTg8f8SksC5roe3DFbz+2VItDNTWm69KPXcgxqsi2gWO/HTHJQ4fHVuSo8TjMt8RmAxBzRTKmfvLPgttZj0mi5qe7M7Ta44b8tBv34aILO2I1Iikh3IZUZScfB96Vj9BufUk4LY0a3OQOKGs4sDubjy9LPnxnGCAH93s3HSMaXbyJKQni4rDFd+Q9kaxJ5KrCQ6z1d6YlXDfSqWoJCU6d4hz02FHpvxtyLBtITFMFi4Nld5TN5KzXqcA+6O6Lg2AAdgMo7lbBuKq80dwkkRRQPwvumCU9+m73BJCDIP/X+AgYE6+J8elxfy+oyx7c02iYWzwqww5P5e87cJtShm8XbZsWteNlChaz8ErOVgc9rXXWCw1xmUHrPKjyVBGHuSSXke1f8xn1nwpydpJZRP/poJw6EuRjFWkp4DwxSFbdYmIC1SboyjLctRmJQYugYvrxTTikfLxMgkqHMzLBqvKmG5NYxQl4Xg4ShBZ7MWTeFozzXln1E58NZrYOZNpoxP+WcbYv3msb8duHB+s0xWm7pSOH6SrNHEuNHVCEBLo8wsC/QoDOgBeB3qTySh17NUR+xUi+QHvuB+ILpEcI8Y8irpwCEUZ8LX24y54BUrARWMOS001Oar1KaVVyFUKJ+DyIZ65uXrqxippbd9Ub48VcVqq4xycmrpy7KOyrl1o7wAyXKng8H1G88Id729SvWAvlfzh+PFKvu7j9eR7Mpo9bZHH1v6BjUXmEdTc42dWrew8cVGmZ4HgEiQW44SO0WNgl7yj7dG7DcdoODFWUufiFzBOfiG6YkCeptIDiXisP1WEBXA+ESNOsaCeqVW+rEl+g0rfKg1R6D6blFuW852f/kej2xgeUhp1NcbSF016y1rsu7vB1WOkSZw2alirfONzECzaBd9i3EsFSkkWLElWpZW2DMQEKku6rIjLwq3UgF6ctSROPFaKmOifa5A2MtJrRIyxZqLruSq/nX4RNG3MDn8cY+u45Fagj8iG+rQKAM+dMQ3uZx5YHMDF+qa2RSeB49cV1hFh06cneL+Gxbmo76Xu0aZENtmhzdOgWmk3yq9KLsL8Zfk2dyj9gVJLcITSt+O1TAWQckHsrSpfvSnx6Ar4qbpVb3IJn8ZbFC3bsRS/YwULPZIzY+8+p8aM32eQ6Exb5DbD/JI9G6Ry6mSFLZ0liQKPWx8IMlbdWP5DtztUc/QSKOnrTkA0h5y8T/fDfd7iIAGmeaUJyaVVOt/Vw0+6UMzKvXcB/x/aHkQ+ujhh3PetZ/8MJTrurFliiLqmWfpPjTf5YpgeDWDbN7Fs9YdeoKtdXkbz+TJlGboElXZwyn1FVqPdNcWjKk4ex4eJCUTQSrLObEOh8zrB0DpBif9X59Ny6MixcJQjCRzzVuc8vPL6/n6+7yRbue6uF/DPTRgQCfbCVVeqXTQORe9hWvcsVoGUzDZtu05eNDwY4okVWZ8kJNCr7uXDifkiLvI0feSJ/qetG/KXVXoJ8g05bM++f+SRIPlwUgwy9OB0jZxUrFjYDhHAqeFEJVAppkdfAU7DCyx2KJogC+ZicYoegU9ejtKMDGHRj+h65DszqPXEOw8vshyg01HGWiNVnIP7nEW99fQLAXMCqzp0QJ0r05+et+YBY5uHSV8n6skvI2Rj9mSumVnfGozIhVT1W3tUhd2Pp3riN1HM8ST6ukfViCaHgK6q+C8xbWWQJP2SDZz58J5BqyXoXW9Fz3MPagN5rFtOrd5ZIlJKgm4w+x49W5YO/gAR3z+Vpx1jb0v7sWzlk+dDmRqNhjM1YhV/B0ZWqB9LH1gorpTgpqugtj+pXrumEWhJZ8+2tpW0Q8M0WzfIBhAznHHAFpmSGrBA24zv7c7mnPzfyjs/1m7p5v7zSqyrXMZnGTzFLDH2EFj/SqI05T7agVKC0W/XkyySga+JYBfruYSzBfYCcDHPpvQiPezVhJj8odORMENjoGh1ZNWv8SFGXujaXq4V5lpN1Cj/NEy4mVrh4xqOayuWinsAAzkp267cN+dr6fvp+Bv7lvC6HFie3Ch4GIvFz8aTAXYZOk/JLiXlIBn3XTKi2jPT+lhnWudUfuBXydQB+sz6Jb43OHlUZR3ECH9fHtB+Y11cN6FH1w5s7A6PHthDK/BDe8Z73hM3Jqd+Np4fjcpV/gylCptwhdH62cPDP9aEsO3BUiz+hb7KPEkU+7wijQ2wvVKqUi7Rksv9NqVACFcqFDf6BYMAt8LdaTiUulAC9WjefK5EUbDrAUoHcpe9zVbht/6RsCP/iR4p+msiFfGwLOPQSrhHe7nQwRVVe45IBcoQV+uzNPoblySIOQNEHor2KZaB92DdenPWLydfA8sI4LSTrC6t66RO8i2ZTAuqcjPtG8yglg2kCt60fS64rMjjd+a1l4VokNyK6HLNkWYcs+gx6PkYjdO8HHtlDIII+Ob1JLPUEtbPHyjE66IeVZDE+vCkKQrz+GumTZ31KLH5XOufZ397HSfrptAX2mfL8Of5wNBlnlIXnrQwvzGbr4Sbaur6uHHT3oMKHuA6Hxbof25qXCmJgQrt3GPYORxkEyno1CMM2fu0nl8HLRzUzpspkV28JGcYq2ePSvQrocy1IWNmniXiCi347JwONwgMna47yRlXRcnNNSNyo583o0TttZdCAGYHNyzcRtFgg4YFNywnuwZvWyQ477FfMEdiib75Z3gBtJ97LgdkSRMjwFhxt2P12LBZyL7yhP5UAj+AQhswcQIoWiJ47JJGC1hURqylB3faAXdlC7zNdw4jWOj0QrvLu+RakstGYDIY5Q8uozVft0cEFCUVlE6ga8vXB5+LVulBSZR/on8hN5pqcqVkXBR3ViYsZiH0KgJTnV9ceZMxBtQ1WL7wo/TfGG6H6klSj2oxyuUpOIvAWK6g3GxIn7O0J5HOkpfOLb0mT0frI7GotA4o6q/Wt4zTp3M8XcBT3CvGgzV3WbeEZU1To6igz/+NZY0gPIjKgLxcAjNIESQXf9v1Nnndda8YzHUXf5pjj5xtbleOvZSyJBC+PDXRtLPRhhPmZ+Z7KJ6R+/kx31N3IUeU2p2YQ0JIcJp0FLks9CZsIPCbjeDm/L4lirPdjRBLk+K4vF58MfEk7+epBVdWQmyQSG2ZJP6LsQOhqFVWhTFxon14fSWeup3iel1kG2LzVUV6ABANDBsHtHWb01pKWElHtUzk/rWGm8xSd+hM82QJ15SJsO85/HCuEIMeezKF4ZCjnQsnmqOd8Jt83S+BNVKEYCj3tYHdzriWglhRPLEuiw6M0cspoQBv2kzmNSmG5Ez+dzy75gT3yvJ6tLYJWjTCDMMsPQsSHHtTkFrUjzfQsUjhjZYDaAv6bydAJhhKzZ6MjIII7nPLN9wK1UQQa6xJqgBG5eNI96ugYSMR/OZZtf/sZbbi7Lt7PbZKf8qke3SnkSFiExoCmMFELRX25zCYFdp3MyuTizNys1Hdu2FWy+7mVjV9UEBIAl2LqpvEf+H8c2WhpY90W0tPk8DGujQqmt58KUeOLjf2XrrAZP6ai1yaXUFhKmviigoHJIZCIEFpX0k+6HG012yIVTKwauYxGCaGxVkDdSq0LWBIU3vdhXzoUUtcltMYNQRnhyrLhRihy8nOgqQTJNU7jFo5QggH03dDlCfPssahRKsBYP7xUiQmtOx7cmFY3oPQ+70sGZMJphTCelHEgcUoUL5ZipdzqsIzO6Re8d+rsyKyJbp73xHQsWOVp8t2qRqdxCpP9PRVGivO1U+Ybna5c9HfZBNPGbkasM5xStEy/+Tw3hGujBwJ+W72g5Di4vnlYgwh1pV1Emr9hdtDJT5zhIAabhoj/wvfdm1ifMg7XBLSOUtQfxrEQWpnW7UNEJWlzon+6KBXyHBThIewnf6gtcJIsrdjyjnFgmtb1RhB4QoUaDDqbPxN9F1HFkx1646JIbEx+PS85QIYsuefKYPt5fkY1pKH+IJmK/pBeOad875w9y7ubR+hViuOsi4UoZCbMtvWl/PwRjQWkJDFc4+lC/dTNTT18AJ3ey9E/byRo23N8QaVxapqmjyZwsFdpZWk0Tdu5YgOvxQcrcD1GwSnL6A5ktyEg7Q4U/tiMlOQML1/fvTWrdx0ND2aQ9tC5L+EJQ7MoMh3p+YNSHx6dVGMVZMGl6FV7knFbD/9ivfNYtGmwQ/Cb1k5LBD8Ro3kjVp75t94q1YeWvwxjyKO5mKMSYETXrKfsII9emUkjGwfXAA+Ao7egNlqisOoxlZRlc6UNinsyYwWsFV1hNHTmexOkaec0r6rFQplI/LHsZWjKiG6n1GXtCG5C8d/IRBIY8wR8u0gha8u6D/LlOGkJMUXnofFv7IRs1AzBIqFxmw1o+7EY27RGOIOge3PjQ9RfCj8o6xZPsc1VfAaMVNrngxC5mwOiAwlO0D1V3kSlyvCN7pq/LCIKZciVwBw3AU9eDb+mNph8ZBAYP6rS607nRKS1cmNrHuv+G+AI1z3WNMmAgn0ALGE+tuatLtFcmFh4fRYtx6lmxhlsto/skQTohd2RG66D4xk3o0flk7F9rhPTUcNl6kVab6Xq+OjMPS/RvQnQMlhvgqGnkCmcEDL25Exb0ibrI1QOxp3wqTZqp1tOgry2dW+EONCZCyNCo1y7gwi2I4/79LP3lzbLmceEBdnGkPxWg2dacvjOiJ3+J1epYetRGBlglIB32+g2YqqiGYZHQetuRfqs0n8/eFurReGWEaXCesohkF/UGc+asayClp4deOMMNlvTma2FRwXcxaYowf3dh7vRK0BlRu3paxvhL0Zpt1QCUxwYBIX0is/shSCVAt8fWaw7Ji2JZybMx6DALad0cE84pxcsFuXtD9ecO3XQ2RQtve6mTE7mkwfjNaeuB6t2RksDg8fEi82/Qoz3XGXrZKuDAnAequhzTq5jYqQwuAH9i98r0wAXr60vrVnRdhj5NL+61Fxwm7Z5wayKyao8G2i4zS3S0KwC3QH6YzBFnsq7Vl7HdXQkO2y3UOrVHSIEE3QIzTtTnrIR3Z4iiarWrHSBX2L4g/UkjumVQ3HPHWg6OuzdzHOZc8vdd1btMmbBjhnN/cFnhhyQYP6Px5Ql472j71ds78+BBtlDWVhwtw+HpU3mizOiLEjGVNHGGOTjuW8rNBN5zuTs85Awh3f/YiFKG+F2nWoIn1ly1VzSes/gcWW9XWlOFWMrjU5n/xbkELATFRtf5hS7mMHxu1hV4XrGRBxylR6ZEpk9L4nKLqWEkN3C82qILALtEZZWMTJJiHKXmujbffLI6+uGwIxB7eKGI3AuSdJR50IuC667OeBfQ6EME3K9V+cbVEUf65JZFx/AC+t67m2YUcXjnLxMeedsDCp6kXchLla+wEa2xpS2vJ4FmDsO0LQ8bL5eWooPoTrj41YiD81BLB6sYExubGS7l/er4+ezOgOldoLQ5O+CWxyXiWUCYdsf4GBYvGKEiCLQNCJeVysOJV1Idp9gVVxANTeEL+AKumY5wOFVsSQ72qW/4q4M8Q+6TX/T+pGFhIm055Yuh97ZIjVheL8Jb5meFQtJyUswf3ctgxU2T0RYBgQk+jr59rO6DP+1kJLqMbGRTGZ0/M3u6rqmmA6GRloVMChwjfr46YqEAVIlRHwuSiZ1PqL2paCn7amQUD5zq68PCzx0idDg0JIVHNFVHfddVPZ+fX+LSzqqY1dFphNmgu+FOYHGSBEYpgMvTiuwZsUTR7eCIOcZJUTmVttMMgB/O/Ob7GSwUEYk9v+G+hgEhQ99FRUOgx85ha7GO/Gc4ELjfVQCVRRGi3hpWVJTm0XlEuck9wXqLMAZdFKCsb0Aeh561+w0/OyiEHQNgbNtBe8Ca1uyN9NZ/wO0WzXK7cyFe1tnFuUtvo2BxwNTgYvdrec0hnAvpmZhjCnLhgfGGSvzURJXCSslUNhJJef7US08WQWpopKgd9vtdE+ulvPgJd2orYY7i93GzQF8PKj7DBu+e/bL/dQgxBasAo+ghaBMu+T4OeYXHGVTZLZFQ7gDSdoEIPwOEKehM/mcLmbnFtLd5WWsPqlEebKvvQvDqzFTpeGLaS3qdL3QUDpDlH+4DdRHy1N2q99JcmNjSUvXithuMJSlVSM35TC00XnlvVfO9BzZOuSHRiDYs3RdJ3+lVO1Svja0NzJDgEz3duDJ5iEO5bfX4AAE2eteISbUtdAaxG02XfXie493nahAF+tseN640Lcdq7SYACOPVYePbd4aWna5u0E87BrKVzzmaedN0qtHHBoE1DWWV3WOl4x+mwc3hFALgSGYl0Qret7kPzcWwsjI2eSNIaEMqOILat53LfD9HDZWmZchSoMBtM1cybP1YNwjyvLQcyPX4A4gxo1DwdpkH6MPzcQbYj4gginBCXqnSc/X97sN+rfMbpmSim2TqHQO+ImXmn1tP6JLdtjB+eK+h9A7q9uR6l6EwXr27pgQv04ku+WU4FU/s1NzNYVPgSO9xrN/HDHoUVzuJGeEMVZVBq9IPsdwTvXkg/TPQ4emQqJPthkCRN1re0xZFC+T8h00yn+gWSrGJTS24P8Rw35l9iIKI6TUnx2hZ2hzdRpn1/+Fw612gIZS/gNQV0yRoVOZfuQdPrVsqnZztYli9SRGKhtNLQl6BJUSHMoezthUebyGsEhkEwtZnhZEZvFzTvDOsCRdUBpyrsfOKV5qG5AIsVb3S2fn4Ldi7NbsPqmvZobC9Qrbkp9lBKt00wjtOmVbneSq0LlTcwfw8770fYL9oozkgNPp145NzlwP4TRUTpNP2+wmY7qPVjMnXAiYseTLfEBISkdfafzANd+vYQ7l3e3xMSaSCjNBsTUtniAG3jc+D5eTq5r/1kzC7l8NrhkDoYgjllwNK1+1g7PVfIverpwvdCUe5yZzyJRexyLignRENOtVKVO7uJWzCHffzz41JWOlpuxn61rqkxFORJC35KGjrhZnQPsdlG2iSe3vQSGNCcZEFo2f/mGJQsGa9MWyIVESmN6cP9Ku+f8R/AvzHOKcSQZbx/FLG3vf7jNZxfV0BEMf0NWJ+pU3ruGNBSMgjLytjcmWLXIgyi3JGBNQQwQl/GD9m52wGLm7+9u/0pu2JPxOvsrnwTclWOIwk47Nhs4i30bKC4DYSTd4R+wQXGEQ6xguWYOJoJWR9oPvPffGCRfVa01VBkEvvHWe9dNu+TnI/SDONLDJ29UiBeOEN+za5aABneCoS/dVSJ/p2SM9+2FCm0DwFb60I3S10eYPmZ/fPqVxf18+8M/HiukVa7gzdsG46s/aAEX60Po677QXQMjhweHYy9Lpxnv1YKsarpa3go9bA5ockuR6+pqTMOkwt9KJkrF1EkokL2r3yKIadfEXq86JPWONUdocP/YnSWE4YzK2ZoKhonqGk7Fb+FvCBJimVEXmv15t91LfhxTxAhP6uWin8bvLIIUhDsDhrXiYtNLw3KNDJDsRrV6ZEdy7NqmFWuw3f/0RrLk+trEY3iBOjMAUI5moM+isq/yvqWNeQiISO3HTpQiSM/fgFisWSWpvowD4KFkT/xIg4xcrx7zoGuCT4MSPzoAVeI1yCkaUOjrLsb/5FhbXnP+EdFsiCHCrvO9xcWDGImY6ZxN5/Zdw3sl7z8X2i5uB3ezBwwFHJlxtiff7q4gqVH7lIqA5Grc92mR7tTfU9ICPLWPkYUWUlZeGXHDC3w7PTkon1c9mYBmXA41NWfjbRgQSarLtg4d2AUMd451zqNVce3TXrwSmF+8uuM8iO+ze2jG1+EKIN+kYBm0E8itwi6h5x3vvwbXmAMGqsQDaNLLytNRGm22yVPH2Fb9w9iHGNMPtX7V3m6TtGRzojAMJQ//VBzNpH8eVxVpv+b+QTRGv+1xD85gCN12fWC/B/5pQ7WSPzsSQEKXUs6PwmyS8S1z3VeVBYHf+xzMngZ+U/UFodJ6B4ISYkKo+G9lBIL4pfK9yR67szfVJheONfiPD4RelcKn3thh0piJYTGAltVks//YlBHubG2w7HXUW5+hrltrvNqiBt6bIMTBtNNSsIwFjI3JZIzOvLZWA+Wou+NUkrEMu3FMtjH36IyXupNemqZ9/26mQ6lXkRssOsIO5kOId8qLvCCrtSFnl/Ba4SVyPS5V97XQQNpt10u8vyNlPKpIAGd9VdEYw9h3CQBq/ddH/COsjScSyl9ea4/cpnF3ECYgpZtMrvTQh2a2TVAk4GQy2gNu9v/kJPzVdN1vUDtASLL9lQTWTE+pu/5oAHOPMKhqfUZEIBgr6NKPxeYOQ8DQ0KSXu5bD4esKGcVCO6f5BBm8wt1LIGWEFyVhfF9zaZXiN27Lup/URAmgs6TWIY45tsVXkdF+WHppzuY+SSZHE3Q73uMQepcKQEhfdl5t6j+cDK7HmnRE/c7+2mVKW4+liKtSsjMFJIUrGBoYTROJ+ADpc7/1z8j8s/Lfui16INY8HZt4vYF9GUITDuA+iEkh7zZLyZYfTuGYdUwfZfGPP+Wlm78KCaGB8qiBK/IOU0y+G7Sq6Jj+sW0xe73kiAQdz4lJniFVCKJ9HnDQ3qnZ0IdpQdMkfHBfmJP8DfgZKB5P92zbOr4TzUtl9qIbB0pY8rDdPIcR5r8A1QDE3FoSy0hE/mtffu6OD/PQu2TU6RBbtWXkgCq/zwRe5UM2k5RwNGLwJsGxPrxHGjNSDoRFkwA7FAt7b4x37zvV6q0hBG1H3ZJGb65ZgpWJ9qVAZLlgoHZhNNs7TqHZxc/93O4OR/DyZhtBHeU60xVAPXY47c0NQF/g4x8pIOz4NGFUIdXt53lRSd4C3DnpI7pgbdXcMSGPm3FdRUMaUt1mw+hnfJWSoXSlXw/VdCEWwJBY9AIEAvne1dr0uSJ+t6AymJhyWM1KQnLbAqtXPQHx0fCr77Rt40Taom0iTuWtfKWKSx8pTqeCM0FNBM0v7O4RLrdkGhSZQcMkezhPxRCExX3CqZyi4QM1FnB2fN/4WGHWB4AGCRAT2+gmpiw8Wa3d9Z3x6LFI4AX6g+URLIg6NWCYYoNrTfm56Stqakcv6rqHzw8SdX3nv6bXGKSn0HbrKMmGoJy73TOPGWTEHRGZt3jqWf11hdj3zJxLROwjzSNRddn2a+5b1AeJtdSRQl8U9WpVEabJT4qmgLsf7GgUyogLFeTc3Yhn4b4j7CF38SeMiCFqriGgF0NY7tN9oPbr6cBkqTS0G5QdPELfwJhDFk2luq6l21TBguqZ9CgBElpPECKLDvindqzznQdMAMDn9Ry/zEJdESmp2xTRlRa8FwvdXJkcjW+Xs267lbw/fTKy21AOZ69V5sG6zx0bHOAmWK4pRKDrW8E6SFusbX2wphyNbim+6nVOx7JKtQ32Ym1uzUAzYkls6OLBHYi2Ra6fosd+WbqtMBKx7w88mEQdruk8wR8YS2kjdDj/n/+7lataZuSQFnsqqsOHdBdTe08RXK98o7eTutyHmOz0lweO04rS+n/5Hk73mrKhe2ZVCRCmIecXsbx6YFhX/mV1iDfN/b3xkpOE14AasfTlD9eRc6yGIbI+rEMajS7zds3M3tbF5VlGMHNweHjcLcURqGpfdCux9r/yqUJzZ5b8dZrhUihLt5CD3fOn7eDVgPhv/wGgkZVpSBE92g6UPVr49c+6xND4zIe/Te6sNJdApVJXdVopFIe84uli/ST4WZVrvmOQj9tvVrfGpZCC/GOx6eBoz2tDbT9QnybDnlj1HWospjgttrKnoFjNttHEhOTEiGjCF9l9MDSUfD0EXd8g7Wf01K58z7NmBNhssCT+S4uj5J1bgCcYDHCfrpcOQNtCT1ZSqr88F9qW4RDemyhatkv19g80AfWJtfNxiqiViPfqIU+ZYYORa10kfPmqPPcXkwfdyS5uOH9LTHiV5PhdeDsJfA6BRyrV3YvKf8JCHoWpkNMxd7T+IK36eniSOhX6xJB4A4gBva3t05/HBOkZMi5jp4wQiANQGaKgKYVRMPpTM9T5O7wDLzdsNt6so+VOQ13TfcdyqXHqXfSf0Mmd8mGix8efGiAQ3dmtCsVAv7cKPNasPlsoDz7kL3hsGudhWyDB3JHkBytoaIUqlbmgt0iSqjybpKCTMwAuU3MvlfvL5K2yiGRrSKPE3Zv8q6JWbKwMXVxREDsL0oKmryLk0YfWgWW9reRMuUk+Ty3HNhYIGhC53Azr/yy4n34B2MgorWB2kR2YPja+klEq/OLDiSj1p2kHHs3F6vRitYqOw0psrJTYKp4W0muI9HQOcvkkiRawkOWsbH6Hp5zuZ8Q0Abw4Fs7m2I0NWSxbfihV1PrMhqXFnHMS8wZD3K4GLUmVd23VS4IRYDdbFAmFBaNXqCbkF84S7H1l34PuRFxh9IXq0DCE+F1YizjPzogHWU4NbvtCwad3+t4Y7pR0Bb442Kvty6rV83vRJXMX0glNibmqLKNgp6ZNH+/nXZFRDWiMtg5mKsq7UyN3tRSsbdKfbLkRd0zVy9/Aezcf0PqWd/FTsCNKtu9QUOXRWsR08p6DBRwbkhHwqvzktf369ah4TyGU23yZUhwSOHGLs1YKYONtVzlTBucaLqMfvIvgVbalBXBb/6Erl6T/K1DgcBkj2CvyC3YsD7s/nQTx1mL+kCpXtgEyIE99SDUIDeT83Xz+ffuaMVRIe3qqnug+YQIwxFmBm51ZI3IUPfA4CxKVvJh1GhSFHZCEbJ30gZ/hDqtGmjwzwTohXoSp812nJkHDgmf5iWTiHN32BeJBWhA0CzJkuXZAe2YaGmOWrGqDBWRFZwZIsXcIwzv3FP8+kAlKqDxkYYg0QKLfct0fta7XsKiuAE7iyUIANqmFQyANtQkXI6Xwa0FDpuvpvO6VQgehzKVb0lTI/GyMAhw0vdHKkuVkVb5TlCegVYAUqlTxCyfsQqg+gGmPub/d+MxnbW81KCG9fKxA/i2jtrW9K5533poCayO5m5yuJbLwL2IPyf6CV2KoGMqFuZMJEVhG5m06094apNRiMuGrGqnudGDj0HZsjvFT/1U68uar7YUzcx4A6Mkn8vyFlDU/kGuurGlLXwPcdanZO8poQXu++beuSeADRL8PC7noetbQs5i/MOUj4zM4zRIMwOxRei5VD21YJaDiBRIT6IWPmrRUxK6P8VQm3Kb1XP9UET8hqOtnwxyL6oFBcmC00DkLI/iZG/eXPZnzorrEWqb5ive9SXrkGbpyDrA5W0R/hoAHr+3du1wMjHumVa+BEcIsDMdMaihMQT7SlpWpz9Rx+G7rV59Uh7fW+zkFXTDz79n329XTQgVCHxRn6uk+nAxl3BhCdMneQJYPu3/8KYZJdsaRtrA++fL8nI9cuvNL1miUNQiPr26AQYt3RwkLgVHU9K7OTAggB8ginDSPexlU+sC8pH4wHZg2OtcvVjKrzpG95WzMmQOuCyESkMBC7jad8n5IkiEaZJ2m+4g1bVkGqxXGs5wqbhlmq5icDLmwt1Q12VQ/j/ntey7Mvj5Dsy4JPxUBekiCdIA/kL4Mdr9lGcrZSsOqRMwK676AawihhmYuTPloKRygrfQEwi27ceGmj+3jfrvNdPSVIBv/t8AP5uN/If2uzgZTDLIJVpKlXIGhy7VPUNR9gZwpjnshJ94gxmO6qZaUWncUZikTH0RMctpAeS4St3RSlXkyIH1YMsrPI6aG/+mGqkTPAlxjcWUvtxj9Gq/u68TkDvsj0SMsUGldtsiMb7pM8iwacpY2zt4JB+9MCKgtMUHXPadp1cmh5gzNy6VxeFhCfKXirQVzIpjzVwzEq/P6c10zImhrP+bampFvMZGrWJt1+lIY/QZc1io4e9eWy5hqDNirk3ca+Y6UxRZWdJXlszxrwZ5LbyfMdHKNOJwjWfK5KDumEQAHPuLk2t8DyQxYH2zekgmpuBw1dShx7m4K706sSGU9PpwWRWxpmpVTMH+ef28bCGes6J0pD6R9i0Voiq19wiPBNrbmtwHQBAwanmWdqtJFihAaO9231PoVzOeq9wh0PyKXJKIclyVduYgB4c4hcW32ibmSl3BDkGwBSKietyhlzfJtSCYvIhN4NQ9Azy6IlsM5hhCUTRPYdGD0SIm+zfR2vVIsdTqWCTFUviLGbaBFvNzzTV1kj/beaY6KKaaWIHefdbnJt+fvdl6vgT4nlwYNS/4evhXBLeNNzMiyeCaH4NynEs6kI9HG0CAcLeMRRCCgYL+Ig3NdkdwCjOw8LU1uQLg8g4ehqMLZVoP8xugxRhcWnjPw1zuA5A7wLcJkqh5h2uFJt4lYIb6gC2j0LTtPfCMKgrE5cVKLPgUw38DXFmzT5iRz6+UbdT7GljyjnoulsbqV1nec252fG1Ig8n7Y2i8viGNXF7NuHiJoxqHDqOVYJKgS5ut3W7lIu7+ZNi1BGRixQ1hoU+GPcnvCf3jowoes9EJqcavkyHJ6nMvZqa18jqNO3BHs8PZtEC7PJivIjAyJXV+slFzkC8PVuCklFtOiRVt8xgPA4/2X4AsNC/lnVT8Jjmzkn7jGGodaOIV0ep3dBmU4FPK8uAjGfBgZt5lPRqN71EqNEt9wJLhnDGeJ3pGsI6N9wIAlUq6v7DyUqpIlhv6Nrde9m12D/eww+FXO+gLuhYaYx11EnDB9QK8QLHUzYcN3OuE8IH7mpxGryaR7HZLKAhzPwn/CxbUBIoIiIVnwP14eNKyv9B55oSQPhACL/uNsP17e/hW9WnH9aSedtzGWALjKW3KZ1JfHUJdgQsUZFpQKAqHRl6m6ZoeBIwJRZI2WP1PVQtabXfInt/4PHMYNkoNHVPFMbapm2zb+fMMJ/hg/saeiI9Em98ZM82yjy1Khf2UxTuufgbWv8j8jlmxIspfOiq0E+LixZS2zbkjbaTOFLQ5WvHAm/7T3RDQ+jgyQRDLwWxsNCwrI83X7B5i2XCPe0mQacgyNd8SetMKLgKVj6z9ZecAAcjV40GI9vhb6SoWx77W0WbFhlizNPWo/OrJJ88tfNGe9ngdFS/l+ebQ1E4rWra5Pk5SRxT3MNbm4tiIii7XoOITZIcmtC6UhRVGjCbUA5ez9DIptYCK/jRBkYtz7DYX9Ob4dTfMebn1MBtoG1vL8iDgEwtEuq69bIEI0K+9bJKKOjJoJJayf2AYUNP5S43gmEIT1Gttn0ER2JaeAYKXncQx6IEuh2giDopLqEfCjscWaM93/BlzqTcyJhJaVFppsOdxEIctLI2Z7LUd5q68JpRT32q/psdXZ8Ka8j1E57eKREzCMbMHOhOMASDAUPVQVCmYK1kYyCQXsnOjIS3QpMsMdUOyqCMDBZUkR78mMnSK0AXaP1xKDdjsduYDlrkbOC5mbcWK/hSW5og6u0RgIAY6yBo5QTCG39cR+eCRP0KVhkz23XPQnVva2YQpbO4P/cX9rcfx27SSjb5UBK08Y64f+NHsR/+aTDpW70oEGYwf8LH6iWMZbguaHxT7uZwYxRWluGzTrP0xf9VX5z+fuycqYUoA8CTTbtaU8Xra+Dw9mSxq6/qu1FPbNjUns6hmQS4x7YsUNj82xVAXSJXZlB4nkZFyfv9TA9gBEP+2Pw24OMGPmtsxBQHeEmQDOKfJN4T37hRZBXyzBwdi8cNI9UHFAWA6t3BSIVDTJ3Y+lBXnk+6DwYhF1mTj/1Zbs8BQapuVWv1EdDWZ+lasrnl3i4TZA28EIjLbh/zmd5t/YLDvMPG/bj0+FE9Z9g0Lm02pU/G6Umuc9npL0nfpUa7bTc28fcqFJNW6lKaQxVLy//nMq/FbVwANsGNVtcPGpekAzozZ0QcSxJiZYnnDPs9+WhJ+xcMY5sXPkiKePbGrUjukJeoWczsLuyM6nrFNbk0py5PZkiB7wiO91xCZIQB5DoJF3kR5QCznDyYPjz2mWRoJXfmBE+BoFoLHk+/kArhq80slHoYbJ1qiWdxM2oJUHe27OyAIXdntLbOAGx831J2VOAG1LoGpWu5rv1aH04L+rZ5wRS9UxKoKUIDv1P9VRuwJ7RF5ISURaRjWoR+VROXnzMn3bZbiVFVSd++H4GW/RlOrLzeYF5qHsd4Jf8aciDunzN656GveZ8MucLf7NRTF0v6/xiMDOkUxSMXYc9095IycEDUWKSpYQr14RPUB4XTAC3gC4wLUzw9rIU05zGvSFnj1VJguQgirtiyrK6lxGo301tFwshZqCcTKh1/3f7F2NtLFrwwVhfyKVmXTJNTnx0ZP7/lHaBT897emykxoeUbrOcEYRrxTSGbdBYy0CeF/eFMq6sASd4E4p9gzOnVe9IlESeedfb0en+meIYvOSwxErnvzTgSX3gWAttk2Sv3GoUUTKRoMoxtttdzsBSyvLizXtWm8poPDYM7esOUqB0frakaZxZ81Hdf52A1FxfLVV+0vXbBjYLEPavUE7HYrjSmKj1BaacghAJsRStQevplcvUOFk6KQLzVx/alU511jpd32sDeyEY2yrxqw/D+T0hEWBxkwDzG2vRc3/PLIeddiHKvg7FyRJ2KLP633MPejaDplKeHusSGrXjhNKgYK/PE6ZWlza7GLhlw+e2+byp3Qs6OZVG1onYztP9IQmFYaFnYOAs5/0jRARWIt6rX0ipLnQrQzA0Avqyo6Brv+00wXXZzUDKUtVraO7MF3Fb+vOEeMM0Xm+1zx7mhNBqzVzhZqgp0oTGZ76W5xy9CfLBq8nHUQ2hT/znJbJovfWEHuYyja7KCaIBH4etR6qscVyIeQhuNFbU9nAvNvkbbnpPXHoqB6E0jN+ehHck83691QIi3hqtw2t0Bj4ujIm1XiuFGlfUC+F6VlqvTZgqrt7xu4eQRcqdQnCMHnfw2iVhUzxBrxuB6rKXssRKZzezLYZhXiq9gocfDFjQYrDPtsW8YXBmlQ/qD8v5ih7nS04ZWryBmReY66k2TsUVeMJP8TUWsittknK5qUP20hVFih4o5GCttrDq0SWme9FWSzJ2/pEHeUHHgduFIIXLduFkdv6KVS0tT0Px5kU05dzif278N9GJrMHJOKCoGIFR/dSC3QUt414DhJlCaxP2xqE9ywYcnhp71fEjYrUa4/xrZ1mqJzFmFKcU8299odNm077gAxtwPXWTEP52CQKtt5+S5Nnmnk8Z5fxt922LiUD5Pn4Dhb8Wk9Vyw/G6bZSusGvlcI34CVhaTU9nRZmyvnaQ40FZSv/U/tLs3PGET6wFYftjDkwcWmSUwIfqqs19ywxxsXs7sOOeHe0LcdXmiGM9uR9R08LcarC/2TIy8TfnmZMKu57FsxwlwTm1WH0DGjqNR5lJZp+20ljvdojSrAG7xYb3Yqntna+k3NXIVe9mzeg3QAzODc0DTk9y9yuVuZGh+/IoVCRqUZfh5oUPYpvrJOU1GZuS6WEXOVS4jFthzF3wETX0U1rILrgWkFgpRxqRH3H1P/4rpXS5jOnBWVmtwRUrlCGcahfIhp9ikfGIucRgrD0NqtmVL06F6muuFUeMy11iV7zW3y0/VLMw2/wbIRkgpgHuxkKaGjnOzG7TWvmIgWmXWGhQzIkLsqC7YXy4dmLA49DDDTnf6/TkLGXtySsm7o9tmDGHlpb8ifTTlUwJCQL5LP512lfQMUv/jnzXQbIBrCcwJ93NYXl3rGjnuPzdmPjIikGN47bxGTS5fCJfxpmCsGytFdj+UWtzwP8qKjECGHNmp4WX91yBI75OFQ2wC06Dy8340Ts6LNptFZHZGDb4CFC/eE2HvNVN+oQMUN1DrVYrK7LUGti1eDwF45ALPKSXUilCs5+ZqxyJe8UzP/N7g5tbczFTnxCG2u8xlCiPjFiuWBbyvHYyqGwLq46lZBFW9vegoBPZ5fnBWjA2wHyZAVKur0v3RCoS8sImels0QDN6u62x92iIT6+fnI85wBxns9ZQ415aDbMgXRId4klqUqaUtL5Te+QD1MWTVODgmfoztEvnfOLFJrYkWYIoVit40FKDUUpAJ9n3C4a29ctoAeQww3Gg6DHuF0JkzMGsI1iyWl5Mozsbov8KtE5yR3NgJ8Bb3igqcyvj7eB69ulZmYFThKtaw9EoM+/GdHrMJTHW4KWLhRXS2lK4+IpVd72vRbuifAmzMaLZza/qUBbvrLzxptbKyIM3zHDtBeCXUxVhlJt2LQqevwUCgXdt8xmNuQ0RaV9Mj8mk/uFVzumaqCiKjVtlMF0xK2UKmZuy6Yys9JkHEc2IxKC/wNGBV53f/Xfa1CuSdM5jjFuT8DtFf913vRoibB3uslZY98uc1GGjkUdEucxKh3vM9zECmOlXuVQYmALHRe2IDjxx4AhiMT4cqy5UcJdu0JoDKXHnBY0mFCi1L2UCl5nA/zwyDaNXgz2Cw6kLUYdfHoBzepsecv9oc8QtOaJVep8gdKQaYA6FPLZ5nxqRSNSUbjTqNxK6pDAWKRZmJ6fiG+6xCRZqVs8iHxrDOhgPO4zBROQDbvLdHBlvg9HSdM+nekcfCNZIBj62yOWUvTLyKqwUwdK6oGH8rBooxYY9d6pf+eI+qp4G5GwbabRGZoL3VAi/JoZIqhYQwqnQLX5XX389oN7637C8EuN6FYqVBQ3/wGDypoxWKa4yG33z7dEEs116ntnxRCfwCXVBTCKzkf57ttVfXure4FpELeNzor4exx0Q2u7IoNAvU824w2JnqmYdtPuSI8xhnJPXpJL67FP+nyyFDY+QCEgY7DzApwIRqWQ9mm1IOhlvZn7Lb8dfW/g03ttJJ9r3pNg9bNfeW05tSDF3bQ60uzRTP57eLrcPkvQzlotXW5p79HgxsGbxw4dMQMWUSjeKg7VsPsn35YfJTPd1ZaJzjZCtCGicTAaI/+zDA5oNkcfvCBRZ1jcqYNBQV8qZGCcr3+kkfMswBSxx+69iP0jS5W7d+m2RV0gttFQ7tzVFNm64WViKy/D7Vi/l7g/txF6y9Zkwz+Ftufhc3NL9Yeg8067v4gm0I8WUo81544nGlyptHJyZIEivSxUKcM57TufZe8bfHjlFvhU0T4Hzy0Qm42y/tS8+/rNDEUX0EHDfT5C6zGRUil6VX0sourO8I+kIxZqWLGYbXjnBD6Wys3Q39l4n0vCzw8/F9GqPRE+4nGXfgKIDg/afOfevPIIkKEPE02nn0MQfjuF3cfp3E1GbU1yZ4VQ0p5McbnX51QQ04PM+luUHo/dG2UeuobWBIkYzK/6ROmC3bStvPDfIUm1q4K7Th4eZSmAjTAamvUMa/1YvKYDSv7/O2zTuZPTUfPcHMft0LyZgx4xc+cD6FXvJCukBiF92KkQrpkSuo2y9+ABy3nktwTyn8ChNL2IJVc/QSZLv9A51XVc9wNSWTZqJaZqxQ8NiY/Myr7y5ujpR+SjgEPcIC288S0c6tTC89KmWbG0xttx7WBsw5MYtK3OezGU9QV3/+mCrhyT4wyg1QW+XrYl7oh80hVh9XnvfSa1XVAkCJggqhZh4LvmxCCMKkzMP3+AnfXQF5/IMdob8pp4+u/phnr2nAWvQsHmCAwaHHjzL2tQvgAQw6r3hwF3hD6vKr1JRgKHTa878awsreEJ5yao0pVYtMvpj6LhIXdkPwUpPIQporFHohPdb2zhvz0ewKRjo9FV+F4uu1E9+SfuhNxb7mYigW22krSQ57nv+f4CoO3X9WG0jDqRdr3INGJERNnoagjW2UuXSUmGq4IgqB9Jw163J2zCR210I6ncy+zraNC7f/98OSY80zotk+BAoUXtrtVUMgoYCo5b82nR/lE9uydB0bQcfQplfmkmdpqDP2p7Olvok2hHqX/7Q543dc9ogJMhxMgWZK0o1ty9b9nz4W/jZqKBS7SJr83GsG5EhyQn3Z/kBbeaSSvePfpzKCQygjqr6RId8ONTSn/V2qMJeBF5iIhtF8wJErTpqp300zT1e6bqEODNpS5vEsFcyJ17M57VsfWDwz9lnHu+wSjfGydV5MnSbKu5ftfo2/KKRJya09Un2DllfT78TL3DFG5rvrmQP3CIQq7wq4NCoYRAkaFa2+b/kAZHgdxHN2LbH/3axPb3pGOiF6hrVkumANz/gQn2JbD2mguPLxbmy2CSoxAfFtNT82PbOeit18hC/flx+TJ3vfbzXYnrCwCsLj0WPYZU9yVpkyQoH94ApXjOTqOPTi/YM1YIe9kxR5UUmu8neVz8Bc/HAT5VSUpfUqzvqnEHVhObnxFvbMqGEomNragDMyzQ2b+POLMLTYgXjHQpQ0Y0crU1RlKoSXGLsiv7nBfu0lZiJ3UVzlbeLL/f/BY2THAAVCxXgglif4OeCXA8K2ej32WApzR90644naBgKUcYjgBUozsqahzQdQ2gzX8B7IvPwdhIA78PaZJeLUO2SoCwe6cU71VGo9csc3T4Sxayi+JDfanAxRQ42OSl6tbX5pmCPhxIonJHttHwr3jJtytyquJMVNZXtU0RaFt/beQMtiU+a8pi4yEjrZKCdk9sa7rxtmxWtT1lUBm9g3j8vARGs3nD9CXIZcho3g69uv/YlAhYpRHB6+AaWpLPOD+FsoV+m+EPWZdAl88EjuBKIvbmzVZ3kcWPTbKP1juJ5YjnsnIIRL8uAe8NMZYjd/NwUruR3WiehAZEe7NA7PF+yU+vuSoOvFpkH8jExzw+KZ62yudszNDgHMFLA6w2LcSyh/gSi9268O7ffyao0J152/myxnEfu5FBAgcqLb9FtoIVPR547nKRPfsOwm/JJvo5PlABlsXKXBgRyAKHg1+1KnDelmpc0gWjV3u4Et3EvrrA5XVIoHKQh5U1UudTXj/i6IrMMdDAx3fRvtohYB5DRaqu3oN1R7vBeFqE9/aDbdt4B89AYpApLqAUMth7RxzJ/kIWKHKafHAWNpukzwoc5TxXqESBCBea6Y5ZzCAQz+C8cqdo+sN/qnchBTytuCNDJhERztIcBiDRe8eao5aYGJuuTxeKCjKN9nxoKjzP7IGWWHzEqMdlabTFyUSJ+Y4poqeOE/TeFiy7JuvVC0azNZJyP6FcwhhqYCzU5u+45ubcGB0xyilMBZiSMm8X676FYmeJsUneBmOyJPdphLdeLtgYJZ7YsmryBYJHChm3FZC7xyVUEOQz1rv9jtee2GMym4/aqeQjccrF2b7wSaGj1bVuGgLfJoEa7Ymj1st68s1gPvOfMeOvEIPWVtE/kSrhuy+sLB+LkzRY6E1BPaEytE/Xmiv1e52hMXmWka2HBYwBNgSf45jkKqFVxPMnRy0q/PQycaDyvlT+xBY939d1uynIKh+9afgk4XXsX4f7CCpQIKBYWie+bJP4Seg5gch0CWgr1G8pAmA97jyfbhig4bh15KBUROoVPNpVzVLJovGjkRkYFXs+25lgziseGVeazfg0eCxRNEZkNEXmVKk9UHCXHsA1U+ZqXNDFuUvQpFYfDJlMpJiwdC1sWDdrKCrpogRuIUDOZ8hHcwL8FuZEK9lNhZyMEB/EHWVIevoFvm6olnqRrILlW1gjFJwF0IFlgb0QAGbKPqVVscavyUrumlXl/T3iwQBcirZDatnxd1PcsCZg1+fr7G674D2nmGx0k3vSw9fe35vMuxgmgI5qs7KrlqhfPoMUGW/gtxgB/oU3/6Yf5sEMj7NJadvNPk0ne/4XK/yZcZjQm9OoZJr5POc95DLj00laoRlVQ4++Bey53HpHbo7TpG3gZLkx5I34gJoGtZ5958v3Fk3Lu/R1dwjAu43Xm4wWA2nmQ1NXbfcesxJYSjBSL6V/URKmr1oK3a+fCxpYAoR7pjBJH/RMxDmJp9r3G8UWsU1h5jkv+68wYyPedgD3wruXczvHvJInLEfVwOsFwuG2heoPzd6bjL9scb8Ep2n9HRy95EVnAgBw38kf4BT3A4dhtoemoF1qWHpVLRudRFV1jkr5gE9uTxTNxRHZP8BMxUrR6HpYmj13fjjb1lRnMdOJxzFKzQQohUJfH8htHJinxQ+mAUBhqp4tNKsiBtLGIYXUTDC4i2h5jnK41RvITgVjQG6RhPus0xh/DKhkUYNMBXEHADf6WFlNEbwpKztFh/bn481C1oiXoxCiJsIqb2whc7k/KvatY/L/W+WrklSy/WoRTLKcEDMAp7w6Aj0u1Ty3toF0VOMD2UbmVycXhqfURMe5B2aD5L4kBz/TgBxj0wnbovimtUxtCQVzyEOnB4R0jnXBXOIIyc3v1O6sgqWWoNOlccWeigZeQ3PQNhxx0A4qgzFNPq1x/CJR55JCZyaI+V720teumpHPFqO6bqe922KpTcHJrNaeMwBF9y/KBtRt3m7WmSEzYSL3UY84eFGKYitD/fT5+O6nzMP4szIMTqdvdUG5X8t/6ySZPrH3G1f/E1bmJN0LSDBNgzbn+70wdURUpxSwy2Ikh204QtRrEtSNG4BqvSrN1sbW/fH8ZsWAcwyy3lbJ3SwH64y6G/exfNkiN+f7Jy+9ouwDKcw+bhncWX7xdfMhf0EZeOu19k6vpTKm/KywjGjxi2Y3wZ8284rHNVNOmOeowdsYgz4o10kDb7FLbHy/g66bp7RF60fMyNp8VBJCE8xuLe2QGzu0R5PEKHf5/3DFnogVaZ4NiOAFbe1F3j80gYpg1zpMI6kMbhRUxMmxqx4M7K86UG9xUiqHYZEvJBeP6n7MmBOUvttWIPGJz3S8SVleMhelwJafEq4Mw7F7m0sD33pOrOAKayfSnf+Eyw4+JS0VQzQxqQ7P+pNUMpFB8yy6KxkKEebN0VTRx9mhuXTVtwMDwxyPRVFBs3A6Y+VHBoQWQRVTX/QIEKTHloXkgYtIXioDVdDpmh4DrTV+I/Tuav6QkmYhfuGM3/jwoFecjOW7ncePRqV5Aup2h/MTNUSw/uWnwAsVWcSbEniI2RPkZa5lbdQROual0ZIIc4MON6u4IZe5IVUZ7iN2zQRrBzbjX6YXn3fz/75aFWIpozCYO7scR0SyLfpZjCfu5Qoug+p+kuT7SWTcTyyG8YJOM/fWUWDz6o/DnxMAp5qHZ5VSE5gEU9odMe2mCX1g2a6D0hb4YDYpc4ovwAhOqmFUjXZofCRGYR5Ms2/xwi+NadNBo1SGY/BgFh+gRPDXggAyTycy/XHMz3yVSfu3Fkcjq5Q35nIojZARNw1TofcQFZW4kB/IwPk88ANR5L/C4FDhnw6A7eKv2LQi1KSuLva/ty4118Lo06puHHLqR3VdTR7eGEjNsRylltDPmvbsz0aEuKj8e1YLoDq+/LIQaqnQH4XJV0LwfoV23zIuyq+mC/fMemr3YrKCD16DAhW7NZ/y7R7wSf7i79BQCav1Gwogc+FfeqiCVrxsGphy0UNDo8OM8TZYSL9w5vVA8gQqOxpfk+BPeng4onJ3JnviY/JI4XRTnZFuEHbEBLOmzyQUG1ANTp7pKDiHE6AM99l5rYY+RgPzGz1nBkX3eCGbP4EhD0tq9uh+DH5C/7ZKybDdgGfZiQRdr44SFLCin/QA0NsyK93VPmmkScXt69fG7LCuU/cay47PJR3OXgMvjjc3EqqV36gg4QoFyJ/qembvgGps9/rjKMoinOwgsGNXN57EFxkhD/JISVPzMdMxZfhr8qS7BGiCNhnLwCKbTwPX+xNeikSEbksygykrU0UkHX1i9jkNxSDoppD3z57bxG0grHkV+GMcgUqa14CiK6OOmVT9hyui1p4ld4E13Oh6pD63s9sTUTWrWaIUzXz6N+7fEVRuwZtIxxaAI8sDjvwsPneaEFz3+XZmE4gGonm+JthFgUXDuER0GEufT+LmtRZ2yzLkZzkLDVonb9mhy4n7C/As/HHmfScooVcc1ZUTi17hvNChSgmWz34F72hRVFZ0BLJtOlGi7yN0ZTJFG4uUVYMGUjYdneOUlE45YqUeQYpTRwJf7o8OApOt+auWjtYuz76031ctdgHPU0D3pDW5ju2vq5RymkkKMBU6MTMGhxo6DJy5CSPvRJ1NqMsyOd9l6TqBEpi2vaFFq3rUw+HIRNFq88eBuuLNHiDAy//sAbfjOvTyj7QX8roB6EMDtdBLR6b9i42ZDP8quLLr/JnnO2piUquvvp0ZPjmd+GmVISUZ2EM1cL8sNEkTUBZ/rWcwXGlo7myxVcXAVMZEY7RRD1wdfFgYzoK03yuMDfDdO6urAISXEQzHSI9Md52fSFC0xfc0uSsqF4cVRdje1qPJ60AmFCTcejgeQXP/rYK8Zf0ome3x2RoSTSZaXzq2PhUdGy3FDV82Y0XdaRgwfCZrbAmGeU7uk2xTJsl2nTPtacf5iM+TfbRlr6NKtOI+okzagpBafoGe/EOBpJIN1m/B3wBvJ+T37RIztQ2/wFyMd8Gd+ONkFfpkxvOKOyRkgpY4/6yvNyJ0b2kTQeX3psECOgz+lDcOt+qAgYFFvyw04nVSV343ulaTMSR4cN8A2oNCrDpESM+SYKW/hGCBgR5UzSmlngn7/WBkg+1UxyOGNYR1CXLKCGtIHUPgFIwIXG/NdFIvMcR+r+aPIFFLmmJPcZqnvY0d4K8HZbq5HQiWz2gdAPxhqI67WPUwWUAO5lFAlpmIx+QLHxtS/1dAXZIpfhoX75FgoPBg75rUDMBCE6Ah1tmw7PEDD39WC/fa7MEx2PKY5Aiu0HnkkNMDGWj8GMlLbjGnKBNn5R3TaMUUuKjAynKZoHRlURwkQQ74n8/M5+EhFlH7ZRpNju35Ifk4u72OreWOx0Vdf7U+ylzBVu4jqe+qaljKWMzE1PfgAPf3GtM3LdG+ejLd0n5VrjyVWTiZRTczp+r2dy5FDAqtv7oXIYDC9ZTMd5RrZOCU62XUn0R3bRFaJ9rKgsSqz7FblbevaaUno6xXkL0bjDO1e9c1UOqPDsLgimaiUloEJ7gP+pkbK7wLYV6N7gVOqeWlIlob9IxxB29QjcSFDDVCKXzs3c/SZV2k8R89jxHDPpFyK1zV6NIQEWg58XAvvSTApewURY+h9VnyUp+9ATVayQsuSxLW5U21xO2GbFf70gjIx2Np7uMaKJPTnKN7bXGCm7qxsZ7oc0NsjsADOwr6yxEL7wNaedl1Pm9AgRENmYeMYV4WphX856w3S3hFBCAtodrM4lJApLdFVgPkKHfyKOhv/RsnH9GMpiDmQFhX/26YlcLCuo9BNRh6pSgOayVLbUKac2QUzZhrXYvaqRkHGpVxhUCMK5r8drM73HMrtWDqf0PziYC/d6AmQuhanO8NmNkg0R5/3+GA1O0uDi50RlfWk6Fx7bSfRH4omGyMrEOaEjyHBLyQr4F7o8IkbqSxcgKjw1t/T4C/78+26prClADwjVq/r74rRrhs7jUiYigHOAKY4PHd+WoVNTy2ZSB5h3iCLVdtgst/CcoFh8OnSV3Nf0r6R8fiWXW0D6RSUt9qkfK2GSF09abAzot905179TXnWbZ4wg1XIOZh4WSIiNU/oTK1cPIjAPa+M7IFLJlJYIzf2neFoNWXMycrvUzMUQRLSEzltEC3VdJ6Kp3bihoFbeP+O8G9sQ//aD626UB3Xf5UEIsnjwhAkNxlKFZpr06XjgYHir0OVDSg3rpuJF3aMSuZ+RMOWynun6Wj/3aNEjF/eCcKGChZZGFDTsenOrO9shQ2X0GaNgq2gy6q7blskyEB6aKYcVSGBMK5nxRdlIgA6SFEfdmNF9TbJ+mgPNW9tS363FWUxHDOl1GwNmmF62pL0S0wEBSLHN7wz0iAeqP/5Fimct0kDCJrRdxVgdlXMbKpcFSKLOMmX15MEF4FtIgngHn6O4F9UkqDHSKaQ/cPNVcyVJmok9gBo/MWsDvT+y8IsYDX0bnDHRVNJEHAipaBFLA7aDIkleWQ3PTGg6nMi7Dxmm43KSMMBuSANtLTPKA8qRSD2fiM4RgDxR4h0GNGYdIUuFOSJZ0W0zNdcgIzHCM7z69an4+5j5n74z/eeFrpHm9vZre+lbY3nuq6PBvBDZc8z4ZDVjN4OqmTOAXL5HmDsmkkBrj7MaSsZ/fiObxD/0r2QSYt+HcSMA73X6PzDCGzdKPBvqnCurDhmZHSShWw7tAU4T8q1cbnsx6oSqmi34diOsmwgZbZIfqAGEk1DI5dMUdcoZW8dlVzMJARB0JPO6XWFmQVsBCCpvvt/L5LYCn3CtXexcgzRco/Uf6x3/67HYKP/GKkpcYTXTIokVblvcQmnTk+3Rtqd5xNbaT7yMOXgBb4fpqQOat7GvUAod97OBFgH55fYbcYUyFabxtCoApkVejv6KNoWgL0FNrswdRtzeJanuoKNONGpG5xcYR2KKyG/xK6226TkEvzz6jTVS2F5/oO1kL5aER3pA8+ZE7Ftb7QAm3uxkoLl2wS4sJH0ZNmfsLwGzK64PH0b9aQ5lbSG0q6EbeQeSbfCNpFXi3inqNKxBDOSqhhQxTr4iIxl0wUQ4d6zbon7QwEmWS+Wrj3I5Wz4DFwT8RlIE2BLUmfqvQWnIIgnfkSDYrU9zl+Rtt4Hn++VjU9SXTc3DVu7FCQ5pX5vnvUlmvqkexbjErx8Sp/UIt+fJZwqLfDCubHaiVeW6xdVGp2eMbDAUgYHQpa0/hzDryKDiPWBPEaJdK+ryJHK4wylGTrGENB4gyV6vJSABr6EyOa5KKydTR1s2Z0dvCjtln5qRPGxhwW4VmWu5vQkOygSnUkkU12rXkw3XUsCC4to3OSexapo26w78I1zeCnLg26D2iRdKsjD9JW5/mERUDSvvhDMhQDSiu/RvEZfFbk2XPiozn7gq0CnsSZWLl1Yv0mfpU6HFa3p07zbinbOCXUWTKQABu1xnWVBuOirilTfhECqMDg24VJ4j+Wa8SO/7XOkJ60qRcXZRg6jGsdMKoa6hCzXnbKEv0rWJTyi11Bd8JD22yOCn6a4sfKFpF7sPO311clawxSDx/CVYBM6v3y6+iV0msR7Pz+mSe39Gw6i9ny30smJXt8FeF8FjjB4+exRBL1+egh7yMlq/imIdCuhbKwu8rfYWFU8AguyhN+OuSrUjgpINOu35z3fiO2llqGFk/TBcpNZfBc7Nsf+xdShhEqXLchaZngNhIyGZulALlqtVdHZRaz7xsRju+3xW8xz2e4syqOw7Yv8bJJxV8sqDncfOInD55p5BkOXMIledPzXax57sbDLbh5yTUjT7Gzr+YxF82QEzeSy2I5H4KQto+kQPXMyiWzTepEivCUuo6jfwJT/Crxypn4VfHX4ZEo/oShZQRtmhfyVJvad+LwM99wdiD50adRc273VkNwIJCbSZHGIb+STpG9HWQMBvecUiADSH/7bm6kneLoJUpn27vJSJUozHg490wiWzruLXWUQTFZE0D14axuKW/1wUPYZ1SU71XPdvklVji7o11OhoWHFja3TX//GPOc2LBBgI1kDmHz+0wzd2V9WJ9HObKBWnszli4qCDxqyiQnF6rfnPwVssvt8aq8JCfu5YfKEiiYL36KBCSiR6tnlFtp/TA5/WwHrlTSG0u9erjb/iKBYyg+sB+i3jcBlawwXtr12JaLexyIFVDPI7bYQNBtaTuJEiiKuxhjQr+iRML6iOz7iXRzg3G8PZj9DkIsomZJ6dfxbEo6/W1+mKI/nrWX9ZktLVSyAVuPPbNGpT6VScMu1wrmUMXn5YEYZQ9sijMmm515IvoAdKdLIXEBjaX+3Qcy9moTZpU+E7egejzGreXcq1lnR0iY78WjZlWIr4iZkmL4JaRXAy/893AwNpD4fgkrOfPFaxEXZbXj17pJ/XnVdWF9LMx59e4T60g4GKCsB/glMvtzDJyRNWgVVhzaRv5mrLyT8LPl0BbrvBFbhFv4r2v6Lrl/m6jsDUGApkv3F4WcORWePvcEuYv+UrTa1m+6DCTm2qyYTL4A6ULZnQ6sTCjbMyodujC0EqTCVcAX5Sm00KuV1oEEL6yDy+L3JQoKv071NCpTlXJfB7Y6OAbSq1jZaPHXRcKplmzz/KdOz99M9KF+0IfoYlf2mhCIp10FIXII0ju/yXVoPlx/ceHuodDqN6kCeSNttXiKBIHjIyQ83juPlj+0lX9abr7D5MsgWWHW2M0YR+UauNSv7L2JZO8uN7jJSPK68+hmwoAkveZHPeu6e8+YQfOz4N/ChXSqauW9BDMXCgH2wFVhsnSl2BNURQEezzEzgl3Oe+BENDFNvRXiM4EOl0uOZzt6AJeARvUVRbYzV0NdQLnnhyR+U0MxefTpB7xeqdRJ4Dy1RkhOpLZaMS3eF3waFkbW7ZhOTDuMaua1E3fKNxGuzH9/xNPh72xx1iCsx4sVU8s76QLlS0n0n+XhUbGktbuteEqL54tBCKuCOcYZEArjcAwsDmUf/PL5GVovHncqGyrRXHeUOJTATmck1VzdI1W3Y+7wMLRjEzLq5myWzXeWqyJ+mvyhnuzz0ztTKsavayUB/0G7W+L2IseTQEtvliuxwjN8P/2yhdWN67DbKVkK6ZQLvtKM4d6SZnhgYzNHBakbqQcEmYK4aWjXZ7ZmxYUP7T946eV+/cCLADkFQOUIHdeZf0j+XIsMfzxeLp0GR8nOJaKr57aFOXQEX1Hx/hAwPYXj0KOZAABfKJLObRzCrenAGNpBHvcbJdAfhSz3ThdCfu4Mm/YS6Q2qMoLFoRo9EePvcr7NEKD2dLQ+iNl2yqOXlAiZXrPlpkocHrcYGc8WwAeixmMo8fJZfFAFx6xOE3K4OHPph9nD5GRcLuSpc36M8E4GXuujaSqih6SxfmtggZV7Vyw33aHTPoCItY/KvdhdhgoQuiakC2wfspSAZBDTGxBlkI1OJr6bauqDDDICIPXAsUb7FMxEgW6U0LwNFqSqcQNFOnbxm/zpGazts/i/FRYJJKI9COyfDjdlyJxX1Wdf9RZf4b7vtkat3XAvYQDVtrP6Izm1tBbwP6XNKq+kYxTk7dqjCc99bHx7HCGh3tOpTEkN/cHdJJJ5UcsRX+TEat4FCqTCSCoUFDGksourGb0G6XTBkFzicDEa59y6iNC9yp49uuoyeLBGisW29nPtZq0mD8ett9XtqS9oNz2DSXSpE1NIEAsAXnRVdIot0mJhp6osnIkbFPFtxycS8xRWhrppXMNMS4AqyN+jJvexnOikANMDcozf+fuOFF9bvY1mXUeQpF/v7GqbuXU1g17RcjqPCrd0OvjdQRzyuR+4TFXQT6zd476pv9W2ea3xF1p2amoQbfFjSqYB4a8WWqyuO0GqLKohAoBPnx0hXEEB9H1RrzsFSww4P2xGE6YabUzs3PZo/3olqXch8M1EpBcoMY4ROcYIHwTQ7r8Uf4mh2TWukAJySLVFbiucAybGpuvetvA/obsrpjFPUwzTZMQS463ztRPanxALot2nvzLFECsIGWp0gBv7wNcCdF0Kqnr0iREEuEL2cgJGKrG/mOej1psVjRGLk1YprB6Y7kEhuvjGa2mAFO5jTP4sQv3P5XvdFnyhO/H02XogKKZhT8jXwfBV9LbKksPpRXXqlC/jg8QR5OOoGmqM0Fy5k/VsIZlJSkJ20k9p0ObxVmxxV81tZKOloOc/iH35CUKyhiOaFPTlVLxBAoCSHOaRSjF9YyVsFYHC8VkvaLgXBmzXzmN5O6fwzSFALycx3GsL18fJdnnqQKO4rQUbmL5sIQ1Q4p6ibTKg1YX9BPQAvND39gho+F0AVUb1W60eCgNZ5IleWiEIAakNyuUpv153tDT/HKBIZ4tXOT5EA0gshu6YNSUXjgY/h8LaYGEGrrIp0rrfXs2lEKZW2sAThiRgerCcwSVUVfAyElemF/94iO8rQiWyTDPuxbYeA12mmFOF4xSmJrSGnE6jB/SoKjiotPP7wlb2+HGSoPnKMnRuZbV3AuNa4XA9ps+ksJm3pv/7vx1xoE6dmO+Pq0uCz0Rr/GnTT8zQ4uiis5aDh2J8RuICKUAB25DdJnuqap2GwFhalBtj4yfY4d9h3EpM7V6E6P4gthP8MUWdRC63OYtT6Fvxwnveu13dHd7ERKQoOo0toRTt4jpqb6bcgWLlEr5N8zz1S5o36Hptp6f1MxsUTw1LH6u4aIlR1GdbIwfCQPicqfNGx016ihisruyAkaMVZmtgtrS8pZ+zOcNnpp+gNK9+55jPwTbt932psTBJME6cLpNhN1K5xGDFpI05DxtUM1G4SppjOZrNiZZtmEbADddW6ygGW2KaR2M5Gwp6plZVYO7jimvweOhkmkHg0peHSvoRdKG2M2ZmBs1M2myh76Pd1NJyRmOGm3og9yqByscvH+b5GPdRiiFXfXfaCQzUxEPvbtERXgCplXe9Gm/kq2ljI9jJrl8wZNM/OBxL0UaoVgjmptJ8GMhD5ZuV30zvV5oGCkj+a5qy4J9f2M19PfJecAb6GsfzuG43ryPl10vLWYZj17T5f7QDlv9L3VdqRrrKD3/iQBk8jSKbZGHQ544FMim/5zRN/oMrUHbr9XxzK5004FLUmurWnbUhMXSu+swGHgCtVJ7nJSYuEdUK4EjEFR5w5NGhUZd4bgTR+P0IPVskRLa26nxTV3m7kxe0iaNBKDIm8Omr5SMTEmHFJiEIkUIuiSK+do1OsOUEXES+VR6wiG4bAliTPM1SrqTZITpMSv+Xj5OM+O/1KXG4FilmxJJ2Map4U+7aaLASMECoZQgxwthDALhSnlbg1sw8+ZcT4Jdvblpfembc87HRpFx8b/ZspCP29BmQT2tSJd5bHeWnWE/OTmpSgWsm9/sOTZpmdm5qlq+OaITgQ9tUCIWiSvtx3jcAHrHpsyNMjGFtk8RbohQyTlNQYyvcY48CuoZMrz2Wvo+jFfkQECpaEOY5fu/risSO1kKfxvVZQuBfa38p80/BQhck1LmKo2Yx4F3MJUyFnjaAdF/im1ryDawaVJFzxPKCetkFNLvmSGztHUtjG4G9h9/FJdo7vUzNLmncUSZnW08qrXr1ZHzWl6h4X8cHGXh3wpu+49CnA+hGTHgMPYQu/9hdxJg/F8kE0bHX+2NFhleBwxEb9OnuvsRaDoF/aMURdb5pY0LM60CsTC/E8nealJ2te1loZAdslusYjZD4+GgIByochooEefM7rC5wWRbmv3g3tRhaaab6WBJJTinly76JbqdginrkoEb67LA1vGIYa/sHH6Q2RE1uQmQrazC/Vkf4JdTUpGGkSfh+wUf2xxlLoiSnaiuCOIfNP2N01Xk4kpoGuPeoCaZjR9bV3IDiPdI4rMyUsz8Rr1BKnEc9xpNglc9SCNoUu7IvcDAWF+8dOM93svh+RNdbi1xgVvmrRpjHw7pGsTVtw84ZCOgG01wOBj42T+3vsoceobxHoYeL8DF0QIKw01ssbN2xBCNV1VKaEKAld9nSIm3WIR2LFWTAXd9bJuisnA2tvpW6JEWlGzJi94YTzmfD3PqEhg2JA3t76spErDPzBEmHfk+ftca5afIKjZ68fdL+22HStPWUG1SQaEiz/Tu51xNRi0qXOYaFlcZ/xbvDyv1Jf1OogRextxnTSW9hXzJ+ks53XORURhjMRz3aQFuCqpELsft2/kASd4Xg5Uu9ib5/CWpX3PsyfJRbA3HJjTTwlPo3NQ4Ye3V1S42SoICSR4lQBn8TqutO+zZ8pMcLcF2XZAg1vQAU4BGlC2RoJWaD4Lcu5mKcJXbanCl07V/HvBLj4+CGjSjOAh+Pny6jWweUiKxhMSZCNHhyq7gkh0JpLflK8/PKowcIzaS/11qYP1dJYP/S8JSFOQLrr7iUN3LZ2a0e6J0H/GD92N32WhZ3rsuXC/EgtGUWrugzkzd0s+kcvNqkPA1IFYkIdNN1HHKH2gn+AjIZb/THFi8jFa2ZKGjLZLYlebt8Jc6tWdfnb4XNxtwABo2QRzPyBEVqWDFRvfpRvGhjlafgfyixDMzCMMcDYft+7QTOXOwqQpdgfdJYguY6YXfbKtnsCUYj10cEoYxnaZjzFhXo7MGgJsrsDzv87V9qUreAInZyScSaa8vQsG37Appxeiy8nkwUqN+Gn77On+Dv1FaAFxXC4sRCvoKDYR3V8nn3FBhFBaUsj44n8bpP1rkuGaNTEkWegE4nh//1gTjNlSMGjH6VQoMMPDAULgXWYyqO12sNDndFIXMzsCRtNeuCMH/Zi/VBRovwzgYytgu2KgqK8HyfTgwRkD/QQpN3fh+J5aOPuHNwFjOew7R/PGXeiL1BNuL57jLJh1VmrUEtmPd+b13FxhwV1UO9EXC+fQ8fIgU26SW0pSuhJ9Tjvzyz9u/cx0KEXO0hhjpNy4374EUENybjA6qqIq5dAw1RtvUmx+w+5I0APdvtLFen5XDJAwmrcLcDiP5n6A4TMV3kModrpSJK6In9tsFvUedCwZTLrr9amaC8zUhTV8QowwXF8hSUSYf6SdgATmyRMl4WOic4E1zv3gZJnQ9VN4RH7mlcSNx22vNkOBE1DZyXsWA9xnyDIE1wMjwqJaZ8G6ENdr8+3sOvbVNuusEohFnh3pQ4fmmf5BF6z6bhkJnpK4Hf1D9naO7aq9yrRh5PnRmM7HTMLoK2hPpUHc0O5JhgS28+YFmvP6/HOASuU9+dSJcgnbecQ5R0r+lrrOT0GZ8cjPlJTsE1o9rsVGhGeStI5rhwNmVHfDmHAHpiZB6yQlfOcc97h58YAcP0tIuF7h45du+n3YAZZsfcejw3uHr0aA6XL3QuZvEFjJRFJf+VHUArEE+0H8UAq7LFHwWnXvI0+c1feOxPg/VrVZ38ypBd3j7SqbLeHacwzMyf5eDJc3IwR4qF223QKtZs0O5mNNZ/sRsUOlnHY/leMjv7j9LF+qZubGSWpgaU/V0Plk4J65YJgAMPJgY1BExDdsZ2UErBFer+uOx/pbp1xV+bhIGntIazTKPq7XdnZr3B4ZH1aje2u/NhavivUP90Iq016qCy2+vnSh+dMpGSpweDG/CdU9XkWV03XsrXzhnPY3cr3oR4C7QIrefNBW720SGQv+YgZBi/tk7cr94DLiYEMXqSb57Qr4/fO2pc39wUVYjR+WXT2dN0lHuKGjCsnV1agoUruco9Yp3mrSHOT+3Isx/UTlFOQE4aolfc747GkwfO9Sb+Wb9HS+m4gBJ7mhwaffCwkmN3pqQw501Q8/oWmyQEeg4JtXPA71kek/YEwGBDBLcnKxUwtFLi6hAklKUx/MdZo5nkhcQw4qmMCKGuXScp6bOsSeTIBJ3kAl/vEjKWFB/AtZ6Ghgwdai0/iNdsZcnNGmIfItLru51hnyLpxylxWmMeQ19b0mwe+2srvK0dePNKhd5pdtaeZn/OjGObqyOSUL8WPxRVK/s024vEJZWjc/1ShXt7Zfjz8dAbSZ9hK0jz2lnu8cRjUxikcu4OvZmBgujTeO/VgK/olnbmgtIqxEXKQIhrG5TYs/Nu+pMLl5bI3AmrsAAQgDmntMy13dpfhTxFsop4cmoh1za+OunQXd5JccYlE4KIqJqreuc9w/ZN3nzKkFe9TlQ2mbMT84RgqE0FeGZ5KE4fTnfK9I1R5v9CyEwRGRVhuiEvQyuaKOrUZWmq7zAfqyvSvqQ8sKpb99SQlkU5M29xRZFDOoO69y8n00I/P9WqXzOEtXQivz/DMPSQjfsjqxaUOhh+pqH7g0IZYe6xLLjB2KQKsdsNcgfa8q+yPiqrJkCkE/fIxFQcRtUmjTF80xHG/wSan3jHqj5lXK6984x6wE8/M8prK7+LopHGUfx6C0/TNF7K2Z08MczIqBBkWxRUhs50ZwQG60V9H2Pq9ZxkD96IS8Vw7Zl7AuAKsvtb/EFb9OwIOkL+gVMX3b1S7dTka+G2wP7A02fVfDkLXZ21+vuhILKLmKOd4OqGp5rpjSzypysDfI0am9X3DFK8+AmzRgeljgIY8ojv9e6gjXUhzzrvu4q8dT+i7WnW9iL/3Orou6aM7U5JMf5Llf7645nsY8Lx7mzb9MnBKANhxb0szdwDoMZg3NIjRUJvpkiTNUunIJlHrHwHT9+iA1K8fQyEGqAfTT1ttgJtlfKevgFYhx4i8RDPt1b/afj0POpUvhudu0PRcdHirQkf6BFHGcrsvQw7ydwtiZxtYVVDrS0CsaqaySRGwPbl6ONwwG1tUV0V82lVWAWCPN0IWhMqBNKlk1W9cpjRlLHneA08LyqvWx7ZgBGBvW5g0lcyXTK5vpi5gCytBQEcX3tcxJjnnr/UwVVqsTPN/m5waP8479T1GRLKQ0PBFHVLZ2RHvooQeJxQseO2UQKoDjvlxzV00bHa54KW/jM2lUEB9GioHLJPhAt9R2yvyhQ/qDkCEl9mPnpY+zM21DLAUSjq1yDH+QiDjFXjEDIPuzV0LJ9dEf4S+IqVxizxG/nNZJVy9dSyIgQI+nkQ8xGz+hc5rKhkcreCXuriMAybEDtxn68kUfJ2kNec4MFusLzYMCLnWJLy3iGz/6AfkJ1SSrOjNqSAM5GBx3NL0XjlVuivOMQBwBGUiTOWjSc6YDEsJytoc9Y36heZlpAaBE7pV0lHpMEl6pXmK4cs+RP2WBb72wXH9tZ/YZNSDTvM+oXdCOsfc76UnQLotR/igdxstMLDnKDvY/vyAvyfjUoqVsnyrmnjNhs4U/dXykDbkE6Ks6P0+gxtHDPanoTis16jR97RFsD8N8vN2YgNu6Aic6n5miDbDW6p9gRgarTrtmwCy4coxqRKScFFDEI+ma5Gb49ZZwX/yo2U/1IrxtjwfHOyUefW4KbK2tBlNbRj7dtvDeCWIKA+Y/f9a5RoXv6u3dn/J38EpbX9nGycKWEqF4h41VXxJQd065yEUkzA39dmh3FuO+AIrLu5vT53hAjPYENXucN3waxU5oZKbetUaHG/tWyyrp/5ypv66fO2pAZ1jj6FOOvRTvFr+EMKMfMEh+UT11hy4a1vvNfmhDcf2OpGnFjjGhbj0bjZPbadeOJlu1FCBSt7kV/gJM1YjsdY1iRfhCu5KG23aFn2iFG8nKHYXVAPe7Su2FPbdi0T9Jp6tnfqdr/GnQDBDxDnxMHdZQI6w8D1arOrl2j8rb0QO3TQ63uX95qys2aaAf9krVDJWp8a1ITSEkz/7kHCvOsM51eikUmPG7qFC5Ll8r6qZc8pCXJws0/T4bqs3LNnc782W2d1EglSpYnf36MWCg7E0GIFOVNtK1EkoeX/CBj7T2XaMJSiD9E51JGtxqZ/o+qKcRP4oXK5e8zPdpSFjM6mBQUP5sff8scy52wL3ideY2NrAdkphFxS75607d3ZvltQCOqBARFI1bAyHVzZ2m0QYLymRZAMoedDSQ433rF5uolFQUwXPrS63RWxudISxk7cWkSnKx4h6hA5K+w+dU+Pu5gvsGUeinBAcaHnzIGVSc1jJNm5fho6FGnT3wTBBPlP8x+4PUqaysJtBIIG+77TPyyjAIWlZ0DK3HoqDcGMCHujqk4cdgfDZWIEFDb2yJMzVf9A33jKzMyM7iINSg/MQHqIrLlQE/ZO50e5AZaR0qS4zzwPAg2CNdOczmF2zaJ2urlxtAz5y68dPVzzixYcMm67/MSfQrOzwr4W0kLT9BRNesqacAozjHRFmKPEJDdEaYpsG1D81aJBKyuZmwA6edViQO4sFXvW0XZ4WecGZp5QiYDco9PzZdEJAPN4STDgV7xGZGPEG2yJX49epG8sTooB/3MBFrLAW0WJzRSDjkIcFuLEMpjfqsLHWz2JilYnH9mFb4REv6CLxr0lDHrWonOspxFTYVRnM7LiAgBkyG4SBGX5Yk1w7Mrckz/zuTFFqxDeIZ+Hj5NKom74R4PxSK+Zja+3r1hpr4DbTrFqg7T4sZc6JPyk3xDuBtRYJfohgWOfxoABPb8KszGKEXHRrnBFPHAiETUF81+wTUan0L0sTSzqUUWirI/f26e4G2zv3iwmDtgSML+K9sk5u1YemPNYRjBEDKvFBdbQc8kJcQpl30yWaDmLtQd0sD+GXwJZQvlXWxNXgqTFjU8iYIVJHKHfgBbNfl2WfJs2eyXp1ARsHWa6OoMHsfD1LTM+guAd1TN1XA+u9ZQVRc2cTRGL2g9bGZLlQSb2UqnErEkE6HixMApBQfuqlXXptcjr2Y/3p/Gz/FIKIUSNHnZY5FRz+E6iAVaaVz2qGubzJg3hhAmQST8qCXsYslj4IZvWltCh9LjsLbu4+VCfO2d1p/EXjP5PZzda8zPqlUBZ4pYb0i4LS2P/TVu6aCcAgvcIFf8eJSnkGcDecJhtQBpz025/e9r9YbKjNC8y3sGSqLMhzr+HohKZ6xiQcRtolr7MonnArVSD2i4WLqkP8CHVZzdkIX18ZoQluKp7vwFrYVMlU9j4js8DQoCCy/GauPys6wv7xsV6AiLxdzSyNhtYGTaEZ6YfPjrwqQPelR8c7hZXGHXmAJ/64ObrQiSX7EOg7Lz/f4LmvtyR/8jH8ar+xbp7Y6TjRejJ6amEUf+fHjXAXzr2vFna5WAU0ZW6/0Dn72lEHqlBUWtbBZBV/QEmLH8Xnv1i+YOp8cTcgbPXV3aERsSh2wh/0hhCoZslRzGGSp2vVzUhVPgRZuyvvCOfIgldoQPt80z+WcqUkkPAV4HFLDlTRp65dD29nXJ75/T7dsqoFOQhBYGYRLrzT2WcowOaliGeyO2Xj8QpCMdLvGEsQWKPDSLow0V2RA4mn6cYGWwl6PPHolZSutlQwzSAJaAxG8HF4dz0+bS6XDzNTKaKzztK2UG/q3mpteeJpZK4IIArZC43eyv3IxD9BF5H2+BujrBC4XulEvXcx1uSIaK0FrIlLyxkZ7gVtxP+HUObygXQhnVzyKXKGtCysfhkpHjsl08VKlY75+pWUh24xOGPGW13qSac6gYTwzSB/Y2lTK9ObxJEgxj0AiVUqb/7+yaYRZo7WsOunX9FAvJGGDUexyo6oH4ZqMMVpn5602tdNvoJCZnjeQUir3t8ZHpJah6k2RUzPEo5244m029kVS7Z+bBml4CmcyelI+kfD+4EWS2gH3hnS7AdTJ7FKlDaDzHS0LZCYbv8KIfhaQQoSpijlhi2/eaNxnF2jg3l5ah+N/hdFAjzb70ObLNemakJmRX/QxvgA5lXeXDl8C7efu6QWtMTrRqOyil9DISkqtmDUM1P207oOmdYGBHQELsEsLHXu4IzdVe7EiIN53DmL/Ds12ZA3mIa2xifUObQ54wvVxMhL3aC6QdP0OBCee8RFlZq+4+B/5+6TnhgrZyri5ip+GUJdLRCOtlrgbG5lal2D4JnbircQUyjejG5HedDwKvDp8F1bI8SfNraSLiUCXaP9LS2T5HhSwBzD3E/XUVHUjEja6/UfecLwM1lgcE1saKNGWWJ7apWU8bgW7cgp/Ecv6OSaNgfMAQoe5d9Z97LQzojqmGUcDi1HMc6z7ZB4mk4IgrPzE4zoSYgNyU8HGqcSIniEN4t4f2Q1Lrrwus8fPuhYtLGlxP+GGmQcMgAZQmhnilLGE3Y/JoHDQTsF3gwWsnpBg5dCYh5ahHdQhDw3HTEMNYgBqLUpzPpe5utvqnea18L1p8ra6BChH2zJ8u0q5ReiB/OersZ1ZTIaAERdOhavRJ86lWT9xZhnc0YQIWMVQ7zg0IDZuPtzGUXnQTj5ZeqQLia4RNJd7sdIEwevUGD2VlZVMsx8Oax7D44AGu67iTRPApFi/Mb0odi/R0idQPekSjFCsWnWSAJRTB6vl00MnKIHk/FX3NLNAljr/RpddGUGmJktw9/fvDid2JQ2Enl++IuSOxRrFOGlFoXYUwF0FOMRnlkg+06+A8lCQwRfw4PLwkX8txQFk38brtIEyJsIVv7V0jf3vSNWuuave/QGbqGzA+YaU0CFzK/tHygtVchZ2/NSJXoMhyo91FSAVSDR87c1DiaqUTwyyT3g5HJY+TaiHJY89PEeaK+AraBSrgW0ISpr08CKe9pH9B9KEZ3ZXy0diRVoIMxyIi4RccUK6ZEnjpWWrt8wMv3xVMngTVOAJZK6lqPtugOzfqlTNJBCq1iKhtMiljjsR1vCnSTjZIYZP5+27BuRS/8HOg/fU4WWUCs0wr+wu3SH13mYZ/uud+aFDoiUHPwnE/jAMq+ImsaIevgFqBRW7uMFNvSgf4bPs5GMmQr2T2ScHbUl2APsQXx/d0i7rK3BJhz80D3v2AVGQiAXq4xSetXoGpsHkMfxIPRvW77fVf0GzG8A+gpFRA/69bNEL8IubAkigGcUUMAvJYyxnEICqiHq8zcIniIibgVlPfTZWvCxtx3NwknwJC7rC7AHCxTeUgDhEoAj41VUHzR7II/NnPaNIoxC+naIOCOT42MBPObkA9ti6qh/Y31DNR9uDlIpGkbOqLwy9wDTjLb4gKb+ic60BZzeACClacBXUqpih8TNYHhQY3sK68vJf+l+oICHtG9ne0QRGLE2jFmRWQYbcVm7Sw05PJbXVu6qlT3gZT94kM8H5XVun61aPa54duRcwkFEUNvlCjE8bz48tftnLaf3JVwWzFOLky8ueCvGvGt/vMHjgywlHeSRmCMKQumz6Umd0+FyFq6ej6nxEEXyggK0iDGR0aNUHQWBFaReQBM4k6Ms+uvrHQ1O0E7DX60mPc+HIzexkGbj1krWlSuzrGR5wPmjP7SpdMUYPqyo7lpxbeYF6+vFmrizllfloMbQFa+2XFQsyRTsnNClIIBjBCBaVy6dxq3FTPUf063u52bQCoiXX5g9Tw60XYCYosOLuU7+nknVHXZ+p0GTHaO3ZnrGWEY++jhmZVSr55vt5Y0SlXj8fcIuXzqgReL9FhJ4fp+ICRsXTVfDMd6DoN7BnJkM2duehVazbajD3+ga4wx0Kxb43aFmqqO5z/7aDTRyQNH4gbm5A9aMrf/Yq8/yF3nJJFonAGtXzHNVnnHsJw9SHWthnRoOzdNpPwNwmW4NGFi5SHiRGhi5sLKLmELsF/34D/WBttGm/hZIbV9UpDifyleiYHfgDsxp/h8JRto8LhJ1XFb72D4YanKC3LN/xQiL4NKu3Gab7KnCdkVW2erzNUfxGmVt0xm10XiICf9nrraMYfXCxFEHr6WGugg/OysHnS2/q2D+tdqRgekTrxvwolVVPWZINEPxJ96ZNN29Wdf86MO3v5YLRHPK2Zf7ER65sdipAC4zKq4dLSq1AwNktoXt+7738TkV1EayR7jOWGwf5ODXowDX7TldB67tGqh92RVIRBb5eUaxw1uAS5EuOLEeh9KtI9MxmzGf1pcES35exytVj024CY98tXwSl1hSJkYXr2p/7HH163UdEIzf4Z4sAC52yWYQcSBRjhL6MmyjkywSdrfcEHmUmy72WG4c7u+nsqRQ4AdQ28sdRx2b7jI8hUbq2AAv0JBvy5Gata6WUBmwR5nR6cKP2ti2B0wW/rAtRUPq7DKHprcUfm5scD4OQQEAqu98GpdhT2IqDfQ5DobqBMQa7ks5pj+elSSJ5QCAq55wuxmnXtDiJCap5QEbTX8glGM+ZKwuVMMc8sOGgjgDbvW+9ymEyLfKbSv/GQdK+1m/BSgxg93VzWK2SNd/U2lQT1IK/2nFHuHhVyKnQygwtCnLYbxjGtXEp4FIcLkLfBAsjTd/AMHu+KmQZAPCj1o1ezquKIXBj52KTVFi1o3We2a3oa4FQcbLUkuSB3UrbBOnBv78+MlZcP+4blcAyRO5qCJJg7YhKSEyGrmxk85+MYvJ58tCr9cQ6cu0j+NtynXfad3GFILF6dFGOMfTa8Qxt5x5oANb57x1Poa77er3MewYh49E9F5im8/lzTu++O8Nvc4HeIAx1tDvE8MLnepMO7lFXtUtlxB4V0Th9hmAnyEvPwidBBCtW6IabtjXDWiyw6hq4K3H2RKppwQv1yneIDYqtXPuDYYND3Mb3d07wnuxwUr6YLI0AOATqm7co4WcU/Ku+81qxZ7yM7Mrp+/3mNtSY7JzdgagLUh0i/W3U9PdmHkaujP4/S4li3gp/Gc+K1jSps7lmBiYD+megdAsihEyuOMLoVvrjiGyY7MPbK0BmvpAG2hQa8F5W8zIRycYl9hHai0FQTguhnp68dvEzm4QNsF/spP4v4rY2VYs7knG75z4ITicI99zohw1oaARoeaQ8LTEr+aYn8TLmZz84CpxpGe0HYKwqFuLGZFAF0nb5l5dOMRO6l1Jg2yLeSZAnf+gtSGO8ANqgpsUX2ccQsehKt14Z0TiTKSSc0y24AuUUVJq+5vmSrJVPOD5VZmlm2uJjXyjNLUZ8HxJzAShR7mBaapfAWXHIhRVbJyc/ujDN7+JTSpUkbrTsRxTg4G0bFn+Bixt03OnBwWRwdSYWn4JxHWyXpsV3JdDFpqsuUtEvjIRKMBGqab3dkVI50fn18iE2KJTB+WoKURl5bR6fCxM6VMesYyK0Bb13p9CM/2crpDsWl9Kajf04ILVWcGguGNiZBYSwtu/v8v4F/0Gf2vOrwW4jbZXcW7px9ZDIpmBELQfoIERQPJ8d08TFWmlI5Vxwgy167EW2eUwOBUtz6NIdHqa/gXedET5rUp2+VcBKn7vJC1iv0WumF8qhZKAOLp2JpeWYSBaeDjN36mvt54gUEgPLfPcLPOj5A293NNMl7KzAt7yLWXqNNnkM2KdqakI6Amu0moGk/PWnJrk2buRFvcVT9qgiOvKGzmdd36Cp8dS5iF7DFlPMXamvk+ewsELRrJhBYHKBqzpnso8GzwgpHCSRtLa3hhQF1uKOQZyATWaX0mBdiIVaqVabYeOa3pcU5hlJvMLkcmTTLnE0shB4/m+yXCN9fBE4jjMKG8GoY8zZsUyE+fvIZ3Wn5OHUL3VnjhYjn8vGYV10wbYVGHPkgr7t3Pcfco2dLdN8BbKuo3lN1jjb+niiW25hGVF/IDt78E0nhG9SmnxZEiXQHdWnwTV4vyzbB6rrVDNCX1PspxyLA9Wv2CsEZphjYbpSs+PR0Scz994E61l17XD8a8mOFRixGfvTXkK49Hb3gkgpzrvBQKH/6rzK6Iiz4XAjLvZ/nkSbNP1Q5gzstGVRCKE3h3XFBdX6ZdHOlDgTGs2QQwP6N/JYKbemjL4j7DotIMYc+U9On1v5mHP9nBJGpqv1b8lrFxv+op6K+9eM/7po+PBhQjE8BX3K+Bpgc1pZguKZ4A4D8KngjZnhoqQp0mg87kEvRaoY+YKcTl+P2FH9uMhWNiuGg3BAghnL0ATuk9XWFXoMM4npXmc7XsJ62IIYo4uisA/bdIklllgM76K2jBQ61lBcPEhCpgy2z3fZ8NG6lYBv2cAKjdt0OW1+abGa5mlxqZZu9sLI4H976LMvbHV9HuOWSyxET4RXcmUg2H2CrfWQtbmwULK+9DKQI5lcPORnrOCZtRZ7Ho8SemW2WyX6MkTibKiZW7km1J+aIMiFt9Z//KQgYGTc4JDb2XlSLmL0nMc20CHpPlXDqVYEvN5lXLrUZKDajN+AXgeABvyIMywuqwfjo+553rAZXY4jRxYShFnUOVJIlylw8A1gNieaRj2/vSu2MevPDXJxbVWLSjW4UqWFvIy/6ZbUbGzcwNV607uOA0CVYwFEjioriImHkdFGaJm3qmizHLF6JQCbdhnAuK7cQuj3hjsPzOusH75n11VA8friMqP/4B6MFyklnaNLVYguNvVnhgksvAheZBJ9DvtRj2/Z+GOpBwU9H7P6DZm7MNy0ipQ9SE9HEXz/vDIRkGXYJ5jGZZErcRjokr6tMDZwDH0kRYGdDgeyaLxNOMAYD8k23xrpDezxIp3/+m/uIgtcrWjQAeUqvlS5iLjP0UReTKokSiypE1CuyPxzKHCzRGXj1uhh4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b836z2saE3TtYrQn3b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BfFfrvBxUQCphjrpgjX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Vp6BVfC1G7qNuYIuemT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EL2PiDcfhOnRBx9YIHO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AS7.vBO6z59zIAII8lA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6NeCdOkfe0Yr6JM1jpz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3D6jDDpeKyWnpE7E6o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JeV1eBqflTBtziQH4E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dBhSX.a.qO91DUjMal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4Vwytlb35Dal9oqEno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o5rTk6F/qCWrGK464VufoxPE4+dX+4rMzoXixGvThjcSVBwQcrGbGwNg21gDG8XzAWh2Gs2a4+XEd0FTv/1mbQFxXyF7ZWasDzGKhu7cKgKDOrZeSHcnhKkT6209F4G8QApsMQK/h0ObGxvYtPS2dPf7DTVRT4bNmc5MRD+jTZZbTYjTrlZcEzEMPwB/6eTdpV9A7SsoDIJ+g124J3wi3K/TDuHNQqOuxLDjEEwaPVioTuttuH0FTkQmhok/Eto6PfWfp7I1LTljm4V4lCC4slAl27gXXjWDx6HNIDxeobSsehqxDc1RzbEYRbiMkcv5hoiWwlx0+/+nvLWpSrnCOfTL2EyWRHuVCrb71oboQzM6XFqdNsZuAJlDCzwdpcPg1nDVcYBTaIbaURzZUReUYGpifb+8Js3/hFNcN2t0Xsl3wu7F0KZupe4uyHJ1U61FQm05CrxJ4TI1EWFqCvdYeSM0H++R/V2XYC+Us+DnuKpZlI9ilGnzXQTFlvnsouYQU+7BedfBujqzIhB9JhKR+QqVCHEuVXFBfh1mBUEms/sNakRqQpVbHQDQ4YR6Ji7OSH5KCSq9IzSBE3WIKD4KpFwkNI7hBJcyHZt2dUgFKy9/+zIrmKSKH7wvFQjRo8RmgHTc3WGqnC6dGEysQI+D8eBJvGRnjFzGfswIGRASxLBk9aFXV4EStaIfOTcGaTY523FJo21Z34wvm8sRtlOw7zA0LOIgp1S3WUhWGuOAbl+WmPO8qzhY6xV/sMR/LZ8yJsAszGc3P0LUbiA776jIOWVyPBJ/X7BrLnVjlrNXV48S9lffDuia2IklISsllRs5dStuLk6qhNFrtZDzR/IbSCXV1pot6yNf55B/3vPw07mNtAi6z+0yxKYPTCt0AtTaFOawOYEwnPlBXuyADsmNmUdaaIxL/p87RQElPj9hg0/9+G6OSPflN4fGhobN7WG883gqTmpQ1p4EFJlgkE21LSq9QcLt70CzOwJfDtLXayYKW4PAzkeD0LiZhLjRZckK1N22lTkbGveuSx1mnfnmPVEHn2TdaMoWZ0FQIb8yGmuQdWreFrXuI6zM+u4d1+3mKihCv/dmhPqGyNNROk1oMWkSdpCgPYMNr9vR8qs3eWKz3d5iLizzXPonhtQ2TeOMSruVo9SFdPVKWpX2Yp9G8KctygXN+cq6fddKpjzsu4THdJOfwpY5saVE9aJHESighQnOB0SAdWEz4Mq8rbYWNpFC9CsDMNgjg5nyYXB8udGzCvPXnlEJdn95BTOgJRJoEnRC+Afg8tXieOJZ/7X0NLr+KvfF3GLj6vPuU1QbGRO4YQMY45JWry7mjDTOhOWfJ5Mo60uX0ozPf0Eub2Oq7T6H1DK2QtsptSl3VlchrChqICRqqt8se0MbogVbNY32lVNsq/NI5si/4hVx7FtTTUyBVYMy6y+rMuIpSBUynUZMiNvRrwd6G+uvI0cnupIlAKcNvtqwfSbKeGdclLfETtj9lBIbamosZJSMjzEhjs1v9jzMXuRJ4jZ8chEw4o0xPFKbNm5csdGGSpP5ucfWvfKUehI/r04YXsHLgLBGVEZdFRIAkvKUxgz65z65zHxI/URUywoaV40k8QogAOxm53pTKm5xYAHPoB2QixwE25sGz06g1+Br25lc9GxumrheVFH2ab+/IE6E9WEePq7ESmyhXL8SDfMdqzSH0/oqGb0y9U8951YEGy6iUHp+j6NAIPE729Q7JbYElzRrhBxnKLtJDdWNifTxLJJ2SdL2TeE6bvpKOY3Juz409TfmFCWylt2+iftc4fTnh7oK1EqAPga4GuO6ZYkR1kRaJegCzWXq4wsz3JJc9RmQorP5SCYHJ/NBBh+kqE7Og9YfazmvmQgLr4k9fRqnEJl6/2/q9JEhET/JkNGc2mkmIS3gUcpOd5NaRjLdCi0yfWSOqu63dXxhd63yIkEb8LvwKnC464nYS1gKMy0KRBXoy0z0Bd8aLrERRbBJ6PUYK6FKSKUHj9vAmOkg9L+U4vx/Ih7wojMnbdY9JZrHIpR1RgXvmZBl8JKIenB+lnpLnCqVQbf40xy1apFH1O3dzLEB9rx9bWFZcT02qvf4motQ73fhqQFx/6m1Ek14Ydx3xMKNmA1y3Ik4m61wNDBriijA3V5UBk4cR/TeHUyvVHYgBy/YR7s8dvlLeA9Zk+3ESXbbos2WANKtYXOfely/+5RNbS1NE0pcLzCjVakPh7kKoXKsnsf7lzMtvUKMB3iZTsk/VXyy23aCbVxQAPS5PcQjcqVVF4Rwatbg1mzO46PN3S0+DWPobFAVoRFVH7DZ7SIxkXjSC4r0BuCTrUYsMcRgq4ZsZvSE/tmmqzxDamXvPIHSpd14OqpxZrrDt203FnZvzjefYYIHaLrWMEmbn9f9tyE8MDjDs5YROEjeUz2tBofKwwCGL7B3QdjPT8kDSpPX7ZW4eTCVbM4q/zF4mHEKpLfl7PiDqqp5Hu7sSlgmcpNcgyZDmbdJC3hsD4X1WpD2ImR+cJTCVb5Bbo3woIeknud3n0jxIDt6VftpZrCi+AfJAI19qGf6wAOV7IdRagV9H68ww89On4wUsDjj3rSbexKXaCoRyx5nyNU8bkTmWrRxUJMVcAjTdTTeR4SQaE6MA90hFd26AF2zGUYjckHgbmz10tHpC75oY0mBHCnS08RFRPBBUq2ot5A3dA9Dv0B6ezYezIeTcXwceLxE3QXjrksnkIQQvfIL8jX2S4n7andVtlnBg2E6Fp7wVReUWMG6pMNlachEfC8zhLPI/e2JvFuTZkBbOi7tL8s5zn9wpUXRqQ1zx1Ic2CTFudcwPGn7fP3SIscSvvT3AZvZgUHzPwDf8wA0I5B9jxXivCxpCebtKputBMqp+3mPAvqvlI+E/+GXq0ZbnsBPt2ZsgDkiqqXirqQPlnbdCuLiFbsJP8icrsUYMwNRiyJndk0r5nWFA40BHf8zP9K3+VJlIQ/VUxEdzs6LoQnFakREUD2bmU3/uwViLZ5/1eR2eQWqL2TUUyrT/9aDeC1NO8KaEBOT/RryPPUuOew5+n6I+qmCKItrBUHAt1Pfpq1DZTssNxwBYFHN4iyEKi6zozp0x6EECKGafN2ivR0QNZZbg72SywwPN3g/aP7U8yqw9ax9gT+wKsJ1xuBsUPHq2zCWy9TXhZkzCeBprzaXdHj0SRCR9oc+DZY4sN/hCTZuwCy0XuSbuFvrt25Iu/YJVo4yKVEmyMnzDJ4C2VRdAIywtKxu1nWGzwcDvxzHgHFDlgNTv9thek3v0SWIWl1t/1qEO/KFj7dmFbA1VPXEIYfCpoeAQ9VySzEmbSchnYiooXqidk9z/lqPuij2jpP/zdkkYT046riVQmSszBulQfPPzqmO5F5IdigtvtlghoGfMP1bXXEGhYtkelFxiN6tmyGCQ4TppalLNv51HiDLxd0bZ5YbihOKJxEy8Jh5qYjRsv7uHShgvHtozFY3NcneQsS0F5Kazv5OlAZvqTYsD29CuDBovpvVp9Z6Tp6RiivwABhSM/F+jBGtgXlmXkney3S3riO00+VMQjCDcrPlz0XLNd5C9hdOIW+GQL1i1y2e9gzhaUwwmJp30a7f8wfT8J8BHWDl6Y1KSJxG8ODAytPbr1SJh788us387n3wCeL8BUMewnjcXGgoGZ+WsuG4HduqQ4mLHO48VigZG2CF7rNm5jO+dTZYU1hivPXgB5lE7D1ek81HWCt5+DtATowqtEBRH/8uKAvWdlYhGIgn/Zv4Pf/60tOIBZ/DpblIB2s1CRIr9ncWNs85G5s7QY5699Dm4y2icutPqM6HEuXci4hB3F8yF7ugzXreZfm+i/8EJwkrQa+LhrPQly7wyz/hXeRtHrtQomOV4lxgtv7QHNimywDD5PvwGz8GI9zCqewZobxiHqibhqLrHhoqH8DghTXkCBGExc7lqjA5MrMC0iLtgiv2FIP+H3sv+AwBwT8gAD5XpFlDGYrUB7H5pmtaX6cFRd/LYKSL76ILHKzZeH5bFwKtMqJA1EMHENpaC84WwppmldGB4ovV+85/NyYV6qEMSZpZGuFoZjH6SConFXQlYNSxUxb19UGLkcR3EllKv/0afyBGKtO2kKKDpIbChP10dvA3wbsvVsl0zN/n/4Xs0HeiJsmscepuC0ig6Q+lzH1HU84WboXU7JpaiXEKS5uWt3vIBjhfLWNXjDNz+x3AoLpzMly24Lln4J0PQE9s4SzEKjnjqP7LiDYSsCo6YvhxwWV+dV8B3wAXK/o4Sn87qKSz/GpE4tmOocV0JYT8JxDDTovA9gZfx11TVKK7CXI3PT1d+e1t5I2VzkRu/nWTqbniED85mm/ty6mxlyO9NMD3g0ANjUcgo9TKP8duLC72wjrW0RiqrUI5xlDXdjHFUmo8SZJrY4xWCXsjfe4QP9JkVS/yh4nKAijIgw9Oe+V0RMSzX0kAu/VNMXAglJaeODxDCQSXeq1hvP8+wvuwkojVyQboTF7PsIeQwydA3mvSPT/EFhNNamp8eYs1JljeGxDA6XVPHJe/UxxQ79L5Lf1EiII1Ibs29xC1U3779homQdtf1vyIKR7TuAVQr7eHZfjDYDSZSfPQms7oJGCUZ7DrKzERZ54YvrAJkP9sQAUM8o3/s9GSbSWaawhfb5qKq08noEaTARFZh/wuk3cLvOMHoisj3pvTCfuHQT0+C0CiZTsMg7h9KEI6i427JlXlK1+TwpCU/TbnC0pGnyjV+9WLLYn/fab5O+nqnPWUFcia7fO+3qjyPo7QyY/D2yJxZQySySqR8gekvtvpQ1tVtYDz1y0Sz3fRlbo8EI8RkQDfJd0N2TUXnttz3Cyyiy1eCI/qu9m8rj2CJm0bDZizpNJ96R6AjzaKwlnaidMBTWWJB0IyLTt+njzjMiokMNH3wV6gF/G5X07CPdZ32n4Pwicd63iikKqaZHCUcfTl/k+innGHJfJMPa/LEUOBLoCeRxCwLO0uoc56FEiGK5pKcp2yy8xVb/tXo+1iNesvYkwAraJbLKuiAGHzjKkHuHXmLi116ynr4gzOSp41yWWkRiIqDL9Ua/gVV5XNeUPoxDGZcCz7kH0dFyPnr4bLvJn4lxbq5Myg0vnRLXTY3Kep7/VLaWFhcXEz1i6X5vHJ43+9J3A5F31iFpNBlsi9N4e2FegOmKn83h9zziVp8E+DihQIFhoPG075DgsHsd8BnQQdpNNnFpUA5bZHqjxbTT021+UomxJqd34uEIqwivZoX542aFAHOpUdpunqth6S8ZVyF/acIPxUa+g3nfVcQgXP5gsrjVyuetDuT2vhwx/FzibvXR/iHMqSXAugfb3JUqbx5ktMeLLzw/ncLEZ2jgylIgYApeF+dx4iDcezfM4LTjVFrjMHNdrxUHZCya7JfGDLgeliBZa0EbsJv0JbVwJnou9njlYHddqwiVYaK6bZst545i1Hi2ncmUcDNQCFcZE56O5TjGJVOenIW0fhJbhO2UAvla18jKrx0ghNYKeORJiYVg2di9rXmE8clICc/BJomxAM0GaEeLip+L/6SMcnz+CZ1r9Q2HCvZmZycc8pU1krvUKQIShuYPdhNATLsnIDZE2FHfjuYHFK35TEX+t95DChSdJOVWyhixFTmQyMPhC3J7kcJP/UNBSHIYwSp25/ebWeIRtX2Ujs87bLgsT0sQAOgKYlhTNakOg/an7qyrFU9PaM6jt4hoEDhz2EZwya8Uohr3ahe3yBuyEBq0owAABGsjmAh3MV3QdXgA4vHQG8xlqqrCyivEzcra4jhlmWpLoTGXxJ/djLLxF3AdEjbOAJqNXZiswf3NgVm6KDgLfcPNAnl+m5LQ7zf+ukmrIreiolB5qpiXRK12+WQ4EraJzdtNPWTbDFwfOLA3RkcNCIdeAvw999Dr0enRMCDsPi+RpPqstKBgx6NZKDbqXFHhkUXNDXX95PhrfAX9rZl8Nsch1mZ4CHOmlCszWglhLXuDWYG9z9sdXzPYW2W43Z7sV3OV9sQOHbJts0ls+R5FrMwfkTss8ghpki7d6ibqjMYI5lvtCt9CcHwYhe/ix/dBh+fCF5MBbOkeXIyW1a7CMLUurDR9c6ZmlFwjXFcZ7GuZvfEkv8s+hd1QUwDAhlFseME7P68Io5OAwxsRxoZ7hd88FQi6eENg2vXcKmXz/OdyyHNu68e+tsiqwZHIQIuo1HZ5mHqEM2mVi6mRrhl6EnM4uv4joA8JmcXI0MwveE7RPbKbMQIlOJt4fTfu0/XQOyrfQGiJr36popk69lDNpfScAdfBx73CnkCywUOHAwTMErM0qahxVcKU9WLCsDxncixmVWOGFhIblyV9IfITjF5IxnOAHLEwLYIbkI5kQ+mpDtLknzCGXeUwWwt6g08k/8bIMIkRJnzfpTzfT3YS4d/in5uXPiNjHJQwSzJaPYxVovZPkHX9yTU0CXMiK7lYbMuP8B76eSkrrsD/7qpSpat0+yFEqgOMOod1sXx0K74o8pBfM9V1zTtOATLBo1q3rNMWuJSEm40EAYK5B4xDZ103Bh3NiAzF5CZdSmMnuhLZphAo+j6yIOUeJA17TnBt6kt4AZC47JGYcAtMPxD275Z5nuGcUSQ4YU/OCJ1TLmiKNApxZLihiG9kNau0wlBDzwUcje2MHZxeiqaay6/+TC2kqcSabvQTu0yD1iFva+fDIgfIRQa6go3WOwIyeM8NouTtvlNRUKUhpy1nS/EGCEqhNMttYZDZ/7RSCO6dD14CF8d87Fe9RP6hRvbF9tLR4cPlxoOdFSsxyzs8VvO8kBD02TulraV7KMJKpi5nA05sIr1VWdKp3BeTNtOIIK6NLHsKGYWGH13bzUdd3M6jqFsk77ALz+38DPMtR/uHGrdClM317gloMllHuGGTwg3GXyPEcfa2lpSW9FiCNPcxN+4qQsFDS93zhOhzo39j1UYnx61yLl6mASsVlRicuwl77p+xvtlHEwDhrvx7vw1MUvHEKTMwEqVuG6V0mfkSuyrpAvQw/Qn7wLRkjRhEAYjH9c92zc4K3wR8WR7yW85BgyHaeMLQqL5l/ZvRYv0u90N/LAQ53NpS32ZDiWA4ivbyPrTQIt+dR+p5HbmX726OlXWdt04lAtDWVag403cBjvO51S5nbMMoTN4oLXpYz2SPUCeWXAxT3FKJxj07KJ4mlYR3I+ytwdYozGGLur/6SxxATTjXTGT8s1QWnrL3abw+dY8TNIxpAyhFQgj5OiF+e/3ft2abEkthUdhH9P3tjBCe6A+9YKPrUYnYxdG8AAcqi3Ru0//6scacODsIF+qPmP2xaCgtieBj73R9fH0tfJThkxTQdTvhOToVsig4W8WFoHD4aXu/16WncVeJZntqoE8PV5UQKctYhNSHcg4wP1pSdRNYSlkcogtWHyUM5E66HQ0mQlUDLkUwyjFL3W0VxkVjqVOdFZaob1V92MzdVLpugVEI3bYoKlB4G69L6JKqNMFZBJ7dxPZbDCNtw2pEu1z2PlM31KbJDGM5mUrE/TQSltEdtqCB7dZhjPEzKplKMHovZ4PaogXNiCCxSOKW62VCLN1Pu1udvtOg80w8RT4HZjMXc/Bl+bGyaeV+yYyT2yo7yiMsVfHXZljdHU3Gvvo4E7zLTQwDThKRXhzE7/1MeZTRtL/4sW4jPyABJAF5bMxAePXL3MjFYih/PQY+ejp8OibeDLBqMzl+X7J3QE1uuDehGQz/l8EFhABskoDPJ37BXqtH7X5kVrxSwx93HBKlPI6GuhQEgTnzRF4vnHQ8uT7zugs3klVHbfPYokdoHyOKQ129eQFNi1jR9IzxL6Pu7VwRTNamhqVql5cXQ/D81WUUGy5tOhutzXvkTrkUG38lelKOMlHAOmlhMZ01zoPpJZ6QOxi+Cfsh5cOlMyD4izxdoEHGiobaDcaA39QA9GM0FV3ZcTpG8AOamaH+AGczu+iW5q7txh7tdU7/LSfaANHfXWdtv7w3n0ZPzZSe55ZKZm7HJiJozmwRn+e75qvlIJ5V9htyR7WhLD9StY5aKd5J4kWqTKOfWVnWtrM0pyKWfMZ6BWXUQBgnLYXiw/Wmv54N1TthNufviS73MllEWJJzGsCpBvd8hPQ4kOHVrxhLn+YYdjDd9T3DvWdv/SgVtMOtzaISEqyFLqYXJ00lfx7yH40z6T9UxiHXS+dUcG0BVwcLbgrQSmYXrn3bTTqhFGwg4QNLMek7QZskkwclLswFxI2TdpBErAStlPfKFLaoSyoxFPWuRKgKPteqJ8DGpZTS4LQ2VoaptsKUPY8zuEkP8tMlN9IrsMb1tOvtEj055EZJoJmPrlaFk+7bSNrUVUhXBtkjn3T0yl8+FCWieMOfkJskP0OMpLDVgb0HOAEfDDK1alD8RvUBmZ0S/gju32LIzfyaZiuNlJJ+Fr/6tUo0OoQQXCYuL2K2SLIvVdNymn+pbSKJ7udMPYDHc9HpFTAY2PEOPAIrzvtuPlXjIyPfDHBDqSTRC1nirDyIHc9uGj3c/h21KLU7v6vILWRQDGXSH688CxfP1KRn6VYXrocDZ/jmDLWU0F0iDh4h54oBTug5NosSDOulktD1bOZWtZpeCqnHtDb4Zf/n5cKZSYsk63a1kwzyBYia3g8DzBXM5QdBX6hNYebBCNT8B7EyCaWCClNqZaT5rVy9UJh4cmL9QsV2SpNVovqBwyVoxbIjnaMD3dal0/uEax8PNEcLJPS0NJNMP2IgdmQUzaaBXKiiUzYUjQIEmYun2LI3HcM+p4J7J9XwZyqzUjpp7D9e2BDZ0339gsYInbuYLgGqPvJswkZbSlyS7zDQHnDlw6I3Wx+Ms7YyTA3LfHr01upAHyX+/YNbvQzr8BD7AEfnyz//RsggjIn+lIfxbZYi0brsfnwZWmflqJ2bkXnACaELrijmS5qXBL0FGouzd1of+XBmyulkwIG8prBGUZHCa+V7THfMjUURNC7aYIqSO/VmlEOjqkoBumRlK1ok/1jDjgjq0KXEut8Ht7iLbTwjbUYzAutnmFJE2kdIy9Q4C28TFHzEDqgrQHvMs1UNIXyEvp71uxcbcjtFpfNDdtaXkFO+FuMlAb4SbIUk0WmR6JtUYnrcTW/kJ97VDd4lKCGY58ieTDDvZ8i5qfClCx2KPWMC9u/e/rJq2S54mQQErneTk9cgIMEj9ex3Dw1p6doMDR2S68CUC+DI2l1xqejQFWt+rBG0ZwFWqx642o2+XLFLOyG7Ml7c6U+iPGvhY9Xg5Fo+O840R3c27nYRvMND0+dYhu2pRRQVC3Q29TveNZDAH50KssfkQV4NVIKJLslKxLocqIGn3sWfaRAj32jqclcT126/K0UCW2d/bAQhw8MNpvhWZcO6Qp9HuHADRs4UWLCMzJDZx5uH2VKepcnUoLjKnn4rQ4E8cKPjOZ7RXShq0ftaw5cepz0DCyEATnpo5q+oQxKMsplIiYYVIiid4RFDRAaw95x3ArNa88nKI3eotZ6guPr4tBpuH67uDZIIoX5YFPXJFhM2q8cU28EisbJ6KxfHJAb3BJVtsOV8P5bLQ+cHcxVWujvEo2kRMKGXAO0AhfA3y6hLKule07Zz/o7u7NPZyERr1wU5x9X1l/8TgMrEj0u/IRUAX587C747ZwyvUNY1bjUPvZOFqxsyTuDHb3iPbamuenncXpfD3RktZMxqzMFnY0WWy1A/nBZ1M6OARbmZjhkx5LnAg6KBsjwXHeZQziOEdwwWaKNMcnA6yhAxzbs9B5yT8hQh0ndmbQc/S3wQMVzUil2cH6zAsRZW2mVUEFoHVkN/gKXL3YNCyNV9s1Gz19Q9qwzlyUyJKGBbwTCvhSY2dA6dXtdtx9kVtzQSHIljK+wvDVg5GHuOCBd3zxnv5SpUcA3hzHp9yXocyAjXwSjva/gkcTgddkiaBTR+Mtx47LN4mENp5rNxHTqqnUzx+i7uK9Xb+CM9vfk/vuPY8P6yNszd5w8wWF1hoN+Rd4Ddq5Eckek9qE6UXStmYKDYchG40CK4wpLtlfB8GoukIM66E1OCgZlNE19GzxvfiHxaApGkDID34Xq/om63QtUvEmBLQUNpPa5goluDGmrJMh/bih94AFhZBZfIpy3kWkBuLs61uoLfZoCXLcI1W3gAeK684Irb43bfcFi9KbABb+BmpSTf5uYYqgVRb2hh00jn2K83m/elxxt2U3qX4zmg2JrrMyiuD5ySfxHqEv2FV5+jzeElJXYLkooN8UyJ8/X8vvpmLXwk0wXCWHOKqUytptnFKTpVGOpF+IckNOANfqKtFEMsx8trIzfP59O6+wcnrJaXr6z12Lt+TbsOvGnmqoZ3ctQ1GZG3TtMOhTuQKnOn+1KU/UBrcDTyUd9p9HCkZb2px3BT/rubqvgVUQNNbwmfxZLFNCOm+IoPOLM5vi6ArEIWVfxIi9GvJr+9ShcqqkEHIxRYWYyZ7FBNddVsrF+xDmVnXMHmupzlDpf0joAJZUp9j7z5FYzArZOrneXdVu6jLBqohkbj3iaBkghhGDNj7KXXJLez+nxSBX9GSWY74w7NFyD9fM6a/ExKm7BAMs1J0sTVpgjyjSLj5fubS9IcfX9sduIUb8rp7/mulYTZ3MkHaJ1W7ZOkw94TzxlimZWxtlxI24zQHYE48e3sRVg8EtncZQ/TifaQVpfWdg7QW2FGax7IkhKVcdA7l1UjuJr3SJs3bQMsvcf/h79rzUffTW8q0hKmzvQFy8l6qzz8X0DNKmZasWVRZtC5VLkV9WMKXwBKLAF8D59qlVn0bvUmHjFQ/peRbbo84wTeyiwZWOIT5wAC9sJZOWYKrN8pGKwiKC1Zk70jo8yiIPiVUwcxfUCAiYs7ujEj+DGXu1ZZUUMria5PEcKWR/mFDFqMRWgQS3SKM/WRWRgVMQBY832aq0zFagcgOpFJDTz7xQJbGXgQVi02cHaIkMoR5pzutHj1J56D8WSsdBVUBf4ppFVdM3GJgdpsxxDQkCpCoZCi3GUPNrq71kfoTFyxJXn2JeO+3WjmiApRUBdQiG8AbYcAEMix6rFoJze/PmFmrW7bCgD0t8C3sERPjx4RPKqtIEwfwES64FRGVO/WdIiOOOc+VKDJm6LQ6XBRXaJiweNummcnH2T2iJpu7WMKxWszTjM4lyP1d5c1/olMN12I9am7BZKv4CfgXC07FNJG4zOI9/sNcKSDRz/9cmdwHZvLmEl/QkovqZ2rUqrT4UWnGBAwCM8mo8yZCj8agj3WNIAKR/au0lBoaCdYdyd96ol7t4/01d6yApFf07QctVjhH7HKGoBhuAYERkkYgGGqXxBpPICAB9Du/wLrtSjZpE2n90lIAgTN2B3JbmCbA7qEFvLvjRqM1nWY2vJcTmjChJcJljtAjpZjWQwXclAWSHAwF+iORumt/dyEzrKgsp5AIdTMq6BtJdzoFbuWLWbCh427LImt7/reh52c6suGd2JpEz/kbRKyx9a0PnS5uPQ2864bQ5LgRFSf8eZGyjo6mdklxwFL/QYNTZRP4fSyF55I7mQXzG+gL+J4+cDa+o3nNZNXO3E5JVJqOSZ04ecS7sLjid1T6jEd0h/l0rMh+Gb3eJFqkrI7j3K8Pg2F3G36rvgf6NiMLmsCjY1rtTi/AXMNWurTDQ2MhGTOSHGOb3Myp6/gD16ZkRXKk0omkZGI8Lp77I3DJ4smeWlTlzhgn4uPPb3tBwuQITpsfsNwbEafpQ9lnUXV+HDRCPEEqT0NY9F6dttyaGyaAhCXxTk6paXs1Jf9lGvPTuarkuKsfvYHkB6L6lIONZndsZ2eY61OHkQycyhvCtYoMWeZS6Ozs+soEBnmaT+pxGLsIO391fOoJ5Z7wvX9tRIn3cgyEBduxZxBtaevI5X0hLgpt+XM0ApaRLUcdbM6Y7mypKMzbo/rA+jF8HXcwmyUfDPLE9UCTUhciYHdtXVIp0sPIVzxgXUiDVrOvaYmFFHsZljMOp1iKTv9mcUeTORQ5pRTy4FJsI0f8wRvmPvPOniGAIq7ATWfwqF4pg7kEqW2wC3qUi15n3rIf/rTB4JEXUH8vR8Usrmp6n0CfJvgGotP5eZmDpUCxBa0mdweoDUNd1oqNL2Ows9wnJjvEPuL2/0yQk8OVH8uXv5oapw7VN4hbeKStrASuq+qvZXaZMkqVOMaBBFIDVjdUt5+e7j+PAikr0a7i2KYHaBLOyD0uX7tEdvrHvtwiEEI99sceaaQqfTSguffUYoNZnCVMnl5SV0kIWoZzZ+GNnNEGGIfKR3XZX1bEIyjYrv2WWqWdhjtiHqLnCQD2UJ+4uzErKcNFDmkHqx9v86+eN0U9M7EdIxqukqAAonvWt1/rvQSCYLFzoWjkoP44BS12Hjg0AwPIdCN4FKQsTewrmzEXce+B5fFAMdLRzZObPDsgeB82yKMFMcMEoYbC4aROP7Eup6q9UEuSd/7/BSivzAITYUP/AZccA9GyWQP6voqAwJ7jROuBZrB5twktuTJu92UWnYZLoF8quy0p8B/mKl6TcInZPgcnhYvWNoioPNJEAw7mw8xCKRe6jjUpiAh1wUspLQCFpTGvGTyXFtlQ29Avq96GMnGfoNxdEar+Cu0eb/DuQ9W8Mn5fv+sy4HFSkeW1YDVlWM8iMPfCF4ETtOgjt9RX9hVcjJibqU/uk5toPDoxDERp/5J+KbtTV94AAxJ1GsULISqPDONC2t/+DaobsLXRH4JtdC1MSBUTC4FzWZ+BdOhefDemO6lgTbmCWTb/A0mNFpA4kU1ibuv/pSssILP0dV8dSGdZz7kHfTHMN4sPXE/nuakxg+D8onjv695W7Hy3dgIl2KQnuw+We7jsTpg7Ru5dGxu7+Vl1lbRvaTXnxbfRjxOCSNVrKYWZ+0RLy4vGFQDlqnpMm/Mpqlv5eBVnXDutszJ3C7Cofs3/oWjzw1R0kFCPeNrGNIMMqoAxzmij8HxiAu8PMExbG81QpbFTodpjQO8deNcsxNwfbPt1CmMrUJEWX/o/T+RlXFX1kiM3tpEFq3PFeVMJ+RUiqf0Qe9g5MkD3SOBUVULHNeApxpR+1ik4Q7ZCEnoi+vTHL16/kEFzVUE/yaxdyBqUItz+dpt/1d1Trf1JPXpTItFF4Dy69HTxyd2RJGDeTtfG1AyIes8Pz2ychjdN2ytvnMVRxUBrNZZ3YgyX3p2kFnQHFvSRJR2e6TnGFE3389TfHBXbkFyR8gOXSg+ttOB6zK9Oqt3aPSbJ/g3F6u6KIr4x0BqXilIzeiZj8DSd3VJE0V17pbeGKcHkpIgYjzJZeL9xuSYgZ0dyvys5X+tf88Py8J1bJUBRLDCOf5H0LHUiSxY5I20W5FrwlezZAEtUaJk4QhIingCNxVwY1mZxst2uhqaGSVu8rvUVT1urzqok/ba5Lc0/jjXx6xjl3ApKm5tQ3zL+Q5cNSQd/2jU16ebWBQfQyzkr9VdQYb96wuRyazTVAlsMfpOq0WRuFJS8sl2ytSMdQicttC31vt6IrCVOxjiLMpQl2el1/C0zTjGukM8uCjFUorY1obSB0N3l61h6t6o8iopxyQU1GyCxGjqZWIileQCprlKTfdGrb1CEbg/daRPMlfXWYkT9OxG9XWCXx3v0qc5Sr+MM6T9fIkKFptajQt+k/nXOsOw9t/ukFdk1IooiZ0ILmJEP/gu9L0qxeCHCD6nuX6OV+pvtMZzifSxpfKcrMJsR7NdP/AuCxbkwV/TdjwRKJ3b6Nc09ApHr4S4d7BZ4Ck/Vf1+MjHHC7uP41cqxI81TLJMqLmnSNJvrvsPn54gPkX8blTzzZEEbS85p9EY0DQjYppiXxp+wFK9naQgX0kRKscQOUsYKsLV9DwF0gJoPN7dQV/KoYLGuVjWYPEX0MNg2ZUmpYjrkTFc3NjhnVwr2rTup+1kadiPpNL9a7B/qoAe13xMzLBsCjIpekcWr78dWXjs3S9M82qr1tXGNE9m4q681zjKYnrY4T/rml9uBJXaD0Q9p5eeN89Azt+KCJaZ4XmSLmB6nVlbuxgKHxDoQpequJLuNBRiySyHBf6WLKHS7b1gD72KYff5gGippLAkRuOj0Cf3mM9yIZnaRaOdj4GiXoHXEjbnhUSF6Zgu9iqnW3rWx5aETW42q7+LiP6GZGQJ09gdxHHQ4LOQm74S7CbpuwCh1E3Lny1k3XHVozDN/F9gB3WPgFJLxtsG3ym31wfe07+o3yQ20NM3YFozsYIidNrEnYS58eRR1AySID7K6gdxqVHETndU37QMCgcIYy8XP3tl46OZ0MuFeFWeeCgXzPA5ug6d6gKH18Az/RQ3X933KBzb3LD5hwr7HPJr8bePY7uwj6pwMehXnipKAVw2OAwZtCaWjQtcaUN7jWPkws/78s8QWFFPILf4vAuCu4QyhNvimgbOTgh+NiCLe16y6iM5KrCsP/tGySM6toDSJMq5dIIrpRwfyANYodXsihW7bQ3DUxtcoNZG6MR/BodNNY1d5aAImhSnQpichrlbMzqs74j8k1xY3harlWGjDnO9rVbwuZTyZCTR/a1p90XrM99GiZ7DYuBStF+EZa13jID1r81HUDYxS2Sg8Ng1qKKTStLilc1v3+NjVDjB38o6+rNNIEGAc7oTyLRt7cFaqA1q3sL1r/cxMTN76/NpOCKRxVc+juDrbye+9qTtiiPc4/T4u0kRZzH/vo0AlX0//mY7ZMUt5Z4qAD8gXsnjyB1eJjYI8+FCuat/ZDM4V52PH6wQJhwqt/6yeZUwJJ6kTxBL9Wgg5++hTehgbGdJ2xervmI5aEth6XMXRRtc4wdtMcQlgFqa+r+yuLMJjlI/+b0LS6XJOw/9+FRN9oy5G/6ZvaNhDVBjckiUCoclPTTIQVkCtLuYurI7Pl8+344W0gc8lZXu9j0He5POnA8rY0p3IuxQ2fbzr/3lJhfwOLAzCRhdO/1Dc8cfNOEq/1yAWtusHEEFvCFbYMjkAY9Z/BXitublZfbi1nVHBmz8lMKfmnPsPZHwgk/DKNwrOaE3sEMiPnOjcFv6nPWaK3NCqNF+qfYYLbTwngbCiOkNvIMRsKfONTe59cYWY9P1uUXueSVGMiOz1ioR2CMBsKdz58fdN/kte/U52Ttm9hIvqGdicU6lLDaACQ0YDEX/Kb//srjZu89xPVzYs8c3DW/Skz+yRtAZsjkGnPvBmvVy9K9mYkOPfLsQcc2VHokb9dW6yz6n5Mhi5jMbt7a90hRTRNME0CQgh22vFRZB1HvuTVQ4foOR3LwrldFPrT1i5y3R64q16+f93PsxtUDJcOCjQiFoBIK1h8ioBCm0nLjf0ZrTYApm7x4gLOIbO5jraZM9HME+8HsxPa7JdtRmBBBKnu6oxvycz35BOPndvvRjTPEtEH+IvBbzpODhfFxYOvPB91MLp7NAttrIx3utfb8rcXSWo1Tvxeyr2u8uqvXvznrC1FZWppsPS1F2Sh7FrbXy5mGALY1HZYySg2Ylpq74Z3Ux+ZbYJkTtO7GoUZJTwOPjIspef6xUwQPxRqEFLqNEwhYJyDcMGyvj/CCCptfjBytH7f6PPnmjGDjMIJV53WcRF3rgfZkXPVS5F5JYrH/o135TPBv0nLCC3uzrG3qL730XzwvPv2lTTvvqJ3qLyVdEroeh6ZcmPoT6FKeeMYMwZVceLf5hPUzF3m7SJY/DP6qQVicE1PT6ePLG0ikWXXpB90uOV7YO4LaTIF+zKBIYnPCSCjt/FY1wb325PSpFERJZDYppjCN4PjOy8gB1eVWE/+SVkSg57XCHfZEn4OTGcNrjLi42QRugK6baUY91LJBQcDcbQPL/iVjW8ANd7bXDaLesicoPa4lRQgrLmEOlSWtcJPUXNpTxwqSURsxsKOmEwt0HoyU9qDFuR+0+gp7sbBMOUte4Lc6zDXrhUvXoQuuuCAWOZJHjpvMOXhKK2lm3XiH/TImDpekg4C+RfrH65Kvi6YBZFMu5gPaBj1kGsFDGjwFNriSY+IlLu9bFTl8/eSOzEj12HTscesJSZA1UpUoJJmcXY3J1Fz9WQbJglqtZUcRdStfk6ww62iv5kPOHeN+SX0j0NG0ALoiJGRmfHRsCRI0g04ojcDzIt/dUc1blPZ5UR/zczcKzs3baCceaLbh7z9sFv7Bod4xKd5AaJUoUuRomd7GRWC5nlXRaoBa+GqjrCjKKFQRSGXf1gLerl1vksX8kdf9uGj75y2rMOPZ1ILejbYVFGBTxopJfSzJGNtI3nBNGO3ES/LzjxGHESREFX+/QTnxHcJbtlCdkgumV1PcW8qkyjImqhSmwkn5uC3pUT4I4KbyRHNNVAwDVrCmaLYpOqy4+0bVmWuxsHjoEbVN5JgSr4fr2Zx2pHR2pJbOzMkcvZYYp4Dxsr7+EbmuZNsiD7RU7x2GYLuE0sQe6mSM5M+zeqUSi75AYo3al4mbgLWaJi3EDRWr4xHU8jhwzWT+Q4D3FoCCpN5OU6L+gTer8LfCjQLgZqP81Cd2qPz/lH1yCr3ATHfJ6BLO2Mm4QdPhhfY6jDOAsAIiK63yXWTdpEUr9UutzguPcRvca3K3ns93W1Og8ITL+J3BdjIaGwxbxYZcf82Aw/awY9Zzst3EomOZlSdm72T3o3drk9qcpOp7wCE3f+MEP/kLkHtGUR9NHppM2wpBBtycqWfb7pvSnxD8xk4SjiwVUm6xMOYk9OHM33LRffnoZ4H2VETMXst5/FDStBKI0yYyNscYqnKstUNzL2SzFWshVD7kxvxcbbKZShG07e3RoChTnislpjMCzih7PwZwstKm4pTq4glkrVRz4geFFiUqJrojlxts/n283sQkeENlrrB8rqRHpyWsUHwU/fzvmXjwWzgawVrZrwc5jXe4wdAUz6vQg9taYxyw5ozjfissDcwH0kkqGPVFYUHu9BICCBIrJWJ37JdcOskcMb1A9ve7n7gJOsdYKVOH6vvhNTNu1qD6VsZJmavh51sSiklIcGby25H7XTg1yODLQLJFtDUOHUZS+3AodVTJmwrBKifr5NeKMJ2B8gSKPC1WE4+O+2ZIKX6PUa5npsJT/MVjDtn7zVo20nGJ7tjUbgyc6DAE1f/GG6nrwrtLAMCwS0Wk9jKjAympp3YKUU+6u4bgPsSOFOrLZYb1JrHHDphLBdhQOEmKb9GcYrrXUFYTVU2n+sfQdJYWy3y/OQesDoxchSuXKnsWmbEgiNbcTJ/ovzisPORR9aeJNIP+euyYgjbekD/L793dB2hW1LrGFykA2cOkUgakFNJ1UgQ3lGgbRoSEwbRFyNeqQTkPrJoCaKk83XM/0z8jqiONX82lOtBPrFw15KGyaigbASkMdSrO28pSb0j9hS5DNPoVY5qF9Y3Ex/mjQ71Ypw6v2ZZvjDgWLKpS9ZswkRiEj7Qr40u969thbQa/dTouZpse7Wotwd48kWbQnnZamfbffI1LVv/YrYWe9CPDSheUXs5gUl4gOL0/tftmUnLyxJZpB2C6bSUtU4aPM7W+GQ9MsUQIclF5ZgYfJLj71TJvwYBCncUMrgAGk80GFT18YcIrUqBdabpytunUWV8ioORfTW1mMXgxjOlqXxi1ALhCYmPS4ffwML1GBKInBrZUn4Ec+57UvzbKdNjf5u9jBT/g8D8IVbJt0xBUq++XD5uT0rQK0967Hva51Z8PLUZFqsDqZ7UuyNyeziYv6xbEKWt7bisem6eW9XN+dCGbCGtRGzAOuVBcEbV1a/gEFTy5+TP4z9bE5QfTpXbilIAPthDEgcVxIfJLwsbeQi0rNz8dTeRhm3HZFrxKL5KLDY3WnaIBpCIc/bbt8KsDKEQtsEH7FiFmtXtFMz04/xIsWw/+DpcTrQrEZVL6qIl2Ak578ur0Otz7ulQhGj9dS2K29aUaTHSxQ5uzIPfdBLsKQ0e+nZQ8V5UsMGqwBm/orN+s9lCiomnKtJ6spe3vw4aeoL0OZdEp/swCxO/CFmO5nxr3bfPtEn+4WPtN8X6YXGs7aZ+zokimvSV4hvEp3byiE7JggKvjAMFW4mgJZtCIL38qGs8BGXtKqoIB2qJZ6C+GyMlC0rXA0c6sXGTrQtov7Qfjs0iTi407lcpqzEAiSw03FyCAD+5g0PhjZ7caUT2wI+xKMqMFBYUzQusoj5rYzVj4biZXRGoShHQQQchqFO6IyMlq3NE82HkJ5QhRM1NxLu6IIxmwyJRMEyD2g4hsu2me+AewuLBt3kn9oJgtuVzcydLcSb1IQwc+hl69w++NkkkZ7noBzSZy7ZRLoKi7mZ1W4xJRoXQzbexoToKgPimPbk1h3IDpatlxFDN2yO6vIFH59rXfTsXvZ9o+rO4J3aLCpxMgy0WbB1u4zemZqjFl2fqYYr5VrinHI8jJOhGT5pBgTiLOjBP2W4Sy6pgwR58dbSk9TgAB2Khm1yhT6X34pe2d5qa0RJtb5iUjS1yGOI7eoYQGk7La52g1BtldLKMrOVgqD1IC5xsDQixudf+vezZrXs8yYVvGlsU7lA21xm6Oqt+OnJnu+Ht43S8dQwwbTyjEoc7nP8i9E8y4rmhhX20c3wwG2UaE1Iio7uU+dFV3+7a+5G0Bl9rIQS1rTWGCzk/uKSjY6WQ9L7opwgDvsv9K4/TZ7XalRBSMJ0i1aCo9qA/wzdnllTxIlIvb8U3Hpd6lppN+7SE0ZuC+6/VooAxOCcWp49bFMtHyG9Kh+TqE2PUNmv4Jddf+GQNTPMD1dUXgykrPLS0GFaqO8Y2pTv2UWkUGBAKGE+IiqSRQHZ+1Z3E+kLzGHT5JWr6AL1PbNcs4ZAiIdaVGeo2XVOfYnNOVrtHZISOqPwT2T5Pi1DT5KuuVsanQMKajMLeeQeCA0fKYSJ6vsKi3yq0MfawX/sIxE0ik+RG6NnYIwIsE9wwqA6tQ0fVSIqf/iE2JUggje40XVJ4GhjG7LLNM/+8pBc89tEuGt1aRXRHNT7AJLidyhY/f8lzo8vhAFIf/0IxY52PKxLyein4DuslP9crCq7c1GaG9PYFrY7sAhCMoYZ6KByGSmfSXWSSHOAKbs0FY2orIqY1AER8NxHsksByQG8FsOkhhRnoODes90UgWWxJLwzTqMnIrgfL4SbVZ2hna5oPC4AbyCPJ/7slYCXzcSpiOtPYlP/aMiyEOlXt0JMI4BrK3sAPc1DHFVR4JxvtrvSiqk2XgeZxc1CrHXncTrJKO1ZBYYBJwuOn9SoSWyCzegraS5fs7YwGtHqfDumc+CRyxEpr5IaBj45OpwNL6/y2c6jvwpNqFQ2QRx20xQ6hX6rPnu8lHE2/vZYsmMlWEymVhF7z+iabWO0843b2On4tGQmVPSw6K2xpiLP8XGVmZo9He1/DaSiqQ7CK57nIyX+d4Oh9CzUpsNJx3oyqL0UmuRBaarJe0cavrDEStXm7mG48BiI7w7ed5IetRZCtdyWh/nBK2bxN9vZNgvuLLyHDf7tFYF1wHUO9t/0uNpNPkdHuSV5BBTq+tdfuAJjy9DiNNUuJcLenKV9CQIJlKsqllS4MBTPIPUj/fz0K8AnvW0b3Yqf0bdMClZwUXmLyi6+divRJj9U+6sixwWqWpDVl/85pgqpFuU9dPmV2f1y429FctHn/S7J0tILVpG9yDv/iaxRGkPXisdV9WzKsKE7aZNcKp8U6XtW5qnLwDurdzAmQVJFwaa4P3AYzq+CJV3YV0HY4Ebu6vrXK2QocEFRh9iYgzwI0AlLAiMDYw9s7nnHdXV5y05ZYHVTwDjT5/bwHzl3zCOnRJm0A4Pqo1SpYAiX5LltIRrDR5NwJa3EwC4U1CtddXrFzRlKbAtEo471Gz6sTEP1Mz6YggiaUgIN6OO4hf9Kx41rgWOyrP/2P9vQ2w1x9C7x5CIrasVMvccyLMlgVH3+VWBbjP8An+Zo3Wv3BXaYgAD/l0NqVfUJ+MEQHkdQwtUUDvHkDq5lsZzSM72iS/7/MLG3c0SklBsj/oAdWAHh/2witUT+hQ5TSQo5D5YZqZwQIBge4cPOYXnuMS1JlHxfSqdhU7H+kUbaO6sZ3ru3FIl2QtyaDC2bgfZT6SxMx+PaMVVJY+4zeGFq3J6Jzzc3qIkqX705lClLp4JFmb59wivNd8vVD+LDU1AGnHTXIYNAkdbpMAmBbhba33lW3viWVqdJdl/oLnx6R8HnxmrohQxMYAkTofS68KbjjiTdVF4xubrvU7+2d6i2B/ODmKWZHQsHG0dPAy6G/xO3wc6ruIsQw8VwvCz3yps9vrLsr+mQS39QoJRrE/e2wshhyZMSTKV0Z5+DPXBao1zKXNUuVSK85cRQzjBgNAOTkQeXDwVi68+SNLEi28nvThTvmBcEO0dbjioHVTF3vhpHm4I9KvYqAeiLnhgfNhexdZJ2JAQTmc6cD21/74w7MdFlp843AY6nX9Hu+Kdqy0gZ9XVe4tvvMpd1Qb8/tZ+fWwShZf5RLRyJ8f29KYYBuO+RQyRU2MJGnLniJHKoWJIyNZaQE1VxPnlvZR20zHWYd4kH5IOjf4z7t0rRfC3r8hFijZxX0WcoIpcnc9ETKH9KOJYGMAhul+LOANbDy3Kb/YqNWRoydRWvjLybw2NWFA9lo+m7fmDiu+mgUGKr4YIebaPRXxP0vMES1QepwS2Yd1eM47U7uAxGVLzVHPq0hwmunMxAKejVzNfT1gmVaVqh5MDtxGJPAhM2CDVL+wvoE73Nvu6KwmwMswpEKQ0rdove14iYZEtpikPWEMtd7kEMgykPQejkL7DX142PzQ02jKPIkFV44P0PctZ3AAXm+xxGtWuGNI2kFxRYnkUeP+DN6HJb4VCjVD3bR3ef5Y8hMGKBpJnFL0ucOBl+PzHDTpBRuG9NWWDLuZxujq6EYy35wEAT8Qt95qB+osqMRTkuR0GFXueT6VKTOvjN/cwjRA5Sny94dGDmAykUbfxjdPKr4doU9z8iRZfaSTANQceV51vA/Ot9BqO7GYaEv5L3CXpIWg1yrVXJ+o7JRO60vqrCzZaRqRbZXOyvC1V8mOBsx0oun+8rYLlXhcM+SZl8LVQOjt/qyhhBBTWUTYVn3rvlkE1mOf9tw4MMqgfgGEQtK3ngnm8I50KKdPk+h0ak0AZ7G4Dt/TB3u8plCfhr0Y5tVogts1dmJtUspbgJoiIPCeBFLyp1GshOW/q8pGQUgx+hAiQjUhFLRzPrRFY2iTiQo9SSbQIhbWcKSrWAeILmFmLhIgl7dEnyDPc5ST6HCA5Gbq8psHFRmuaxXRP/h/RkU9Xge9h6/S1xEe2XnqoXriHdOIJvc3AEa+Gx4G+8//UbOGw+Lgj3yZy8H34Qz8vI83ZMtOAftNskCX9F26Xw3nYZgXhnw6IK2iZkHdNoAzDCNr+Y7TzzYPBrimuIWSe60sfLRJBDGUEDZjRw2rVfF9PIl8gSY0bgEMxVmD1eZ8sCvw0SWwlvlq4fXUfRXTBvw5UHJ+MPcio8bsM7obSWxOtx4Yg58rxhNaa6RU8lyKq4vvKuM8nHwsG8KrlhuvaePnnQCWzxgRYqgs13WxSCOYy8usQAfWrdVSs1bfnmRof2xwZtk7G/UJTt0dAzxrg+yDQRAF75QuFX0h5+SfeG2RB8uoEiUBqOXlq9tAzx4wvqbKudxHpDAwdURlX+SuI9EWTgmM6VVi9tP1idgvx2ONKSu1WXP5gkaBqEwh3WnpOGElGsM9RGoESqa6uRKI1hz4jVpCPol5TCNl8GS+c9Q3txwMmTMdJTlG4Gp5hr89nXXwPgYJPqwGvdtec9UMjQw5hdeIZ5uIchk0R4cnL0e/rZ6LppbCEG8EIeJjMbQ/7X8GAxK6oETNJfzq+1DsQ5fqkH3VojreLYMOVKqpIPboutJmZNzLZkxa3Ic1JaxUUxisiiMLtlMv7eS5RTuyf7AgAwHphnZrUE795cbEBm1krMkCUJfHXmmJjJpOGBgbd/Pd5K/1Y09jvpMjcMR/OATwrzidt6Ei+bK+cGHu5Gg7CabxzaqXSYgAmt0t0rkit0QDkNtuW3NZa/Htfd8Lk2z9VFny5JJHlRivYfD3GZH1IS0FuRX+U+k8CbUBXBwdqYzO7ALNxzFPIjnE/qxNtgYA8PxOnRHhzI/5IQjlTidgeXgPWklvKw+xQhMgxPzy3K0Lk2dIIj/HFHo6WYnSUBAHNGZ4HKGZCkQVL7Hlr6TCd5HfT+muuYkOyBntTIs+6VTncYyThPIC6WOgIPC2Kb1ULl+527VwhmgIY//sklkxpDpG49FcUmE5K/N0boXyz8hkk/XbuO+i1JEftzuDCwKLJFklf6YUty4/uBfDEoYmCipSpEoCaJlHyL5VQHNqm42DNJR/HrEvsNQQ+YkbbFmEdROdzLmgtJdWi+4RDCvEfEGwKCb8f9Wouh1XFRPovnC15+xy71IHdyFNAGtVZZtRdmomtbx4OWvzhHyxOMs4cXlJH5ldNvG/6edcMjCOFDhvUhnf/WX18vQ/UhSC+vsuM6ht2Sgocn94tj5zpUBA8nu8xCDRk9DEcqt2BI9QBuLug4h9756Qf0RnOLArMcrRhdbpuBMxH/C4iJ5PMPHq8jLBAotUKt0p+QpkBxC2oez+7ihVEmGTUvuFIOEsN+PneZ8uION2CoDEuOhfmP69axdO4icunBxLlsn+mO6HR3s4ZMtLfOEvJFgNrwoodQw5c9u7UyjtaHKcuE4g+nv7W6TdbOesaWJJAhq5hrMLdT/HkEZIJak/QecbnsqIJOBhrrVfqNdOXdisX+zwR4aoWbL9UZNJT2TZrRhpSiyf3XBqokPrbIeD7IRysTXcl4sFfjrCgLBnmMHyRNVx71qofmrBdQiYOiT6Xqm9gkiAi94zPazhnip6DmJvnGbtuIN/NmSXfZA1JA30ZR6B9csh2GM2VZhGZk1nDDO+Df1rXr8pgXi+dgE3CAvea9KsTsUnMJrwN+g9Xw9/AuA2D3E3VjC3kbYoQ9HPerm+uVBal1wuPW/kPocCUPikAs4gRzedmGYxFUe9rjL6+q5hutiJf8B8c3PsO01W6csIGdzlO7EJrd8R519X9vE5BemT6JId2DtBVOgNgdz3aPX14gT0MQtF+VPNWEp73tvB9A3n0xhVnWZydm/JHxJyuCCrVBNQsT2gKCLL2GGNDJ4vVl/TPddHW5grYx2Ejp9fQwQzmXVyj0YKdTvL5bXYM9NLXjfLnICKl3MS4Q4s3VzRT+suCAjYrTosD3Sp1j8yP0k0IaUfhhJ4p07evsSk0dzth4Y/JeAXNT5QL7fL5zQcinKOZmcrzjZdSN7C3tDR3WyYItG9ihj95MjdS1poMa3UdFYGB3JQ7wdo7snwcREtnV/WIONctjgTk9lnR6GJzOI9sGAISCcvbP7kzy24jan0bwWka+7EsNO41FtCFnhwx1O47OpbWQEx8fh858QhdA2W8gKuI5v/2YQD5DiZ2kxX90BFnsC+uEmffgKGcLGqhmTW847aBZpPNf+oGYLbouABS2AXAAbHYnJZWrVyPkIMZBeSVu6OfpC0Ns+LqlrWAa4ATsRlO96QybQcxZXGs4xKirdAitDBrpzuG+NryAwKLLixszg0sVrPnaRV63B3fmmzLG3Y8UpU6S3VjRiUB75lYjw3Sy8H7UQx6nGT3nxh6CVw10et8buEBMrgBTm7YTuZno9TsEcti5URfLO0wqL1pIAuhHxO3DHxOjixr5tUYy5NKarzOnfmgUt2HVUID5H8rv/AR89r7MooCOG6CPmyZt/Cvt8JN9VJbIL5W7kgBTC7wQyL0xoGy21zajj6652kQvwkCrB/3XvXhjBKvDVS+PScfziZKRjAGmTdo/DTewjOGprnPXT79CX3mbMBCln8IoKQ/5LQy4zMK132OfjYdMRTNhxrsqhyiHx7oD389YPSrR53EWFWMH5eQeB8EjJXcB2ECruGRpxBqwUqxuAz4fBpvMj2vp1xv4CQp7LU7Zc3KzIaapwnznVu62Oc+xaDwJuwsF/FMTPqQIxlNarZ9Mpw/c+pXd21YWKG8KqVGqv/VSZkA/Te/LgM/AoLRIgavr+n8ZO4oXr/MXk+7l5Bqjhul5RRErPIVyjp2Z7XjTUomIhGaNgFu23OqQhM7moRtO5cz7NWN+R1BtKhJmOa2HTeUrL+nkfXlrmZp2zxmBojmMZAP4rk0dEXbrbXkaBHVzKXoPzfBNfhDOsg/D9pZStOFOtPv5yWz8Fi/z7ngXxDf2vbeL5LYKTBvrfTcJwLtnYrRMhp+CDN9ZMvoyzTb6O9gDsw2sibJ12Fclm94rNpd/Vs7IELOXllJT38LGXa1mek1wKbioCHWyMWWzCF0xa4Pmw4Eonp2orRGRljFwbbF9tArH8bXr5yMkUFhvncwAZ6GDdHOSMu7PeGDPo/7EQWmSyrTQ5oyt4C3CK7mCOhcxcdWi3EwlwJYPDLyeDvNzCs5pert7i0+UpHRQTt/jZcpmheP1i3bGUW20NzoO37u/vpaiCkB/FKm8NE1bRnL4okpgHYt28KWTWgILTwtESwHTntvA0SjVS8Va0PN6ElyvZcY+l4L62dSmjWCDlnkaWprb89O0IRlCGe8/5BJ7ld+HBOyAS/EyLnGJ02evOPN8zGopDIYXiCuW/hzH3PkFv5SmxUoUK/2js/lLJ4cZtAcryTVHZMglXmwS6HSa0BHOR03Z4JxOQmdKAYVuabQbHif5oJ7a6szUHp4XnIyWvaZEq5lSnmxXPQ2vwcUvZAic+Rs0uNeKa9IP82jZsjY4Fu+P8tO7Mlj57//62TUypDKnap9jFK67WEaQZGdJd9dIt3JoPIDjqTVnBtIPCuwsuh0os+gJexqGz+nfBiwmZvr9sgK98wEnO6As/VKCVLRScK/Wd4QG6jrxMbxnu4WS7smRN4TsHN/7sII6kPRWe/nV8DirceMvTKcOt1SEpx4LomZ6oJvwey6zlvN626gvlMZ0c6cs35JtHRoGtMhZqOKeUKiueP18ZDATPP3YS/FVVppqaON8zO6sIxjbqdhqzuFA6MUNw3+rgcUTVX59jfTqvaRNfG6zHE7qOI+n5xAesmoBazTGeSUTE+wlIefkIufXXpEpPkBK1ewjcCElxw2be8EP2x6xaWQcRS7ww95DUB1KGNRDyIX6+a2mzU1ZLDb9H5qq4fYvqrWdHS19nKSCvVM4CJkcCMhUd0hjhkYZy/8MHgFkgDcaDOyPYMF9udUCt39iQ99vcPLONDxBt0Y4T1pKcEqajC48eq62Y6Svry+SUSzHO8wHae7WN3KM8ygmF9FLW1sOwdAawcOi6rm4WyljqEcmkVIcrbt0c7t30cv6+ldWBcm8J9T5mMxGj8aH5KSp37bvEDUtCr6lEp7JnExVowBzkFIg5XuL89h9mClIbrRpsxeUmKcDmDKPrgv5XSPJkvgimHpPECeTJpILQqCyo6VsUxUwNNpl/pdukfdXPn7REbWESrCHL2UN5ibaNv/b+/VzbGy+DO707301QsJoSEFY28VkvGXLt1MDyS432r4JlFV3kaa3OXOLCC6U48NvnwzQUUVVM69Sy+qIraKK3gZuI2Ccj+AOVq/W9rCbK6Z0iJ7/rDyslBPE/XBwTE9nyn3p8B2NZwnGzqQAKm+LCvwM3KkdKcZD6GIcmHp2aE40+M3/aLKbWqicFWQUpGn4rdfdiOWzA5dpON8BB728Vv/rWT6+Ow494XKLN4IYfdQH89lp4jWsdjzh9KyYYWl3HfvxI1IBIIEIDQBqAyQN9/vd4AMBuz/FeLvbRGK8FwHkPWNCfvVhmflfsNZYtytP4/BSiZl6xA38Rr31YFhuno5bZiGbEJCbWyNYV53Zyljbg5PpBUDrcmFPrOyCQ83sYspNT82FLOrShX1n/U78SeVGB1AVxGSajpdMLAs8rrWfvy+Aj9CR2DQ5rJkD4EaRoJv6COfu3Bab8okhKRmRRaBU+bNHeOVyZGDQ78PeO92bHGBb02Ntug2fEcsCSch4TrjgSrAGijizRn0YsYj+BlXHFsbJJdLhySSDCXENDLG1iTw/gNPtb1rkprkolEdNPczn+qSLEsqM4CERaZzquUtEW1w9UBRTJrflMbSWwGRlot0bQdzqHxRnpOUvvSZ88ddgjhCxHoQpN+eqoARCFfTUlM4fbk4tEvwuqkBVJCbCInDKqxiY8YMwJwhnXqb6CnQ4Gu3wi3TEXxxpf1/mfEpSOBRsIKJ/XwUtuDv93SE5BzDxImaZE0pu7sqdCTSXLiz+FXTAh+RvOCMlPBIt+7yS/7YOtmzf1FVEmforZ3yb9adtyUjvrb8gSKjiWTykZvWFbo3IwRD7fnYe3TUma5JyLTL1eP42Cyxs5An5oYGo/2R6+nSgT2x/D+TQkmn4hu4jxdTUVHdrJTTuOwAgVgzvUeRSgpbLLU7jpr+NEdWWvzQ5Y5rP31zEWmKaBoZCOj09wDNQZcTfJt3GDWhxOH4a3SN1u02zy2p3juZTwYh2ZmCuG8WFYyC1To51aUcBrmqHf1Vl0IDw6Xmgosl4YbAuJ0hw+pFh1G1zPcY9NaTZYkym+FEV6C4dSPbAvpxWjEgW0HtKTr+Ylmy/yFIE5Beg6s/QJy17QDcQR2QNh6UzZnwoJedWOyTGWpbEKHZfyWvPX/b9di3l+tT1IIkwaP8WFzQMYis/TCwyUXUSgF612oujPX1ZvEPltT55ygKWy6SOTkZ3hE4vsuL8Fz6cEJDAWrr7JrAulfA3t0c/OKs92EthFAED55WhGbNow45sh9HKzcL9yaU0cIEZ1c7jY3fRvj/rlwLOfE6CnqkCmrX9iPwX4AbOkr5i6dSWXhaHLHCQZp+p8xD1w3cymKLmSKGC9349zPol5K9xtTk2RX77JInv11dCZpSGKO0NNy+7v0LS+yv3Qi5kvafM3X1a+bIeS4JJH+D/DZwJIRIeaR70JV38hjPLpJqCUvBoxZf8CH5YKgnBCoRcS6k/wDCtsyWsK6af1/aWcMPuTXfxbtEQ8739yBpo3kOnYDZxBzV/fOEiAH+zXS9Kl6G0ZF6FmvAZJ2bVFQXvUN6qo/iDSngHKikC23OiNH2D7kTAy2xAxZE7LQWSX8QQiG3MuMqNthjlTkAal6BslbKUtqVsJpkGoH4l9dT3BTcSYl5hdU4LaXO3j3kZhRGHH5nWojPxIZlJFjn+h0TU+mETQ0kh04rShTyEcNbqH0RSNbkz9zY/Tdo4HbEQwlo8uwpVougkOe216j75jZNBjOzJwVi/4clYnYH4bzEu2a+wwf5Pua+HJC7Vs+F4nCtyf4omICTUTu6xrvdm/BiM5yKQuVwsHT++Gtu1hOqTGu65in7ADh6cO7yQpqn91z4+1DCStUsoo/DkA+KC/z0y1e6HpdK1KmQbpJNUVxqt4gWUr5v1QLi0ryw7s2LP4AM0LvCpd8kuPoGSulQtySP6BdiEmXgg9AdGpJKeeSzIr8V40nnckJf9+iMx+bht/VLiHr0vXq1FdoOmeKTIb4FK/VzwUfcSLal2bEywhLtlSqnd4fHK68qcZHyco3yYMiydMWexCgNTV8q0TPbGepk+UnImxt/KDBM9ObE8xHuNfutCQwlpLTx7sGqZ1qJAWwNgSrvj6M/7fsRIVuHPbx/2GMuXrNGBxNn821ytGilCY37Bz0+Y3AtFZ7jEbI/SGcjxF/Q0AzulEpqNvhjRsSkhJrq8Cb5PXLRyt7H/Vq7ZBiOn2oi4QeX3tyF5qvO8lv+4Q6+l9aR+XFdKg7fFeWIyAOjhq3jVAvtsIc+Q7nFq4mk6QRQnXqlbAufMqcxmkjsCgdZcRZl1jX9FfCi0bTm8tqMGVDKVcXXhvWSztspW/gZ2iXMrvsqnikaWVsg3KzklMboB/b6pYvVrDC9XmO+iNxbCqig/ekb3jDLsGeE8Bt6KmLwPhxG6b2DVNE+ePLgWEwuQx6Kgq+8YokdMDmOSaM7hpiG4ejYGbJI7qc2BGvX+VlhccR8XI+yJJXxNO8uyj4F6rfTSJbb9vsPt+WXfFxKX4oaFPieuY5YcvIRWGBFBuvkIjeZb12mRskxsRsgAFAiLrUzMsLrlQ3AB/oGOgaCGZFMZG2TwVp0MMVtLHPmCgE1BOLTN3iHIxJFUb/r2JPrhikN6PuXxJLML3xwPaJgdm7XJ7CWfPib72NcpGJFsUBZ+esWqQ2Bs/nXlDNgiqrXgSnstRXgBCI+g8awz4ajrainDsDeJ2/XidzOP9Qrkk9PFm2OcWpY4NEnmugcux56H4iP2ZyYiOgn0OGTI5C37sNnH6fh5k/YNCSJr29uubKWMR3qPQphF7S0J/Bkt6w9pqgHvvZYmDBo0o9UHnK2oNPaVjx+/4hfgT4AKdPTScjzXrLY9jsntpa7w3MAD27faMF2HcCUCi37I+OPRCvkT1NUoDnNeVlt91n9ScEjF9k5mwmD/2ccsqRGlCyTEyAgYs6H7+wzIyY4XrYLOdOmWpP6We1vshjQvXv4+uKm5nzs3VT3W8fAYnavHUcSCoZLlJnLleoNHIzGJYI+PL/OfXL4mAH7ywamZz6714P0evB3cidYtNFsoakYLDREeI7Ga2MEaMsG0YjmVB+s7joRz0V2tzApOCSNExlCNpuj9SvxRhMpwhrHPa4LUj1jH3yhjW1rxGEPq8aQVd+JPRY4PlVB7wuMXRyR4MDzkXrmFBYtzZBJDTFAYVpGiEQGwEjdJu9h+H0Se7Rl7KJ2ZPdCe7VjY7KrQfrwXGx7/8Nl7EIMOnTzAUCHqXa8ss2f7K+jY6/5Lb9ox0C0rDc0xoY+WOjekzJjrAWt+Osrs30TDg6EdUybQWxUa2yQncUxk0PcCJUgqqGOl87H40h/odahCbOEgc/ou5VFYm2eQ3uf3XQcNfPJwqkRFMC9kXh0XeLm9IYK1+Pv3IYj18BT1RRHs46mmcjEtULJo2Gatpl0kpAMbVa4Ge+UJPRpDWe1QzQpAJdEpx18uqCUJfmSbtSRPiWr9js/jp1CxLTh1Z1koJVGAa+jJNes5Peerh0Qgn4sKtIlSWaQM4WkSgnfRvUj7OZsjNwV69NPLRsShprkZ6Dx9799ptsFx4zHDw4LR+HBY6dbcX9M+0HaV631o31i5FD06P0VxgKuWlQ2mDQDtiHJ2LEHwiG0QzaKmvk5D5OIav6Osl9z1mAssLkIf+Ovtz+BwZPv+iLQS3z3MxeHRZEPcJni59QHSHaWvD2wVc4E5MG0VC+yeBESXBYUGth3OgavWtrqqQJd9KBeSdXKA0KP/WiL9AOKdaUFNpv7Y/zm41HWQIlNaXusqq0bsuQLdeTP6kTigzV6P4p2sKdK0nSz855s7ndOSkvIMrZ83PKXJhpOIisHm6UOUb7zo3FnW2Mjc4IvO1kpozUySlt2R/5kq0TyEgRfEmyxcSS7aMfz73CAkGTpiSNlXrrW7YAE2pOfzwB2QXQvoiF+luvDUHmPAgwqYUxS1soKB1NZDVo6bzjIQGWBoezNnPb2x7yYmg8P4GLY9GYBY/HXWpnQ2pX1nSyT+PvnL6R5P9QvdKykbs3k5sFkIKOGoL6W9/mqKlUExa36rgUQlTyb6+Rr86CLUBV/z1OcsziP5z7BHsefmZj+a3SyqzbjmzyGgTTBMzbR7HO+kEOmsOw2C8vCcZ3QkCUzPu8vn8mQM8LAioUvESeEqXGaGF9mPizMDcdegoWSMjKc2KqaqCzw0Cx3VhbJT9Xdt3GwraT20295mhl7mIDeztdM0sXHxVGXl+cxkvYOEtYu1C4BuW8jpkd8zXQwzpNE3LhqgnIz7kpN+01qCFt9vfdyPnJMH9qTcR7Uo4WSZsBsvGOEfnhxoJ2IN0mkACQGgQ7+D+MhiqXfRUEj4/QhAK56u48lNG1wvtbPo0uHCpvMczN6ztbbvXwDjDCTTf5bAticl//PEbyDtKZPvG/xj2kNMQ2yjtCyO1Qd49QYVODBLj5dbTTsMYF4RxV0vcbhuRx7dVT+XjVpU034hxatMlpfJ9zkcUSvKdelOS12Wf5Et5vprfd/Oy4m1L7ow7r6W8iiQyT0H4CY7JMN0jf4gqaSfO/tw2tUOo/ZRkYvYk/Bnnv5XdFUwfmMTJ14CriJ8jJrmY3Qic6Za0QIwj1tcex3DvnqJT6/sTYrPjTAoY6edh6yG8zqF58KbVLcvkEf0+0SEBeL+l9aTI4N7tsf72v8njs3/oqvup3Z42NgdK42KMq58FSts0ToPcXizAmTtEZipOEdmNjxsBungaej4PPdnQRa4I1lKg8RHC/ajdYj6vbthRZT4EwlSM0nv/dUhVdNUSWj2MutbUktSYGPi1YcnCtMneB66YZ9fnpCEieY1QZM2jHmtZ1Av/KlBMOObuTDaP1Pv0vPq4sgugY9jd0ilX0u/JKqrHOTJZ/pscTESUpe+oAnVVyIC2fC2H5Hp4HnXWUYmymg9T1XOi9S3mhFBdcaAnuQwCp29AhfydLKZHPB8wZD6Oo88J8PJE5xdIfJkGW00k7A4TQwg8CGxBQCaoou89bXAYGq08P5fumFSIRStbm51bIKAOSLwpMFSo0YGGbVKBvX4UpFa+FRc5WcRjfrvvX2adAbgRvVBKq0pOR6N2ffrvsj9hHvdeg2yqtqYV+O9t6eYJ6BkYNpEDjKlLKOXf3Ugzg2aqP1Kv6jF5nELDunmiOm2J7bo2mqHElCEgGXTiQOFqd0QGy6vfAIkwLUX7hQm2+lXiNG1/LGUm9XVtyNug6k+FaEdxEiwCLxKM04jmq1No3m9ogJCcxuio8PbIn9mLl1zTajX20n/rxDYKNcKH7SBIYK7f5aN1Ie7vlhNNTKCTrursbwIWxbdnKqusi5rIL3Cnvg9DIni3H1Oi+O22gvjfK8N6kIvD0c3geNhItQoceVL1r0JYw9lZSr93MtMsyZxSHUPGw1DxnQF9Od9EYZQNlQnOGbfUjaA4xTdOLP6UBL3LpJWxnYUA2MRc5UyPHpx3UMWg9f+s/LxRGBSDQL1fnAXjwQHfq6FeUolp8aDEeLkx4nQA5shnk36Y3BSodsTiz00O8Xr0Y7ecdIgrKjTbeuvRfzL0Zo08WYZnKMfSXCy2vkvn+7RmroZrx/DOKh16AO0t3SJ0lqasqFjGyAd1Rb9JmMDTCutgFPrZUK1eHp+xQprgCxGrHowPlHU577/hwTqYsbvfTomm+5MFRg0uNBuGCFs7ctOJXrok6HkJWn/Lba6XTv5IEEUtaJo69L/iy5eIpaE5ltY3uDueBuTmyHlKhyo+FgFAaTO3HYrjyTFjFgakYwsAfECRKuJqmW0/zgN1piguzrZzFLFwymnLrxjCtqZUKCty4hAjMgaVIA5AVmP9uorPT9YCRf5rXAJJZfY2SlNsfHp2sxmu6csN7wRbFxPRsjPRzJhhovfOwQqUA8JRadAuamUkssstXfsmi7L8f+oaA+gM+qXZHkd9dpa9T2rIoxha9ksWTGHjxYJCb1BrhWWfdHJ7bO30yxTUM+pjUr6u7eA17VhzkpwmVT0y3Ml7rA7/kwYRLTfmy50R8fie4ZhIl6IIPRdKBUC3t3yEgKpUpbCPxh+a/58EkGQtWMG/c8efSAyX0pBTXWuL5JyeUuqrlnZt4rxuZMvYc6EEaxPH4W69lGFjH1Jxo1qe0CsxRdoGyR6vB3JldrK5mJKX4N8kQmDkZFAj6Z63w/uUtpD+sUee6IuRbChu1ECxk0d1Xqm6pac9rVh2sxBhDShbLGZ0q/BUNU7gPDN1z6Xoi74izvXrNGNYbX74AbyUHw41RZqh7XWIoYUs8ORyMZr/BGIyWPc+bcpz0jDQZirFKGveCmkXAvcgG4Zsp91MdJJ8+40Eo4wH99XBvoxDWvQflMfU8nnJNySgKBiruASCx4iut0Mn6Xbh2Y/Q2GwjwcA5DBLaWbYYEPyVTluNZuV8gr5m19X6LRr78gPhRHjEObyVUwrI2xEImND8wiMWR/qE1/YgFV7496ihjT9g29iX3vwMwzW3cTRVm4P2yYfYsGRT32IrFnP0TOtOTJFWTsgek6eX57V5ptk62QNwB7+DjabSZ7nKvtxfbUKZaKm6498H82GBuR/tIg4mIr8kvBZNnNJOheTrHLUoyeHcB4zwQqT5DpBkT/LlyOdDfwsP3atcWUWHxUHRiLCzUNri9EbYP0jre1ixOz4YObS0tymHkq8fJcj7j539CvPR094WBU4sDDkN/Uaa1x9mcTxdpOPEodJpfbW04O7laHO0vfxPacWVANWvhxTf+zbqGKQjND/qXv9POVSmvrES1txoYsPABR6CoHaCnti5+N0BcMl042xhD/iX+D9ALgYQ88396hhH/YMUFC17pZ4HrK3Md11/5GT53/mCHjQiEZH1k/x6oC6Z4nniOKAob4Cn2EhK7RDxiGu5DfHSfQ/qi37yBA09evMUhXPdItYA1HmWziifc/LsfQlWG6q7mtrvUpTsHCdH13sjcpzx3N3XQhNKKfw9iGniDYtleEkQXTVtLqPpE5/VGyi9TgwPctW1RiZrFW+zYUhy/w1MavM8OwhoNWWkg+FsHyl1u1eFe2+P1DSqivXTf39cTjieohSNW29FMBDTqDKcMzsOL6B2Pmy9GAWDzRCKeecMvftiWSf8BfYA3WjPBSoHnC/jCeKZ5JSDnQb5rP+CgofUVffFMZGx0R02cY7E7KLVit6MeBo6ztyUoZB1pGX8pBMqdnXgsL6LKU4KdfG+cyjTR7Wx3L98pqnpmANBmOzyWcyNmTqUxjMDsMAx4YIvRjhqbZwhnI1XRIjcHVfleTgGjlt2rONdrmTK7f/r58//ugoF3rn83NUjs2N2lx9YNA6Y4KIxPxRwWOO9gymp5lt9izLNNF23hmVBNmQ5595EiCBdIheNW4fkvQjPKsIzbbMd3pJFw5VfYsxmWmiCf7o4a2WXjpOPW2kLU46oDdU0Uz7yl6/4KjVpYxKtIb/3lmmBp8PPwY4RbD9ykAjZ3ohiA9ixz9DcGGitld4hgq/KOdkOTiX5NSZVDpykJxmY4CXWDUAQuoiaYXRWpKDQ8hL/39l0LcE/zJLDI/O8duQnM9bi67rraRfb9fhxJuV9MHJMaFpejJY2yF04fmcKXoBFpl+XiJzDj4fSLu+Eipu+q6jH5Ru/lbibZ7Tr6ETd/R8ugNTYLOZZ1T8b9jkXG+TrJLFlIB19eYb+HeG1D1lJXI3cTLrk2yXVCUfoG2ryRO+nUPZb0lnghRX5cp3nDYUzgfp+BIk2tMnmGXFs2Gf9rPyb6bmukWPtntHLv2emKD5f3aKTDdhf2RoP44tFKtwTp3FX0mcSiX53IUFQ+rh8ChlVpFRKJN1KnxTMDgP7igBF2cwaXBUG3JsLgPRBi1xWwrD0JDYEMPRwRA2q2Jcs46SHSCYAWcR7V9HzG4Shi/DfKRWsPB4ttV/nA9qshRRGLu3j2xU+W0JM85F1oSgA4iWje9SRUPqyqw6VPRt2B4Hu9bJb4io0zKTAiWHuQ1LfiuaFKfng/of5yEWj98liD0lQbssExI9QcKZZNdlitkunxdGc+vFzlvqfVsOvqdyacVKCMRM0kZn4UerTevO0w0FbdOnixjIcKlh464ZZTMU+338eUbobCdMWka7rLhU6+0v0KTkbrQ8SSZPnElawqcGWtSHL2wFu4IqTFjhFMzxmZWpdtXC/l1hpJm+dsb/Oj+xxY4EutwQghGmN/hKUSig4uAP+0DgX31x4e1rn09KYqTJJbQ2/u+yn3Lp3br+KVBEBK0gX7QqLIhXylD0RcvL6ET4hXcEbtbnjjlnRnrpAaCcOGtTY1317ntoE425+8rL8lVu+ETgGyXIrXVAOu9ZMsVRN1O+ZpLl2TreKIvFHgxggfX5zgTEY9kzf33TAFChwWO3Wh7s3gIB9rRfCvZT6IW8jkRcmk3VXCtjFPqe+hmhzJRF9pLGR3WVBcpBE3jF7gI72cRqVTzYRimUsOkkBNjte+pvC/f526+6564JFb0KXbRfYRIr3HB6jkFYx8uuG0d7Zh8FiTOIt4fsfVYM1o4wvUCPw5n5D7w/ndNeaa1hzUeyS9Dm4ZPKq30mTn+8p6W2x2YgjXi+taJ0RlojpA9xFOZGaMPT+I3Z7yR0WaS7IzP9OIeZXcLsZ8BbyqyTY7+VKOUJR5aJ8bcG4272/fVgcn47MmCQ78R+3ovFWeCOpc32K603By7tBfwnp3Qg7bpOnKrmSPyNkMAe7gTTCLsPzH9Ytrlu7FAcaiAjer0nHYUk6mfZqyXNyL5i/e+55dXFOBb2+my33j2lxm7uRkLHc2gHOcgh2iAu3rU+NJp9mnV7VKsF/D3SQL6Zq4+nr/HRi/Se4eV7Pxeux/fYHrOnMUjLUj1/OH2UoEYUxrK3wkoo7JHlIPgmKkOEzLCzkjTvkIHfnOFRoX9Of6tFl4IH3TaqJeD9xtXmgpFLmezALE++i9Jnl66dy5MYyJ44VjbNXetoRv6PcYP3wgdaXK6q9Q+QgPwV8JQiogmgBlu8A34imR9fpJxbAnAgU/YBnfEzjy3LH14CKaxKKuqjuslqlSAi7ihpHqPEOHV3Vcu3y0h7alxNDWgGYVFY7l+aZb1gBz1ejOzrIWQMcR4LdkgjzytxxanSacQvvadh+2KnXyIS/ECv9EMxn6VZi3V1gLrFl08IwE7vS2Yi3WrndUXBphNP3Qk6G8kNkFU6d2giPSmFj2YBVlFbsBjWdtpjyQBBlbs5IPS65JpvKBqr4keKQh6Q8UD5Qg2YSqbRInkg6sjS7bAZ2FKmDhAzzVaBkPKRyD+3Xo3b1jjd2RK9JhR2vX+FpMm6VnRyHC7GjQQ+ric/QGH/iE05beShkGNdKyB6jotdtFP6et73cQqb1RtNpgZgkyYCGzqtWd3ZHQW510zqCrwxXT0SzNQKMQFZJeLbPHlP/NDyHjG9DW1NukPX/mN9pOL7zEo5a+/nCTflyJDqeAFL0yD4dqBbURZkCrDmez56tgLe6E+32XzhXmcZ62QZR+kZowjLgenw4VtwDmJEy0PjAXLUJhjNjKaSFuyIzMv9PKmGq/ON5kZ8lJpbtAbJIhrPFAYkyA2djCfLPZTE2qzKESQ7WLMgo+yxskMh6alyF/d1Iv/mE4cuQzOpNOUkZ3ihpfKticpPOLq4YXjyw1+Q6XCz14yAfwmOslsApgtLbka9/vz6+Q6uDdzk+ZaVRG+fSBGaxbnnyopga2U1tYecal0Mpst4MIOVkwz39gV2Ez6ZeeNMBFkpSXR8TPvYgIThJP5YPBJ68ghtaxAa+f316HLZ5Y1Fy8nwUJKfJNA8WWd7ehNoLpJQ2wHazhwGBVv4StUaRAZLj3+XyG7aR/WJT9uJTphNj9oMnuoD/U8pdBL1XuEblMv6n4sYVroS4V+WMyPLDoj1h6ShdLHi+s4p9csO51IeT69rBkS1ZbuYQrVR9N1zqa6BG5LhLYUqLRPdsimvtJfyQDdIwt9M7F3RIkS0ftRZzdaWfqqMXliPSPLCqOn+7RxhyRWxET5ypIobW07BaU2NoMOlZynCVzkypTSau/L7nBx/vZRAVktYFuc4J21z4hlT68yMrNpyaDQK6pvtPoBsyWqOvOR1TUP8X0QZTikJs8mWo/QpnRVl63ekdHVukZcsDPGc3FhlbPW2t+YDQJSd/A17OnzPpRH0x8GUdH5mUSJMd7wDVF98UAmP0P6LnIUKgd4ZByYOrNOETZtl9jcRGI6XmcYZqNTsd6rNTeEseguUggRcZqJ+1lpuCN5OjUVG9rNCC1DAa8EhjVWjoPWzrc0aLnftm/ogAb5IB4/wcffvoVPo2uf0RHUUDTk2JRIahdkUl73oUjgW3yQNm0IP4x9R/k4AADGmvPV2LU3AJVPLyOLpohkDkz0pgKDG/bcoOb+W7hvRRU8RNUbDVLCJ+J5MD1oz0r5Vbq0A1ruRHn8eBSY3J/4eRKXUo3MnRsNhVWqhpOChWsTrMvE5l8bd67VbnPMmBLnPB7YjjfesT3tH+LhfNcfZuWPY240uVgYCRd4f4G6KJQPUvTkbiGjXY5qw8YkRRKVwmWPBUjcxMI3cy8RmJoPPOqf2N6yk0RIVzQJI3/9DRPCVgdz9vg7Z9JvNF8y93Xu4cN1iMwBKAfCQkRi+w8EbnGrdojCzQkSLDCznezZJPU902mN89YpHxGaldz2KfpVmud1iZpecv64HgfQGBnK9jtBu6qZSYE6/FXBd3cYspOMFEtuBgTw8C0ikC5cMzeM7BoLVQD/OVWWv1OceaZkmNTaiPnzbTbk6s5EpJFAlPdGtg7XUFL+BBBYsmV5eqA8cBXqkIZ6A5CRJd4G5WNhZv/RlhzrF4Nbd/Mc0SBLO8an4i7V1AEmZwZ0ANApJ/whwmT6ZIbXxzoA2ptC9h/4plzO8K/5EY6jHxRYR9jNW47HWVPOfmSgFnpSuPt8VM6UtwuSYvHTbDo6QlS0+sGb32eyWw/UnWamd8E5PbJfTjncW5QCx91rw7PpsKVOD6BcONK/oeo5TCmW+ihxFd0HHJIClwv7yRF+vPPQRCkVd4Ns6ZWrphIItdzPCAfilQ0UUwtq2UvHGsbQ/mqkf8BAaauBto8BRmayoVclXbxpVhPB0t0mcfwQ6K1pkT1/1JNViUqZBLcu4lGrv4RIqEHXPMNj/+kuPuPc7q8qW1fK1bYRxTJUP/g0a5imGTMsRZzqv8EbxdE2ckiUaFDRBNOfCljPiTRBYBnjjlpcs1NP1m+rFhkvcY5yGKq9acxOHcGvWemhP3U0fAp6bvkoflPHemc92NsK7hfN+KuZRbror4IN6Nz0TxfuLW0gKxrCd41fpV5uo95l6tgFEnha9HdJ0p1I7KZcL+anhDFlIM33okor9eFw80+tVSpLfgDbNwNHB8Rp1Pgp83Jw3ld0OdF2yxaPWP781Z45qRaia29A6+mnEON4kDpvApjWjBikjYR+Nnkm0DZ6HtsMINq3SZLQ/q8oazVX42K2xRxqxc77OSOA2Xc0tk0XLC+IiRNLXxQSwDbaBnexahsHJPJxh10DkaEpAY08LwU9iBK4RSUF1D6ASHiY37uNIyHz1+Rz4Yd0vk4kOWv6mneKNDFBxzvzyb2Y4ysx1w84lkxXwjBK7cYHCnS5Py+YfihMqOnATXhOaTLPQKiTnjVhO2Bfl63G72eUApEHu7fbvkzRcLuibCkm5sXSRrZ/xuDhs3x/qizKBbZi6d6AeqY8EpAeLE7HlIK7B5EktDG2waKTROrVyBQCn1MJu9TFwDUO9O/pdwyEB6z4wQKKiA6gwkH3jgMuagHFRyu49r2p+ax6tRcCQhTtsbDQ7mHXSwpZnXqqT/ncizWGrotzUJL8P4KxjIc/Hp8C8YiMLhPRNCi/1IusJuvBf/V37rClAqI4jttxSC3bUSlX1oKPzmp1PdHDp3Hg8u/zAVNK6iKo4781Cv3gKfHFclbl/Sy3TkvNi6m/tMqN54VF2noRUtj65Db7ll6nv/f/+5OPMPZJ3ZSjIxi1Onr3LoHppe9mISZ7DScc94zSmNKVsR4KPWOfp695vCGIqqjemrUbFh0NchbLDp4qXOgmYCds6/yDBa9nZ+QLRtq59u2q7qDV/xMzhYzRyYUhP386QzmJLVNYCA74NyC9/fEbM2xnFuVUGkdKoO5Pz8L3LrqptApI09qCmjW4CDTj8nLizidTUghxnaWSQz8dwZq8svvRDnuO68XIWM2eDvmEBx5uiwjcShY+XLGrI+GIw35ARW6LZ9V1dGJo3lftDfwrZ1abzVvt1XP5EO3J+LwIxCa8DTfG2i3JgnTcJm9qTZ+y7LVvSmpakQA2SVuTUesG1ikTIgAPflIOX4kzA7McbYK85ZYRr3VNrwbl4S2y9RaLk1Mr5BuZqCf6mNywCBk41BJl9Vprcq/ESfArB00/YXsqambK34LyFL3hxPSkf8Z1UVcP1VQJ5ZP1ESaCvSeEQ4kh2dkSVFiQCO7eFdaoqdcwVL4N2friYBxuDMGO2EWyQzIDdRYg+XobxRR2Pa86PyABwXLXAhopIde5UxCMpMHgfzy409KLvs5m0OK+vG5rdE2wDC1ie/1XCp3Iz9BIBLISiKLeRNfFLMRbkv0XRb70pjBmMzXhN3PqSqRXKuB7eBYhRGsPtBuO1J8Jio7Ga403RPtoscbLbvLcm/vNxS37XXQcq6X9ZMbxzhqTM2WF/8zwy8Yr7kD3ddTuZngv+n87JATMtIDuRjEb7JHEJAll7lfRiR9ln67Saxvx4AMwE2bjgoP0RZN8bg6UfZYDwd5yIkTdUZahfTPAXDRdc9bUYQbXL4XUUxirPlKwsJPWqpJUGuR4Pa33/ZI2Pm1IJcD4wTMMBB670ik3au1wGD+99Ogn1K7BbkU/wl8h4xuwEZvCIwi79kYZvNmQmQ6K0Br/XwHF5xDWGAe1q6fG2G9Gj2YL/+VwD7ZgfYeh8rcz/oiU5/cUMhKl6ZS2xL8pPcwByKyXwFzL4V/bR/R2ocDBWrmmw5QpeI5q9GQTLxNPeRcLW+xlWhVNvraAtu0TVnFfRGubppNVieXSaQBlTD4UIOecK2om7EAECop4OcPBKIU35EsfCh4UK+CMvtxW5kbSXsm09TtTPiSQChHi+IQ/kcKonNVunhPHgARLpto03Ez0Hx0llOtqvyLFhRTB5pnuJjXuhc+I3oLyaXXFA1X69DO28oSuVJJV5L1AkgpiYe9deiK8asqqoFemi/6z5+lOzp2UaOYxe7gA4wcXJfTuxHZgbRQ+i70s27CtotpxbKkgE9jq91IryaY+e8GCK2hfXjP4npwmu9NPS8GNIw/SagpRzHCMSCaeP6tteNxCAt7AIKAk1TzbTbrQZgB/u3O56z6FHgfM56YNylrmocZFIOu1rKTmPmb6MZBD0ynb0anAocbLeaWY4c6/nAi4/kOc61hlwvC92B1jLOkyDVufaKdBq6EG7jVsAiOsFDJbGKe0ncJAPOz0g+EDrx9tVJHcEqsrte2Nfvz8S2315U/YWIt/IKHfFk/WLEuvvoRZnUgZronFRmcN+G5GiLFNd18XtgKLUQh9+v5tHF++KIsQimTvqll9ak91DqNWdVHe6+6bBnCENDfpk2sibKV4FSe9mmca1D4vwVlqSkRxHbFNu6t5GE6Yu1BZbMX14EYbyAoYIT6ULfLD0Jb5ZmVk1OIpR4VlaH+JflatiKdwUC17mkkRkTIfWrCkPP3Yc1bMirraLKonPES+iJg/BjmEdb50Ut0na/egnblXC3ezPXcLkRIveLb8a4s6rf6HV/h++tfTQJGN8Pi8aZiusZCj9PU+VPvWI3DHn+Or0mc3g3YDjMVDcpi6ylM/XQjnnAThwuiHsrgnSF6bW6zIHRginU3b/g0qC6aBk=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aY0FTU5hCL16fpjUWda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7nLhS1.0kqDGWer1p3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zJgQZGqTT3fKOEaJc22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WC8PxtHQ.2RXaYHGfMj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yIbZYfO0PuLeuz1aE7o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52JzsIUONfD1qCcYvMp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DDd.lH2PQ.ZIWEmsXbs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fE4NWT7s1a3O1cEGds6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mIGPBHgHRqRE6By9.sn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cCL5cVJLx0cx8J3zPKm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8VR_YINVHqcdVvfhJ9i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WSC0VzJGrIRrdgPqg6I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MRC14GqxZYb5v6Ncrl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c1kWSP8wH4e1jp53wOi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_k0xltKH.j3DVxlDlBn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v76LlnhkbPhaR13IDjg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2R.SlSkX1GN.uVsfuf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i5KB4VNd.Xzygz7evd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DqnRi2rF3dC7/3vzSMoeWc7pCKX0F+d942NXGsvNxutEpLBc34F4BrTQ6G4zsIKosRoVu5KBV8s3E2/qe92MZOYboHlILOFcCwXXd4tUBO+XvZWVvUsSf20rFz2ZwFhnL1v6+F2N/kwfngH0FerW2FTqrghRmJH/APqPnHHLVvaopGdW34KJBfVpXQ4nWghHyk+9PM6YDE6Ox3x9Q8dUs1wsarYsjIKqmEMcnBQ2IrzmFkgK7YQmRN0fxMLdDU1dR/s1c/34lhao7bNRQTsLxzP2CIfziwkhq04dYOWyZrZPqmx543cWnnbYrhemB58VqyD6yxLZmI0j0mnIJwxA7SDDiBzwGCV7JOpqvovxqlIqgSjhQMsfnTPIH+22ekWAuOqXUi2PU95aL2CrsCMdZhd6tzDB+K0ByaLmuGbyyC2FWuCCJ9dr2m4q/5MBoutSaM8gGNO215kslfVF0G8d/nNv9ENLFrztUMWEomAPUJngJwlkpw+8L1fi0ygaCJDVw/++0iw93LNVyDliP7s77J9tKHDRL9WGd/XVgfGFjjXO4tbXWv+CSdmYbcriWwC6trTn8bzjcb9yt0V+5onEHKsKNjVqVUqgoGAkiN4ElB+/31GWYCbK+3rldh5j0L0z38tlpk7dyZ+7XqjmVAGcKHK4sPa1l68qSsaLMEjgZYSpbaRizDpAHBs+s+k6cDNGT5JDcZ7wS5pLSBphcDssJwoP/uU84Xbf2wg3F9cMpKsEo/5nXrsxgPIYg9qGUNYb+WROA6M8W5QoofyNFltEWVg02SXaMOLLWjf+j47K2JtWwYQiXHw3K9DfcOFKLXkTRdL+e243tCBrB2dRrdWSoNQSB6B33UVq4KXHYB14HLpiMF5/u7LaLthRWk0LoOXK1twMrOfrZHrQK6re6Qa0luWjKPgj8ZCRbeswhizsmBbegbxxKeT2eoavkbVS+F4y9fX1GxtLhJKq/+xpMbvxf5G3KGnSkHrGAhUhkycVvtvRAlTdS8RmDgn42qlai97bEXzRiggkHwuNRcRrfmWUC5I3JVEC1k9up6cqIro1AI2XZRNxP+ZWowtCOR3r8/9WQDEwyK2KfXkXTH3aqVkSW/hTWgkNLFTZjug/ROULB5BzEGwaj54O1qiwKvF4zqXC7/pTFm1QH3Cr9vdhtz7UaJaZQwNeiVMVBlQuK6rLlckZ3DDiK6jlR7eZpyfGOxenZkL4xlrTNByHxwBEogWsF0msuzunNNzh2p9N2Qz24AdCyZiaCizIVkKLTfoD980TOoWoC1W3KzCypojLtH/M257W1csel1aAnmxvC8foCZqEr/nmUaVozjZ1mCHccXfb9bgdvMLTpfngEDtSq4GMUcJHOPM3Hk+OCNeFrZjaW72p+ICD2yHHgnyxkPdkCapiUkH7auE+U4DMfYDVNRIZkI+s98kjqxwnyBw6u4DrHHAkdEi4+bHqmpq2ydKyiW4/kBnZsqVyWMGY+NnVwmxvUY7NQQWzlbV0unncSMbi2zPMjiDhLOaRRVW9rJUI4J1e6RkMHlhZmKLjRPZSNghVZgkLnnxFTDwCWz434O7bLVs6f67z/fUmqst8GH12LDjQh5qFNkyIsvWZoO0OM9hRZeySBz0BxIC09qHgGcXZ3VeSXpDery3kDb9s9rBbduZPSO+mJOBDb4OYeNybtygGBdgW7Ashz5E5PkcDn4FV8DN2O9Q0CtzC4VNyIA5dwh6HOxtc3uWf035ULMZU2kpDiKVu9zJCEZP2h69KeRbVCwGuS/kkvHzHbFo/XqudG21U2WF+aYrhhNZJou7hZ/F44PebWi/5781dXvsmsudf6dz8s91fDfORDjOfsLSJlT1HVqklVJ9L509Zqv2qsPItjLcYk7Urw4n5m/Z+kD2WsCqLAlbfY6gAIMUWP8yqeF2X5agp4Fwurrf0KMe1sVz6Ym1S+j0kwyIivl+2cqsO19VunmbWhHJfmLKrlcp1/CLrKhgAOto4IxDu5+qxB3y7lphsvtVTIyddRvUpBwl/ch+wuPXNItflrcCbs/B9SWMQ6XC/ZRgQn5V0mcHUYYWGTcaZc8yDcuZ06Q9W++6ImTLPmpjKX1sotW6be1PVKqk5dwALOqDwO/xax8SDbcMz1w+tJDEvxEuoudH6bdw4T4qe43iF90yHPWgZX1YaPxJc6Tpfgedhrj1fY53FiAc4YGEHVm/FvYXqPGnGJ5s5c3JCuPXETsJ86sf01nV/D+Q3g2/aALRmUdLxy3Gjyg7VCmqKb4Mr+E5fmCuoLxpjqZLlgfSe4PfFMOWA+1if5hR0wsZddbbHBaLiqAQHn21l1zMFmDMhypf06b0ZD8w6bGsoHeVBmhGo3DSPl6K/8pDTtQgs2R10t9BC1CpN7XSb1lrJbv3FDJqFPVIxI8xMEnOfz2z2ndoNlaTAdskk0cTGE8NLDcPo6AziPnInz4jJNNap3sgnzzSH9hfyAz3O8RnHvHoGMIB3giTFzVW81eO+Fe/X/bAllEXnP0zV/ecfjZlFKvK4fKyd+VazQOkaHwo64sSRv2hwZyyBgLtOQeEb8OEmyVDMEe50RJvjEZfBvo2wZh0g7vZqnXb5JT8yIKuOOd2bXHtHuVm36E2BjkKtvqcuPOsbMSXbp1SWciaHrUWHh6xKxdAhPrSRz4kFUJFAAsP/ZKH5ndHvM83RdNO638x+mtksNP7hFb6Qd/4Xe0T2ltV1+6YNXxh0jPK+lKohhyrkXdE9Fq9Azy1ZuR/vA37jf42tDJmiHEwR161W8femaI7hFUfRlqvcxMsCalqwwHtIW+bBfhO37zsHZQqrHLRye1TmxP02tOljedL9kRaPN2KQJY5O57Dt8hsAfUaiASpbayPoTl0ljB8hX+oKos8zaIFkTyIpqfv5aDGhpzVgx+ND+iECr5ZIUfSXlQuPyLTlWbGxAEguSQXMjGjDC46wGA03d27ZfBLpPyO6t6L/6O64flYZAPtxP0ltkVjJoqKNzswIDIoqYtRp3lX2sIFU8cWroX/9LRYrdYVABWfVt5uzGyauifCWykg/3+TOruk6N+IlOKeSliZW0B6HiQoC7n0F4tm/HxJ4FgQ66Xgdygel8WfDCegcNuXb6Mi/oNjayegA81OzFurn/+yvHYG0GYgEiwfUNxZCMovGUxbeJqeNSU9RtsrVRGuEfstTKeBUhf2d0C9hnyV8Jyl1RDkGtgRgqpzMOmscPFAdT3VcaZQcXcozi1UBczzwAl2BtpXcaE1k+6aaoyXhAoJ5WjrcL3ugyDVMjD61uAYzYLQ6/fy8cMxiKYN7Q/LD9c5dKlW+xR5cjEIahMuQAGUFKcMb4jQOZWqrBzEvq8ZVAas6UZTnxwPBrVMLy+IW4xRJH+AQPWd6dQ5oEez8bLUFjIw1iqRJ5XfvLZteAvFsz2tptlURZggrP0MCZ8YLAbd3r6aLEzRXSx0jmdYN2G27G0baRCj44POW32LPJwgjppy710/AgSCI651td5ayvXRMCvMOV6I1KYgIF+nhqSeoFHcmOKpXxY4qntT5FHDNlThicLKpy0j/RIMUEMvLhfikECCkNXcBuX1Ha802cklH3XPTRR0oqTkdsYNJ19jdphi2WpMQTnCqHfrp2TSTaGp1t7ea6yQG4WEsviZlBxhEODBqIeZx1iqlJjXNtSvvMEKUE+IzqR7zuk9paA5eI1vEzmb86Ky2ejXJx/2UvYpCNysbpuLw9jn3GLnj3v+HDRMfgdojKKqxmXKK+h2w9vgEW7qW/A+O3mKv7iuLn5r+VI7yCJS1yfVoUtWjw9z+cbswKAzD2BNBc3/aiuXEElRbf6GkjeMxkJc7adZTXsf/TOO8Y2b83Yh/FrLJ36r6jVySjUiYAGb1iQPm31Yic1BonktCfcie5fRL6U28+2hO1ZGWIiO4ExuHQTXo2X3JsICuR5HrD5ZitOdNiefpzg0VKBkx1wTxa+3cNtGkmvwOJf1A8I6YcegtMX8AUij1nf4NZwDROQ2VMP28vJzLpVEJFhHxp/51CRbhE9XdKmn1RfomTg0RShCkspzp2c0wpiPBDxock4hEJBkSZQwLCFhb4DwZhwk/Gsb2HS4w49ohA+ckvEACFjz908SBDzfq1DT6GB/qOBNYWoELN0wv3Cf8TszLgGM6wClvbbiuMc0Gpe+NnzMTfmOcqYJCbUMjpUIyvJAPN9Hcx2jk7R9U2uD9+cqfNvpJK43HlntrBo/KANIPUxdiFsIj68ovf1xlFkDWgZV0dVV5DcbUGa+xIU6m5RPs/ZdIO5S15sllzlbCbZnamWo92eDYkTdnXobnTvO0FetkcEUe8Lst/0T1IbWxUD4Mb2zijTXjJlsJ1zHlBzLg/IN7h1xN1uYYLbjA9Xtxl+Y/zUGu/WBgd7iBy28zifPYTEYprG7HtZVmz4oP4f/T8piirkaFIq6wkW5yGM3D51zIYbHvcyY1gehHweN0Oe6apOzxHF9Dy6W57ojyof7Df+bzOFwIVajzoPxZFXYpIv22AE9ASxsjzIEzjdZy4nNMsseBsd+U02xI1MGMDkYoBCw59XW/l+si70DKnsBOAZvP9nTVdoC4d/prwUns3XJZOHbgtVjwd471itmitMKxmqtu/OW1cMmrjqODgemq9vg4bwKFN+TDogHzddnvIZ1QjpEFBvOXQID+4Qgu8LT2UCcnFiA+3aMd44fNGD2v5HGKNwsi8kAZUn83JiAgFSZKsqVZNxC1EqPdAwRHmHTGjq5El0stV1kfaPxnhdmphqwf0HUiGJAvObeK2HwRfttSttEBx8pn2PmbKyYk3rY+Tku9CenXn6PUEmlVXgX05xVtggUWN5palwW9QILvUOYjj9XxoM+jmdhBkxI6xLj99xiTJgz5FmXojm61MpFUagjbjsq5crbKAEKk2Qor18iP7+q6A0quAf+5inboKFZLf82bBloCdAZqgl+bX9I4du/AV97hSqYMQLQwqmVp0qz11VNpc+rgKMGVAmcwqFiicMqkS1ilgV0DTvH2vT4e4TioVAHyBn7qSYXaw5Gp9jSuj0bZIUvi8ZjtKL7tsp01swtB1OmVuEtODujTZZX8rAFGqQ8jEOdCBqNyHDPqrsIB3tl/B/iO32QLm6NLIMYe186NZD1F/A6/GYx7O0JA7qJ1JvhbRjR9jMuBH/iGmotvZezT3wd5bDWRVO76MvuZh9eAOgap0k/+Ms88Qp45h8ySsAUrFeboHJ/Q+wT5nt6NhqQLViJH6DKGsOzkipnWxfDgzeWwIAYxZb0ePPBv9i2Cck9zd7A+d54Jqcaf96f+wlyOq8fiqN39e/LDF0hR/qZgMmMX6B1mfC8Uk7sT1QQEJZZigi1YJQKMG/iV1UBBhSje8g0kCNogzZZGYUgns0jTt1aPQwbGmdB/NHsOGrOffWHPDoqMGWxH/0MRZqo2rH7wZijopnp8cA8DJUoL+F7r3IgQ6yl2vS9Qoo6rJSi5SuAWtbDs9i+1a0eY4Iv9PNloJ6pm8yCNmU55MSXeyiS9IwrFYNetU/5XZNQyFi8M/BCW5U9jyserQ6Lny/5by12AA0Blu45z7qATdBUSyoZNPuDe+/A5Db9qEhglJ8RY1SCvM7uffSam6Ic2apkphw1LoXnz02IwpYL1KLqocmnixKCXRo2zQLquiRGpLCbpM5QExMTvrIykJ24JG3c36VzujirIA5JxD5s59cpOGv71kmcj0XW+m248832lde2AKp80O9a8LGXg2Jj/SnCihUUkp90uzaQu0TQlGuwv1a4zj9l1yAVULyd5I9vYHDfeYEWqgIzmCm6kH6JCyP8fXYpbfZALfnYQ3pqYt+9X2rwQNsnsFKDHEZ5ChH43pPJhu0GmEAwsA1leB2kCYK4c+jerpyIrPf27mPnQfwSOEufTRBp6j5CHt3jDmvuudbYTFt26Yr2rcgrFTd13+bm67cEsUKSpABpQOe4Rj8WlotQfTuP1V/iWK1XCakghiQVLLDTqYVl1pIqCOAjDqED9qMELRi3A8Rt4DkBuaElj/3FniYyai+fS6srADeXFmZTRv89bGcxKrBNIooGlTD8kE9G9cjksliNIoBlJzoWV03uolCy/7//VyKhfhcy1gsLAdbS664vwe72pIiqiBNpMjsQwtKaxFfTRDV/DvWELSHRjx32tpWahTAEebCTZktps1CUGSBenry7QwizCfAaKb/lJy+TNM5DUDDq2LFX6XuV96Jnq063eKDRr6rG+qyEn71y41/W8VwjTF/j+w3A2u9R4WSYhMC0AjfvzOHkVHxBa3j44JsXyFaqCuwqPSUlEdD/6wN1WUY2VySsJRIpa+vnnjPwN3wnztzZQ/WkNSR1QVRD1A6GyCrVfIFCPc3qx3gqmP3NxQ8SlQ+4X6JnizpwvgXU6l7X56k0Ti9yPC36z7RFM5j6DvZkFqGQpR8lIPCuHZI4pVc+7A2Hrn2GJGJEDyuw0cmJ352UbzfnvoqYrckuXHcN50CMQJsAXelnTMgdEBfmOBjhda2/Qgq8I+FdLUjq8Rly8s/tEg/f5tIj3dWCI1Z+iafL8aoqInbNtkAnatUvHcJ8nnn4akNUwqUu8TOtxSJwIYOeJ1uixJJmk7xW+nikPid+ALyPYiLq/byW7xx22H1GzUCFBs1i1SiVJvdtERLsvJGZnNnWJqu7SPhXdLydgpuFnANXuPRZiABzKnDWSmprLYYkiH6XZuCvsWJGjRqgnMADm4vzaA16cJc05L3Ep9uHAhzLaD+o0elnLrG7i53bNPg0EKkTXn/zEYCQDZ5pHtSVzCa4bPPGFN/rNFWonUsGUPgxm5YUMSQWOTYFQ1jT6PfPod/fa/pFWrBHDQD2tM3PoM0c34mWV8GWy9K4n4b1MKjctg+aiEzN6yDXLTF97lW7NJgiAzX7rg2bXTd7/lh4ymtiOvQHpUxnhMSILA09/rcixRi05IxWCFl6jeyt2U66uNLkj4CVDJh6qf1VLqE7GYxoWM7elt0j3SLw1NxZls8CJl/59ApaYNYtPC+KSaEoHpNXvqCMmt2sgN51LywsIQngaiesKQmx95dKs2t6boX52WLQBoepvvfmw5LACo3U9WaWZMKxu1z2k+3WKHhRKSi0HrynzP5TW7ppl3AlebcTHzovdDdwibGGBd7l5Mz/p/h6LNvukNZnea1Dtzj3wnjzx+o0TBkns4RLHDByKU6WLafG+ChMylICVPKM8ltmVyGopCjmJJ5wfhKI9rXBijzi37tBuk6dJK33NRkBSKoOWcTien/8UTU8bxwIonEiLbeR5pyNNAvI0jw+mX2WigHK5hQq2+LF1gP66FYZ4G46G+5o4XQLvKJZ+FOsMX0EMOFyH1Uk6rY+hxw6bXhkKgmxyKQO7irggNcO943wQ3iPyppUqHiDPp3BpI1+B2H+DC8GlkDaOu1SfdDTx/CZVn2dwvcH5D0YHdNP9305QA1doQcBpB7jkw9f2G+pdT8Lhr55ZIc9UpyFHV05MRGUyJmR70esu12LywWo2ORrMoXU+OG0aN16Y7ZjREFB77SzjSaW+EAODCAEqYoU3/HSWQLDFcSNnmF8e6aY479omm55C+nVpWZ9hA4ynkQgUloUJT5CbYeoBrDfgDgAVTIkHFtjp2pND4LY6rYSDPV4gcjRtHoLQolG1fVJnTOv0WLXDNFU1sjBruYH0V4ChfVGCSFcvNr5eXQ3u6ciqV7XuRVTttNO50TD5JZvkr6XBYq4TWRUVoxt+CmHOKDLVOX9SlyfvsTSIJgYytcOoDIWDJ0OjNf1rHlsgbA286MvLvDrML75kmTy828zxutwOs0sqaVSUPp5xIYUt/XZT416AV/SOySu3a6aw30r9fWQ8IWvMvccwKo9KH72pLPmPNxBUFsCU6tx+FSgjazpRLnXUBGiBd7wlIl4TuXJpkgzh45EyiMt9C/0MmBpoG+BxZmjdL8Y5QCFbB9FPvvhkwvkbUYV56m92nk6LdQdh7H2foKuMvSs9Lx6GyGWQUWvhpwPuGUPl547K6/PL4Y24k1rfcwiS5WiznfTFow3NpDRXSDutiMKwgdiLf3Td/RDslTYhPyyEuhp7TPY2ynMXna7qAca6PVmaTTkg8++H4TRBqEO6PNssAuZPJH6YsQTfUCb4vyXjKgmZTXaAaUUA6CR320AU6bVevUO8MZ4jVMEbMk/Qp9aHPquw6R4Ey5FIJ4Kqdp9Y/fWpiKpRopJfjqLTqwNWFmawkEXcEvfbkkvcSjwWvtkfYSbwu+95utM6cvAHpZ/7K0duiNVs+OEj92RE2H3qCqtts06KkOTKrWcObdCfoSPp2XD7O/4wYbQJRd2AGLYVt5KRLb9U126QKw/XmgIR/oAbk66X+KhV5dmlZc5qRiylUQ4r4p0fwm9hAogqTv+/Z9zgu0+jP36r7y7EJV8eV3n+2e77TvCHhIgqwBPXAIHKVldcGfRgrehLB1F3KOeGYSCQTp/rKBBoa/s+SrwJPLNYrAvxN9dryDvEVyXTs5oWHQKCKP/2j6S2/tuSuppYaWMUQ7TuT5bJYoMp/RMxEwjYXPelwICS2LUzSiN6vsP4QJh3P2QCyOIw5PWqg1m0pRc7zfj1DRcc7YXmHkHEGpDzrv8nVXcVdjgv8RpB/ky2mwpZIpB99qHaKoDnBcKAq+q/vgcc4gX5/+o9muu9DfXhKlcuVv2jdxiNKu8MSZlkHAboXnh6OhEBUmVkZ/TGtN4j/UqLw/9elV5z5Lhw0143U80shcxWcHeIfuYsFtt7Lj1DHf5IVvc4oc+vRYinbuTpyCn4LB0FzKLTv1OJiq/QiYijfN3bEc8jW+t1ISEkqLQLbt4Gc2JRDzC9ixcEoQGbLmn37MHlarzaEZafcu3LZFYhxIqL0iDSWx9QkHkw9ODeYIwvwmFrDWjPMJzjsrmEiXUNu7nwnGaIuhs3pc0Szhr6PpWz+OkYDnL+HqpAv4NahKeRcUj67Yzx8BnAmel9RTqt/BgkEcpxvGFeKyQ42BQdecHNSECdMlFIpHynyOmYK1yjLrYN5nkE+nt/YlSn9jgD4XudtHSowKINS4T4u+I1O/2B8zr39Q6hzRYGpPAdsig0OHs9SknJ4agG1i3wbzm6yQCPmG3Y9kUgm9iLltNMPoFNct6npUCBDuVSfCtZFZNCpTIwQgINdzhMpMwkHRCbwrM5yjRGS8ED86JnDXtL6AXAhc3cHY9u7eO7pNC2/JBjXoZU9D8oPHV//Ko9yKgSfq3wlOakBb1kljyaFTP6RXkwb7+CWXJ9CitTSTYQrfMh6RpwZJqNpUj8faFpNAm/CkPbDfn/KV7AOzh/j0vuCoext1e+1fhIunvzKuxFC9XIN40J8mYt93lyN3Ytndf+iULFMhZ552L/IyiQv+hBJgZFBHUXJVgH/GHj6s6kmg1gypvUp1QfW0WCfMKNJ8+DJxQdb0XNBnKSBtlWKmM0rhMojcC3smpQABRNrYYsX8Qcx5oUI+vMjE6I+ksBOAnRq6nc804DktoBIMP/OYroxcf4IWvqwkd95fTB5dwQtZ9pqy+ZVoNJxLjJMRghdCc1kAiFfIvy2YWMcsKaqnYjszVnE5t6MIT2TbG8qH1+KpCEc3CydvGjl3HV15G+iPHiY+NxgkR3VbWZ0rnInwF3wMpSQZ2TI3EX3bHl45WczbRssd/D8yO0bOaJqzgJTzmyM5zFufaaQiAz70DeFpg6v3yjrJE+PdXYHyI/7OVe/NmQVy8z0QGOW4cmNEBSDw5mExaL+jl9K1IFpRfIoy7A3VB3bV4dqN7dkp5BxWGH3xEOAsU7rzjJiB6k4IkB+JSresPHC/NnAtjqDNJEnnOQqN0aEvdi61BfI8IkK7avB6/9bovi/HdjjLKbEk1BP0RvrwAMUYkZATDhMA00b57MUFPb+SHrzvTru4mlKrRE/+TN7Fa0G0P/yVS+H4yhu5tYgVi1aJ0CcAe8frNzu9LPFRrmmL/p8D+++hyNmKGiV8/Shb/qPwor0qxodi5ZMPN00ANYSzgwg58Jz4GMfW8z0OR5X6d9ghA20YYlplMbVckebzUsbDaIdJ+AitPeRs6NJWEth2Bsz69PNCx//0iHwRQrGQR0P9+Ix2saG1n6MP9lcE/j/bvaJRoUtGaaq5fqhnDa45xIoiiLfQlY7vzCfJViQilhuniZfRczc94XDIB1xH6zYpizl+pLdMi9pHL7hhWGSm+6JTUq1YC1Cf29hQIGGlWIg5VXQyRgltcZW6jNw+YU5d6lg8n0lPov7FWIZd7FWWuiiZiIkoARyfTH/VcMj5j71hKLjkAofkAL++dw8XJFCXUH0Cg09v3IoJ2EHae+QZpP55fc9H1L1HcRI/xgh40IkKBXib19UlEH8V+tpa0M5s3P9RQN2Zmd2R7qWwxo/ceLjr1aVUm1WWcrAod/94pSR4y0+B0vcsG2OO5tPv6p8Izq71PI7iNtZG5qyG9wg/wRVrAYKr6r6NqW8HFRZu4EVO4Qj0a22BvEuzLiIHlwSXIH9SqWMZ0WIQC4IwXbsYh9NT5ECeVggcVFTOiZNbCHpMQ7giFX/yARtTBQgmj/a8QwZy/ICg9gHVLzw7sPDcj+fCS1ATQ4BwCmkkLAbG4vs2z+CBXYxtbxBL2uz4MlYchQ3IsNMPUVg8GkGjWjzWnoPpGZvZ/RtxPI0Voi2DUSrnMa7iRXtYzYTorAhQBMq+5Bi0+IA4rt19iJgP8yWyHfKep4CGWbS6HqqTS+SBn6z9hwEKIn7oG5+et0fmmAFL/9KveupHEShWpEdzBqUBePp7ezjvPMdB8IR3wOKNlCBdcw4bprnSUNQWuKw43q5vjdavIFiTJhDwz6S/T6gOMKR8xyud//vEgegZkITG3D9Nuc2oGnErBvh/rBYwZ39aNZ0jSYGVyG0Vjn1Iq+U4RhaEfirHRQyZSdyBPNxOWxocUE1ZgnqFLdtA8UQtSkmJRTitLJ2BjVrcVJ4vv7lXxz+X9kluKqwmALqm1E7Vhk+Y7Q4a1tRH9iy5Fd8LBN6DnL5XDcDF+19anXa0rIxQx3Z6j/rSRE7dFuChTeK8ihwaj/Ujr3m8N3jZ5aHZjXhVATpJgJTw9fTR8w5WTVXAefJFcuKpwP7FbBIsp9EaWh752Ky+SSPGPdEGbBslMkWJ81mYC/ZuhzbQ9bni2ti5yJa35i9YMOzO/z2WfHRvrt2j/8R65pki7eGkmDr//LQ+YcoC0cvrLjIUtRpG3yAsKQVx/XISBvYvknMq6kTlJpqjt1fTlc7XTccDRneljJOkVbnjz6Ec395M98pOsp7Fc4OcsgHUpWGlo9F6W42SjGKYps2KjavAmLUOT6ORBAT8cSR1RY2Qe65sObPyITjf3MNNwHRlh/Fs6bGF0GkBHR08LSLOEDxDD7q+NYVpdsrNlc+vMWLgCVzMrKROYFYi9hhveo6Vsxp2PCHIxGkqJ/rd/bqVTpGq4tkiDzlmpjIrvRVwTEnKMZqR6smzmDM2M23kYYKNdVbuSvZSxhEQLd2wk2H3dyLqqnroMox5ImPjF36eG7i0MY4XQ1/IXSJqfXArgHyEFCs7lJhM3D0nxehxALQSRON/yTCvZSWUNl+dFasxZBSIWMNHTAx8ywnLVGPclO9J4kNV9ask5ih9bQl34zs7PyEqTK3qBlT1pw7TX2ksfmYFhzKJVW9uM0Aqv0ZEP/aspJHqjllKvshmHF+LZVKdcgji7r6zboujcj04JFNt//hQAON4GYakUBL4A7TK5DieAyX4eFRdruFkpmZdo/Xx+VaBQccQPW3IogNftLBmz3eYXGfrR5IjrSRLY9gxjjhcsfED6+Boo9V/gZUu51Uyyuz52bkwExpjJq7A0d48hltHelEF+BLoPb/Fnz2EMAevnDlOlXzLVsg8W2lR9QLp1jWhAKhSJH9bVTQFLnKPxnDa0wFH0700Gp+hGcopSsGctuiDCCrCQa4NZhZx8tlYMTu2OYLbJOxccLjwlMla+C3OFwEqIuO3skMxwniFwKtFt89yEJUtfdVeqjmAS0NQElV4hfBX5rbv8/aPuMcEtzEkN0DJ+7OL7f8VdXYO3h5zFXydAk9ZwuiBH7Wuqd93OLFFuknPkGi7ZmDrfnYt68pbhw6XOkc5uWSf/9b1oprrFuov/cOzmoBjZrIuEKFb8ywb4HBI0LtinEaNNUKeZaIrfmKSQt687AScoHbWgGqFO1bbQ2fpGJPbuxbq/RqFtBqlEsQJR//KIReE6QRjeusmE0fQujdwRok4c5AhS2EKA/bdEuZThFwR++kqjIBNA6nQPN9WEuLN2lp2u8nf45H/Rs+ylfgH7fXSG6QycEIdm0z0YCOdeltiOK+yTT3m/Hxlv6vtOayd6tzZm4cDrm0eP/Ju6dgJY12JVwbXPCfaKIfCu/HmDvEW8AsFce+8+uMgCnSTFyVQ2ASK8zcvDnJFCkK7LTLU7EHBP/9Pj6q2cadxTtv/uFKGZKTXIN4VGstYj1UhdLMeJ/G7IHkdBoyizOMe6UgP6mgGEzqE+jfFvCiLUJnSvSK6/2EpVGdAwL95mrMKhlTazOOzz8OnsccQYeFrisv8drw15u5mByEf54gEbSf7oF3RLVx/FdDDC/p9VG11G/HsAaiRu7YZiJw1ZXmvI8jSjQ9bml8a7+QX81EdU9wA69VT72ZYyduDSKiRwSq1EKo7x0CtaCKqfCDGdX0hndSghQqDK2YT3pSIXHi3YX0cI+pPDz9pSNbiWM2Uq+TfXVO09Syq6rJbtPldjGNmOWczrNzfYEVfyUcjc3GpSEPQG5p/bAZbIwgOybB6qLNDcpnM5z+CGAzsWGie3LPOGrL8FVpD54pV1hXrJQPOpsg9Dyeei6PsjAjkqioYZk5vyl1WrLsf4LNDvRtB9h1TuSaXSnmDD45nCcwlolkQzuI9OMviW4ktlLcg27HtxkRybqEiMFaOkrVO1I8xrPiiWqE9lnmwdqHrS9gC/YAadGtsFH+YujrVCjjHGKAoxRNcQHvbOwpIA0d0H6lMKgBHhZTJllTeSG8rdIrQYhIHTzDs7qdal3BaSCJ13ht8EdPT3KUpA65Y1wpG2kZ6Z72qSOcFkGnnELYBK/Ncx6Q77ZD2OaiPHSb1c+GsATW+Bm4eQIEw7ezG0A/aHpiYBx23kfy0nnEdKrr9hWOb1Jh6glpmCDpGDsTGHVhzxsuz31AIKAZ8w4F696pPeaKvu/0nyKmdgAwoYO63Z12bvrOolrXgx95pry4okj4pJAXBz1v+rmTuulDTyoSowplRBsFZcIDFzN6WsFNjKqyYerwYNkzUke6RGecFk1e4TF02tJbka1e80i0EydSfG7zVYSYwi2/T6xYMdUnx6fCjetKciH5KA8Nz8rhJCRu/JVoC9qMg9YyJLlofCDH0TQ+9Z7C8181tTCrln84ORVH1sd3wpYeaXvZabTATjr+xCNdPkNP3KtYNXB45KyVM7slifCoHFteGwjais1e/ZPBjRx0dKqn29OdRVhkfCD0xltUwVNp/G+bw4/nrs7P7KK0r0t5p2oDR3ZGN0J63v60pyRPY/ununfWSK5K1jDCBGNMffIUIycIK/mZW/SwA3fS1G9HxLoH1Y7Hk6NpzG8lsfXWCVG1PVqedqq5t6VsBs6v+nqsBwaUeLpPB5Tmx+aD5tCn6fjo9huuHOCBLOtWedbvA535vOGid0jUxyfq36ZaqsvPwdmZYqB12KQOuufB8044OJyFmgXNaWx7aHVyejbCmw9f+Wc93qvrfA0SZtBml/1137x77wSsYVImTzDu+b7gJ187DzHdA/3/+pE2wP+rXa8fnyVxskpTHASdYdK4akxIeDYgoRaOmuCPlLcz5xNfHEFK2POAzNoc9UU8s4En938eaUl+EUSVnXeh5JxRdDlPGdPdPrPlq11dbJwvwhHpX/ktNYnKUQ6YuszBhEn5eLn0CBmnzR6eVFNmNplop5+TKkh4ssRXnfW9+RY8ebZEZJficoXd71DwiGB+Bf9zvZMDfNd/ZSeh5z2ECWoGtVUvmE1QkGffPm34x1axc7/Hi6+M23APbcYoU5icPC01bY9VpuOBCqTJMqBtg3eLKYvg3yLTKjHnlWq4n5CkUl7dtlH5qxWiqjotuqvWG75zz/W9XDr9fEy7nNgK6cTtdfYktQD5nX6piL6hZPe/PbsaATB8ZOcDnNsP5JhljvXH95/VmpHv7FHqto78aug/4jOFUsH6ioAk+uENO9hmoN5Z4ZYBvmLzFlujKuzl8ROi0D0B60bguGxfh+t1el3Xkk4U+/0RoxklufA56fwjdgj6QzCpee11Z/rgK12bhWA9f7bCHho7JHLK9HrpIyQPu27wYuaR56HZqGyFxeJHxdzkk4ixUbP0c8rCBcDYqkiqR5iDDMV7y9r+VYkYKzpWDLO8GTx5krgD1QBpzBsP/8Tea3d19F2ivdWc2/h6AQQn9YQ7nBeW9qs5H7AG5OfqaMesKbvdwRA762fLcY6NFxonzsB0lUlLF7zxK6kx95bYewe0uvwnVp/rv74z7xccXXn/F7aaR5Lh2hshVNaGnButjemeKAyLFcqsS79MylZUN/l1dHFAlcxu7Po7IuMP9qllFiCsA8YHx+ZmSV4II0h3p8US/eHqkEN6m4HzEJC8gaJBlVXRq41E4lPzYYsTyp9n4sSwhzotIU+VMOoSftTMolyT2rRg9mY3qsh7pDzzAJ17m1I50+9/XTHViMT28RO/BkZOiAfpPxKxu5/i9yLe7CvJNWOsV8hm0njofFKkdY393K4M7GYZq9VWOdzm47pm9XHTdTUw8H0eITYrelEFCW8NafYXn49VfGRGJG/s3qwT6X739qgh+YDz0i128zK2dSd8YTYbfA5O9HxY0NewdEBlCvjNxgFsRieqFgYzOk7oAZ4I/6NsdOUOQ2y1LvXZidOucMoshRKBMzHwjYyoRQzloRvRvIzkbwgngIjQJmCvpMZPjV8Rh/g+4fLPbIiIVFtPbjpISmRhFSzOFylEomuFUrjrSkCvyGpmDeHdTBYtHVghQZNj+DKdFylqlEGtKepLT62l2RC+F6nq6Y70dod3zwHl906Yhbgmq6SlWs9+cPb0ZDpTK+80biz2almxAHChzA3vRm/3QinZwhz9mu8tjjZ8h3PWXgXPESw6+fWjzDe6UIb5z8rFhyn7feEnvvo89Etzj7A4TVw2GzFAp7X1fxfNnO0354Wjp41q01gsNS5esfIwtuuqZNsO2Iqxr3BNQyah/HZImUjvLtPbCDP2LmvCxLbErRU1IkYeI64azWQut1MJ1YFpaIxnNb2f095AOeeT0TTtvtRGLWC9D/cywAQ7H9SC7kDql7iMGCBdAwCEbgjOfL7n/QCKoVP9dUUT9+f+ayHSvO5+0SbdIMrcBUoDVzw+UWKYXeSIo/O/rc8ebY1h/TSJ+8Ff+qHFIb3Svtj/UJ0dNtPRd0ETdZX8/wOln4qJGfeO2w1/WFeIWiUM0pnhqxFwUYDzUzT/BpSq6aTZS27IIVkN6Uvuitt21JfVcNVrWjWeh/5AtWU60OgAjx0BaRNos0IUomru75J2ytA2/uEOBLNksLjoXvoYK2yGyqihnLzB/vqTsC1G8QIQRUBiDHzrgKaAi/3zmlL5esks939DYkeEmG0gXqOBPM7cZqgYsLzi/HYVfJiiGQcQvfvbIQiPB6y+4zQf3WRHahAmta9BhnSCw/ChvLH4Ey+er/2L4Vg10f1l+q8U13pLmR7SnwCPF9+5KSTTh+7C9apyVOO1dTfTCcNJe1TMWD1ZqOzJMRU+apYkhFsFpxjNYaMMYZxkNVcxnncLPrDPOpXGakSWbcChPt0MOlZvWiiMNGk6jEaMjwA079zLlUBu4x9pgV3ROdwhek3yQ2ftIZpe54ZS/HinybLz6tam1OCHrrtlxe1sP/lnb4ApRq2jfxhcZuaUpPlHBI4BveQapxgcMyW54KgoGpCJYitkLtz8lJ5dunAI0g/vtW+zNPV78zZ9heftoUuUZOCl+weiObCHC8eKA+CJsFvldMzhhGVL4Tx/Js/AWKl6SQX/EjNbjAiWL85CtLwLPgmSnTav2BV/bMAYsvnScAMx8NVsFY9LNoPL3GE2Ky6t2Y6MgwPkHVnIP+kvpzMvk6lJkodpWXsY84rtSGh7OHncVnRJJJ5y/wCmjw+6zDI8RJgGQsZrViKx4uWthEBwcXWL9GJcWIWzCSkOlVJFGMx84Tmyd01CvCiM+5bqulbBQlwPJOGW1OximpJcXBTDbf7tx1zjAkIP06O9IVivswteLVOSEKGibsqVddxf3xjC+VRMAVY+I1sGzjJny5jjE9yRLf9rNiuyE6F9GKhRphTZBVKcsLCfnpfBWcv1EnMga6YgaDnxrKQkB9D+ReTw3llE1zAGxfs2Uoc02WADFxhCDxFkUAeGB64u4Z7FEwl3jNHg63fJnYY7Di0u/e/Ev1KzrkgknKNirRHiW8hVF3lURekjWcDbOtlJ0ADEsuBF+Q2HA9Pst4mOZOLgxkZMqpKA8DCmd1yVYlBGXQJRe3p6AZ6gAtOWQepgmjktdLdQd1/hhe/IiTFS+HEGOBDAOhO5WQt3HozogGLpJNqF8WCbeVra7Nbbt2EdJ3OQz9fo3jE54lZHBORuaCg1PErSwZRbBo2eGP4gBjQ2vXjGtvIrBsgxon51G6rKGpucm08rXuszbjqK1f7x1SzYORYuxA2cStwlZ0LkDWsvA0n//zsxLDZybX4GhXT+a+2E6B7LncjPlwcFEn7sBCMSPTfh1b8Ydj0wBsGQ7aobvHAQ5Lm+0lE6AMvTHyJLjWf4I1wlCi1R6OfXVCqD7M41j59qzSEYuMWSrSjAsTLGcPRl9LYKhoc2PfcilXn1DR44C86S6ls//WiTa2GwYMQWkm3Z8UpYVUrtn2TAIzXmIEX+flZ/I9Nf+mvg9Re9Odtycp6+kzdteuU0jUWzX/eUdia1J0wMjzWDGw7Ml6/NJx5McsdCKLGgPLINHkK9SLzK+jtDExloWgznzkqz0CvBUiaapJlZSvh6wQ3UoU2l58S9Mc53S72pvRaYaKTVQyIOBnSGqlihVu/OJY6pjY+agkWV58kFF3u2hJHo1WpnbOXZkqZeGyqkTjyp/oi9oktd8fZrGzSh9youd88rgZok9fsciGv7FYI4L8ClHHx09vLVPL3yGm5jnKF3w+ttbgB8fHlW7Pe58HxutIfMHb7T/CNW38IIjAGGN1DZG74mwbcOBGvkcLjnTxKcM1o59R+ag+foZplVxv9J0y73I3XVkhnMjP5xzV+yYfmd423xtwy7NTvkOGNcza4nWV11sK9tUOkkBiZ20OB5WvIQnRqjh0i+amTRB9g2xK+37eZcN5ChJwjd+U3GC0xtLEBz3kb5pS42dHNjeBLhOo0AV0ct0bjDO+G+ggPeWWWB/5eqfOlZAk0hK5T53YTtyWnNjH9Fk0OZfJx04PfkInlVaILLqGyDJdaKRONCn12rY5zPxKoWg+8YwyfyBiUTKUJCA3AOTcU2OYAThNfblj+MsRmWeMsaRg9X4ZqpygVtfvwXZqsX20dOqU2W88lBcGFhV+5RvZPTgMz1fTaE/PP40wPtVKNeezk8lO2T20MAUwI2SlrfmwkyIAKwbtnK8UJeO2afnR/f2vj4gP74GioBcVa5ZMsML8npIf91hThD2Wsh67USVuJ3Dg1Bt+pOqYIVooKiCcvGyUWPQhLy6SfizzHbKakwmUeP9lviwtEMvVZO+5a/vU5JIErj5PFB3qEfCEiKTjF+u66rk2GU7Wh8xJ3UEi5z5nK2W3ERB81iHT11DUuLHTOt33ftF8QAzjFuxi0pHLZooPW6hIhD/upuBuRDRVYkBV/Ht7IKwO3jp3mfAVKUDOy14La2pwAD7DZAKt8h5YeGkOvS4BThmd912D/YWMN57Et0AJG9jmLK0ilg9uOe+1/PEPKCRlX5WYN6zS9rplC9gdlIMNrfHoaVOKJIl7G/O/xn6oQnDLB3iwVfL8gkfKwbETHnHe5woFDTwvbzE/rH6995o7huBHyCYICRH++yzP9lg0izVtGpYTnhIeWzpTmABQm7rtH938IhanIYaAAYFDV9eN3fQ2y6HRX/G5Q+UsLZQ4tE4S5pj38V73saToCGOgjVtY3JE8tvnohnSiA6a9XdGT9Mx3Xo+5/zfzpeanx7NIHU7vwIySMiJ/XblI3AeYVYRL/y5ydRuU1JimfITiu74id73+RJVsPL2tMezEgv9BdDx1STI7iDiIgkhE1Lw63AxR1YfMKNYyvB3ns0lk7EDUX/anEhuBQavBERTwA/j0Ys4jdQ1iT4+ZtnY68pg/jSFVWDI/MWogP3kYofi9iXIUqBvTmc8/ET4SK6Fb94ci2iy8ce0kCPHO3N33wUXNqA2yzuY7V75ivrBB6F9jvqF+YR1nxyTEMAmOkbH9TIZ+K0NQ02UEZUDijYI4toIusQGtKhjlElmDyowVCU63hreXfxvfXycEnFkt89PZNpiUT7FZf5Brfpbx/BzG6epTPCmDGol8hWFwfsJiEqX3DWZNnozuRzXAXd9v4HplylhIYOVlwYCjzHFttidmWeVMCWBgahH0Zeqb3Kbf+Ivm9rSjaSLNCKESUXdc3iX6UngPlgZeWEfqOrsr0Cm03E45Elw+VF3kT0ogq/Wre29X7KDihER5tjyzoI9BOqyHQ69q8V/1MjfktfMhiVfuDaxwtYkcDHL8ncwLbLe4VUKR/CIZRI2zB3X8VdZ7U3ADkUZY80AaAPhZmFDEPr9x3j1FUaZPRxnVNxCRnpW+Y5bRFn9HTxCbZNvSNvDe0jkJjaRsptOmpyQLlxc13+ZDCNuXK/uq5Mg1FImGrrkOA3EUxOc9AgyTYqvfzicdEAM3xs+i25wmiqRF3NFnAmDCg3fYUdwkpsBzho9tEZFnjFu35QmHBHLijr0TgwlyUvvaxlQHtQgSWvQHmOSZozpQ2WUsHJ1fbP+/E1IY97fz8c4RfKsPby6mt51KfAD0hnNJRSdOPb1tUfBH1dRf7bC9JEITOxcTwhclW2KPicsHNS1iMI9/tpP85ZDZFLhfEVfopMLjg92BTRMMXup4TDlCadlJq373ftuq1fEZTGyfpQ7H6zKdoP/PH1/1Dq4h1Rqwe0qph68DxjIRgPGo3IwdbTctiwyoEcSTQwa7Acm90EmTzYGDG8UpverSerbjKT1vL8nOhrx/5lpXvuety+RzDeC2LrLJQjYBjgfYShdG1KpF8FB1/j0PJsDS+PXqBnZrqBp8WMiQ9ftfi2N/0EXKOy0dPKoTyMMWSmVlPGpRpewaVdunZtdS+YeFn8+8wGnok37WyW1jSyJyJcR2/V8aqtsEHttFWyy3l7qGDhQYDGu4oNC8pjez+rzVUkxLm+ja22pc5o0Vi4so/t8OLORUUfF8bhxL5ScM//U2l8z39OJW+HDm/ydoDINkzYk2pcRYtC0YjMWLta360JLuLic7QzL+my7DXy+K9xiSdl16h/MK4pwUMhqcrE/Vh/fWSZLalTdsr90x9+yw9kIPXfG2sDzsuclwRBkYMbiT30Yfzgpkp9RSsMWF3r0ssTw1j0olHvI6b96gNCBvFgGRUlYTHSBcSc8EX8lmCrJUYux/mxgWYMHuej68W37ZEIGeS9p+bpsGoKf4Rx4op8H3EPIbv3yDqPc12YgI/9NE+LXY38ELiNtOnPLLefaxGe0XkM1dd6r2aegDN/IESWnJ0SYItMkpi+3uEQRjJpzUhIsR5u9QitlZkaCjMVTr/2nHyz4rtucL/h6BEwiC+PS7yoVhHs0lzrF/UPb1KQmm/XgGSLcS8C2XxPJgFsJQFIThR9VM2Winakdk0XPGgCaFwFT4Q1hDNsIfGSaJXeyT8nAYAulRplaEiyFuQ/X/Snf816CmgsD03L3738CZvIdrSIfZATfn+IGmimj7bCiLaOQVXoVWU9AiwPjKCwaZDGkFAV5uha+UDZNKJC7ES+J8cTfxWLU0ejQvkVkP4U2O817KZzOVEKoxPITA+1Tal/GTpO7CqFncNGTa/GbN+H0RoeVMObfivGpimMw5cDMX68JXzTvV581Hi/aWXc6xS0BAlJKenJgqULSF79n5EQghHHns0VRpV+TiIzoBeyyUB5T6pp4z4hTVzz9q9sDVuIvbBI4dKanxerMkwdR1piWvUrusAXCscIOnhEhl8QRIpjHpV9Eyy29W9md7wgAcjNRZfFK6QbuyL4zwoy6QVBMqcNoMbajNy/mTW765rIQLBk6NQlE8K7kkgIu/dnChy91Cj3k+E5ueJQkYiihEk9siZ0k2ILBshrAe8J3jvAWwEMnK5/DLV39aWchnKiBFbmwUHY+G1BIfqXT8WPysHtC5/wJzVF6q1wYnKBCbuGMVW22eg+CJJSPbZKCu6I9GE7oiueeKAkujtovh3T2GfzDUnbz1ASakfUmlghW2ONomI0+62xv13r5pDg5srAz/33dhDRz/4aV4hiXaHlM9wspOwitA/9rVBFv9obvVFId6Gj65Nq+JgniC3KSKELySLmaexR9b7kq67MTjOdtGEsBVxcycHa0yVcNVybPIeQdvIKjPDri9FnZS2tbIvvYCojBiYr7jB0RlrJGyWr6vVLbn4BanvgZkxBZgamXDCDrfgN6+qNrqUb9TfneQgG5cOrflLGSClh4Rz5zdK09wyc+iN0SbOKBHzXfagYwxspyRZKnGcdDLzkfhC28cgRR5gbZMdusG0FaSqTdO4Qy2g92XzOL/nIYmH/1gX5qXb47LQqI7lGJeHMyRk04SK/WKTKarNNQou0XjzLb3BKUnLsNSFK9fMb1WdIJVKOBxAnS2kJScYU//H1rGIlL1uKVN7YZpzSM6ebSnert3sy72HNRWfIq0TPAk8AJUi0gl8h872jGfKHNoFsnNg/lnXxpzdJTdVUTWU2BXf5h6EXjatU/EPj4tbWSvg0g+voaLuYPc0AJbDST+N/pMspRSxc6j3HnXeTXrKc/yTAPEu5UXHYTLdRwzetTbI3kRmvxAEgJULeuqDJx2dOa6QtAay9A4gVc8DVa1AFjMb1Bb20HiLe4c+d0LsqBu2XNoHeiSZd2TXGWlG8/S9NKa9yoqS0VhfwJEzCj6GPg6hW3Pju5y2srmNit+0r+dtrYwAVOt710BHmYJN438JW/BeMr67uGH9tPWy8aVZ/3voJ3J0YJoFzyuGd/WNTmGPBUfmc7mrUs+ymUS5FeoAeFo5aEWjMf485szfj4qxjw+Cx/wOpQiG1suD6N1F9WZQJ/U3VwOnjpENKicfg8f1NI+BUI1zFsgY3rnj/osCLelfyp24s2ggOfvNp+XIqRfVEqgI6ZNI1U5TnxzKXKdtCr0MtHfKjPFfR2g3Lh4Bxgk+0huVZeO1W1Cn/rm1cUBefX85Ww2GHt7CV3wOYXGpGcXO71ldje1Z6xHDvbuZyrc/C540L3XeENnAhn2a/e6EhDly8rdRipmYeUA1t3/PoIebjsM/DGTC2d1aj6jXHQ8/eLRyX3SeFfwgRw5PkPyB9MFtwzplxXwGCH12x7pE0NOGe1IEAtl6P8CB8/DPDVPpSMjlJrNrOgVuHC7gssm+eng09Zym51kVHlPnu44HaRN/lSn94aiZcf9p8G0WaOc64Qvkpo1lQiesEyz7CSM9f+CSeeqxGjA5u/rLeXEvA4pSwGgA4X6B22++WtzRbpU2RKktXiUaTWLyII1SjyubKiaZpYDvgN+p8jh5uo3Q/cOGG2OjuhFawoHKy6GkekjoQIZKqfyMgQ+dzWyJHXdKH95u15Rt80NOWkbpUAchNJq+rix5TrqZo2fWHF08NhDoZuVOK/b3XFOMXgLC99qF0INjKYB6a3VZuk0MOPmWjNR757GTRLLy+94y5uWMwFa8bLyj6J08vIOaX2lrj2DBtekSXDT1AageBbV5G+BkeYmTjcLHeJ1LruMqGgCTwRyp0q92PuGytCG9z2kctj8ZLYfdzFy5RgPs2HpdfFcmfso5g+unNsvb4Tp/uYrQDEVdjKLGwFKSRzubqF3kUNtZe17Ln/LcMu7rgVIWx1B0FPHRu6YWG1TJ/CjGXxJI02+85MQOcvblQHn9GhedjWJHrkBNv1WJxRGGf/Q3t5ofOmhq2JdlBOR4r19yLsbJS9lpNUD0w4tqrIHQ10b92wdIZ4+eiGBzcYCus1MaEzZEkAgPRQJsIwPUzn5vl5cenIN2rDB9nyq1JWbKZeqpdMxLph5dzE5kKvLTWCaQs/KIoeYO57yXN0Cgbm+El/3YUr2F07vREcn1En9mpZL6qXWvL6cMtCytutwKIcs/uO1Zi33V1tGr+lemncapFpg8Uvv9iwBw6JK1vgsqi32/Y7DMVngDFqopqpx3Jlm4eiWCoZJYAZL1EZ3lXDptvi2aXP3r9uonXgIb+CwSrBgJSFsrTEvCBIt/gmG9w5BPaOz8nHLPbNkr3TAOhyi6/pVSsSsqAhtNoUjkDYCo0fnbSqPlps5dwhGo372ZaCCTYTFFOV7kTpdKHZhUO8X+Oy3r6KOkTcSlBRAYpvii7Taj1/ps8S4EdR9izP8FCQrL21we2KQD9Bj/b1grO93WYXVk6VYNzmQu6GBqkRB41l89/CJ7x3MgeM3ZG5VyDWmCOEIkPR0IE8Cpxtj4R6xrl3CM7eHVmd45bgM8pWDDuOh7QC49irJTCGIuyOD4U8ETkDN9CYILGPHCIaXO0O5aGdH5g1zYwzgZpbgRXRn+fE0/kI6VyN+L/n8ThXaU8guSDe2CknxBXQ52PFnJ/GyE9Eey6S1U5k7wBrhR+UoQLPTG5uJw7vdKnPc0H72chmXRENJSjoXZurbx1kr+6HToiSyM43MxPlzhFODtrLK0sN58UiVrHBZQbRlwUEZ5mP9FgPFLxwFl3GFYXfJD0JoQh6t7inR+AhxyvmXGU8o0NgksKfQj1HR9MNsDt3r+5zvS4i40xKBhTnw53p2Ua/Z/CGfwStVygAwb4ASXL+iOx50WTWYIxTZQ+G0TAXwis1T4KJj4+/R1qpR1cX3WgobHUhFqxGDO1GQ0ajQXg4NPMvsqH9wSaIPFF50Dobwfw8/uzvdNjnd+Jb9nhyszdaOpx24+a8rPq6Bqf4z9ZyID0y14NKPIqYHvOEvTKciR5KmZCePcP0uoeWr81QcnRSw+f3OBWUbSUaybFwriUQABmwVzs7hJALEZN3khI/1TtdGF0vpwK6yBhGzsOGRBlG/lW+NAt/smD8UYtzP3z/a/ED+oKJ4UIpka5aHpLuZJg5QK6sUYNAgBc0Yhyb+SCZaOm7evMB7rCpn3ycrOcxXHWssYH7NemEnPDY24ygxiA7D6z35Iq6+3kzJKZDHxkwDdAVs4bL59IZnPjdP3InH0vC15cIUTTLD54Nz7b+5UnbzojnKeIMLIKDuOGnPcobtCQLWSjQ+JjRv3rUOVxoiohk/OTduEHwc7A78dxWBkbs4s0ofyt1MA4rBdmsJOPFJiuXv5QJ3iXF80Gg3wnp7RCc7pn4+XCH+pnI2v6nM7ZwLc4+FJTkmDmTpgDpAOdAdXWdFGHwnOl2TgbD5k1Qwd+4LmEEjhLXTWqvMLwF2mrAPlGIkldSGCa+wfGS+dRgKS8lLEA8kDfxcoItjMDUFP2JZ6jfBHRy7TPSshfzgTo56/42E7SHk8X5vn6UHsUbLyJbpkvN3nuuAdOO4lGIvq0SjGRwU9X7AfxW8dzlLlhXj580FG0IUHrXomBoCEd9xW4CZt0hc5YdNN3moMwgoxDIGSPEUYOgTvF54AT94EeaYAk8qkEDdePRA7ZBB3sfgKDwhp63KTT1ljLx7LaXCiK0fvBX6oOVgbFxjgd6vEiXsmYovaK7Fc2xMh9J5rKfdv8WLFPStbomRsiCz0Mg4bNCI6eeLqdVieGa1q7oB4/CqHLb4iI9b3GmTKYvOuj0WHdmWYUnCkw0iIy865ohveW21j2bXAN/2V05WT8Yp+EEGCwdrZuzLE0ADxIeo5Ra3HFCCtB+IeXW5Y1Y30/zGVHuUuhaoT3i9u2zvNx2p9QcZF8BTMfOqwxV2zGaT0cNjKOKrA1p2yZ1apbot8xBwGRRBr/1EGGj6WncalGEyjc4hFv8+WdoSNxLdYEKzrNKY9cdXn/fkyTEoDU/s8abjVc03FoukA4YDUZqSR0O7KyIrXu1VRu8deMxpD5sM0wpzliPZNiJyxfYd+e3KDRFVSUGrO9xJfn8xsKRIonbDp6IkNWu6HW8S2pBkHRTBGRLhkwcSR7EdCaRZTpkwTvAOpdIKwXPa430g7UM/ui/lhzZMOpSWo9hIcw8qVaLTTAa+cqC8gcX2IRkyQJ+11UajTJim1wRT/mBaJu2usphQRdX5k4QpK5aSVlvG5sZRf0vhdeiQMBvsuLx66jmM/uUXfL2LoiFAY705pecCKkdL2M4Xccqx1+ZBxNWLhI+teBnU7e+Vda7DB/O7wz0Dmux4iw8WeByI4t4/Av+Ni/mJuXPc+Ag8W12U7OWHDgWPAaqs3cWLHlWNVjKdqfOHuK+zxl/SmhgFM9uS+Gm1Lw3etVYYLkIJEYky4EBTNfkKH7+KL4eKq+C32fY7sRrgo5DDjDwZqmT6iAnLMP9jbI4DvC1Z/OXw+X6GVKBp8UZbsY9jUNTizApyxUhoSRlEj7y65BUZHkYm89vKHiHYUYqFI9zQtTLtgf5UJuolCsyirViwkVqyxSIyjF53ftZiOl+3bgTU+kC4nJC/+uC1Gij1LRPprpjeTZypHsyKJLZBN9UwetVK1Xou1qZpq/ZXTJaYPHXC5PxYBS1dvVQxN5S+naHrBcVOQywYF1hP0T6BgZn4Sj3Tt4K++Mw0aQqPy7tIO+Y0PIGFrGh6X/9C9mlcgZupQmFPFjLPOg0etQkhcp9lDfYBzGPSlD0cOODeiiUUJni/Glgd+7m5rqC24RKU/DBORA/FfnlZ4JsMPgAe3aED1c6NQfdBs032W6giS6fpmsmhMA/1Jj0AHhmPMXyr/0bWsDMZjYE1lyT7L369XIefKsCze+R61jE1Hh3EC8VWopFxS+AZ0bOv4HKRoy6tFR3zCtaneYIO3vF7+PGN6Qv2upnoAi92ZJnyWGfzF6H5QbLYgubfZQBx2CaCUK/McknqnN1GyAd9NbnUq/lxYzqEzcImqWukv7VhtfvS62TxEWbjVS/IS6MgkxThMDQXXazKTub/xr42HZOIhZZSHLOHP1orAmMXo6mF8aO8JbcK17yubFjLkHwn8wVcO0U+rHJeO1SEJlTDnasLeQhjsoNIVEfBoSiab3SCh/zCt6qihBcTtrp/njL6gj25VKpPyqCTeiTqTkX1M6fe5XTQRJs54NKeEbt65OBh0cB2OZOL3nS9YIrKt01+APt1i5nb+2lUnIhWn2lTNIP4U0XQeVJjjngD58wcDTJgWu31WJpwvMRPe22cZG27HCFyXm7J1H6EmaubDqZWddOPpgMXHyaUL8iWJPtG90GWfFpIo/6/NSvyRsWqeE/nJK6UdhTqvVJ4xU+vTdDjs6RjFaDaXSTKI/qlaa/z0RwLBjXoghj38bjmCVxu2UVwo3cHM3rEn4dUhEjMeAtqVDR+rRyxtWj3yhZjQI6rA89CGL1Cl3ltPkL+ovzzL+RzLgmx3Hh143LNB3uIX8R518X4oZ+zJeoGOayXtRctkMWeN++TiWkaGXGbrisReDeCnWtQ+B/cbwHhIbNZacGVEMpbr9nuaFCiWXBaNO3gkyRMuvwe7yKIp9G3nVzRd5ef1oOe9TL3f58MbDPEMJ0trXxPVas2YoU4SxugZA/EQtnJqL6d+hh6ZYg+EGO/kKn+6nwMvFwuVVV9cjy/op0HK9BRFDWiNK0xh3vdnk4lxHwZCmcaMtDrZ4R4EMCruWyXDeFpDr90Ee32nUJnK19ysVBLHbdyYrDUnK1MipNNlxnCtT3zTHHxNF0d4PMTXTXiWwDPXe0+NTrvLzNFFkehib+f9v7nO0UsvpAkIl0O3uS6oDbubNyGayW3hNtPkbHpN6b2+6FUlCvzJMh/gPUGmGJi6xzmrnte/ZMx3LT1leCnDufMP3P/zLHY/pNv0wLpNW5H1fJP+DEPrtaQ33qwuS1eZGZS13OjPu9yuls8mkNauy/PUJkbSOWV9VTjnLJ+fZSJdvBQ1DCCprdZDqla0rEJTRAwWr4hLQK2n/zuMfkwXx6kTEesa4EwjgRbipcu6Eo/ndojOAFlTtCGDqOaLd3UIJwdsmh3brrDxQo6Kz44rbKx5TzAsm6/JQ9J2VilM60ei+/XwpzA6EJNB5TeN/Pv7aKDwiLrYMd6htnubQxPJB3y/yVz5gikiigC7UfMzviwUk4/fyQ+r/o5IehCSpJeIEZrkg3WSPmWkyOL7coUllN+kHXaeyHWJkckWJOLblxxzb5HHfCA1mVWIdWcj6ZJDVn2nlQOCSVcZrMii217789B70eL5KppJQqn6QvjKRVN4gYo9uEdyGsJrGtiHbG3/q8QjStjQR4rUApLcBf/j43i77G95hNIcvqEuCPYD2Ut+2YyyC87/AcWE8kZYSanwEoDn753Ons0cCROMwaYOqZGswTFDGa5SXeMciFQ6MTKADq7Oa/FiuhKnUZJnixL/YAaK3NAGP/Bfo+Q5VX5i7iv7kYXcHGzboM1nKQLG6qDPo8Qrs+wfUBOi+azVINb3oEuLJ7GfVM3QqPxgCJRnrUyKVyU86PdBnzI4zT41WfYpPGdCqTnLIGnpsskohywG0XUY1aOV7FR2/AGyhPs3jvEWONq8GcsN8VSUR1KQGKTASS9UV27dR/DAK5G0v63mjEcQFvnN6GxQ4KZmtyjWreOec8GVhD+uLkvoUoiN/1eM4qS6umVVBFHvBIjkfp2nnI+MXLR7i7ySY1IuUtWtNbRfSOeVbFVzA+pWsdlGlaJyt3xbKRo9K0s3vZCSGVtsZVY4JvZe8KfoY0EA7v52ugthNy4yOMhf3euJGBDQ6Y3HH/f7CTHhTRm/OfDkr+JgovFe2FJEa18Hu2oNEwwpDB/57IdJqOBzSLxXg4iTxAsHRxq/adFE9vOtmv7B7WL7Yme1i8NbGqXb51lJYAkEYp1YkaY2b5tqownrl2KHA6+TxYdQFjQptE1kwpvqzpnIgLIVmzDRiYyaV+Kf0Ii0snrYgDS//Ta1vHHupm23+DBaK0/UhBUWuFK6syjIEhB6wrGQ6LaehZ0R3EizSR3LQ1GRGTkt1ChLcL6TtbcfiP2cXrNXUMOO0+S8PV5hh9h471kpWHlYZzSwA340aa5zw9+2N3oaOtJ7jIehPECVjyXzNaduuEafnwD5Tl4vLyZFA1ZRZn1kL/3Bh362mFax5M8hRJ99TxH4hN2rX/7lkBcA6jNA4i+yVjNSU92sJhtRMTXxsCZpu+EhV3vD8gsvOMKCUO5pa5sVbsYV4hFpMc+4sj/oejuRG4YrDtCMU3AYG+g4L9vUentI1HiVw17oJdSUY9yG5X2/lWJXNyQPCDI+rZ+YPeknkn2+egiz+oGRF+YJcLmPh5FCrd7B4c3ekGkJbjjHsbT951e/KIwLl6Q3tS8Fk0pVl10Y/5/uxNyRgQQyU4Kng7dYA0oStpTHjkWyylzaObWszAUNX8bJj9En58b9m9RE6x4+d5XGBvT+Utuhx4XVL6Zo5HcjSYWQlcoi9yxj4dXKSJCRI/Ee4jGGeaG34T2HR2UNf+yjq8Whl59pv0in2eNnvrZl2g9g6CGgzhBgC0e3l7SSHLbXVdO9xHJeMEOqD/d2wv7qH0Rnhrfb30g3GuZV7Oy59ClxKY+EDffUMQBGPT38a0+DpxSGSyBjND0b5tF7GqxgW+Y0P5r1iSS44YUL7v1oBg/V0WjoiUiI8aB3GAkgJDv7giBL51c1JVxhaA8CvTRf5cWr+i0tk4veB9T0KEuynbbZR3s01Tur6tQfqs56n2D6tmmGaEojtp7zvva+e43a2QzivW4lMwr3dbwHr4DHxqckh3G5gkU0SKNUf+lmRL3ft3lhcOwKHBIefBItU9goz2a35ZfmmKHlLyMTnL/jTpAzgLukI60TILGozlFRaitSeXPFdUNaYe0hUS3cilmScROf4gCqePW2QNIBIjZREiVRvdtwq0MDe6Y8YvQLmg35c9RvkA6rOcfnOGEDdSx16bIZuruaJx2+dY3HktuKP7+1ZYxbgb1XWmLkPtbUNfsqicM+3OqDi8caHAqtkoXTATHMV0KCRtbz+M/PTRSzav19XZjcbZbzBglYIWB8Fzu/mgu362zmt9o308IhoseFaYPGJ+tps5XBrWaz0w/RbfIQ0jRxC5BG1QYujNdKyDV8fI/yfhejKFk0Wg6EVl9WHqgUSZKhL2z2zBiBm1y/qhrJ07KWf9qMj+zfiDyT56rnOOU1tfaT3gRZtMr4m6FM/J3wEdg6pLUAAKJB9EgsHM3l9iU4XWa5/KM3Fn5NNeVowp8cjo2F5dpDfwfFnhYvsk9xptUEcN7j02MEB32tJHJB4/L0oz822mjq3YARfEfYlQ1s4S7W1H4h6h9n6KTWTBVqHNAkYZdwuzSpNO4Ww4Tz16B1CQHafHf5mfPm9FM1axem56F/zjahJMNCdBEQZqNmrwqysAUubaUn0PekEKcAbzbDz81RPfGUzknZ7f+TqfYffzFj8mD1yI2zrK9rBN1MdCgLuXgvUsjzr7K8MZJ53XmzTnq66WFLDYm4RAwoPk19qfNW9991p5weMqvs4pCPBD2rAyYYEP0ZqlQKQxtL+0wXxs7H7jo7ujditPU6HBo5BiKrJIAqSkM++HPCqTCBXHLyymWo37A3Jstv6Oo6a29PtE1XOmneF8HUV7R5Z2DLt56f+Bv2/ItpVdI+88NAy6uaxT6268fzmQhUWF9FSorZQlQ+tsm3T+xbOAUXFdy+J9TyouV9S+miPSGBXH03csxM8kl2JZVjohvTBoMwa1NE35g/Pg6alIHIkq75iVZGy2eradRGZUmIcYAYis/0VW6T8YJ5bTTW8wN0hwUifhq5O6/zagUghlh4QdDhRhC2BI0Vv5ZUQ7NkBAbwUFPIt1QnEFx1ejo2PsHeLxAInN+2cR2m6ZzftswJqAhku+tpUgoP42x3p4+hycf1MEutfiEURvJOVwQzDIN/vDz9j/XH94GR+cIH7WSKtSjjgLLKJx+8eBWKphRXML5qqjOL5SI56BlE/l2EUAcX5diVPiO4t8t8A8x1HMRqU/JJOC5p76wZQakiwhqTYpyr/JUCYlVSFOe7eRtfNwHIZqpYwmrlLJjjo82FkD3wJcUmJcGoSkThpNtmoEV88x92OxZ8ZapWmYgx1dUa8DFAbKdPWTJ8+CYqfO+1njZI/FGh88yVQiIaXVJRYfUHBa1tRkrrUXRYpXWmahAy8S8VP/bCFVhaFWuaPbQ32a81o5Twiu9XJWXIQAOWrgAZYxEgJnM7s03wzq5FWXInkfMuau8nnhPtg3da455PrEf1awmj9/Twta5D9fJDwYjKur+r0jfoB+h3FwcUKOiVnvQDkxES2Pd1SJ+s84yFs8t7bqo0c0EIHQqMW2XaozKyHyYunSK/nCIkgdZahkF5yimn4DyQwjc4CQ4M4Ic+T8SsBrmoJSZgwwi015KKh+L7uELXIBxqKYOejlMQCL0N4+jLbZnASeTGc9EE1H/D4U6xzmUeLxrETOklDT2jt7HmTU6zNW11Bh+7VUuIi9WJzz9I1CyqsNTQfetDYGfKvnDGm1CB4NX9cJRk5OyJElkD0/PZYD1u3nQuXKvVtP/p0WSZ2gynofVKFbBVMSIq97HtpjYBA36EVKFvCiMI0VGM+Uyemz4JwzkKRbEcLpvH1/tcPDBpBmKzAcM4Bh8vqItI10yZNa8x/zP0C35siToo4VnQ+NfGe25vySWFa256BdQIzREWztVMZaqO03av3UE1n0Zu2AyN9fsgOoRMNVZy/CuQXhnp3vOuk+q/PEZZKQ0SQjnJFd6zyFWONSyQyoQgMqB1dhKAUZjWmSZg3QHtJxOSFbdrZ5oHgC6W12hjavn4wkVn0F3kjimFsi6WKErG64XlpL6y3znyr9fbcmw0KS2IDU0WMtr8KN2oeqACYRI7QCPMIDFmjNWJ7wuCAEQaGD74WvZbfQCVgusnkIvp1kLAzAw3e4RUSHG/eoKw8zBn1vpwxI7Rwdxc8SNh3zL/m+KshyyqKllIAjSuDXkOxbQAF1aaFr1ZowrRjIf7B+vWj8ITVyiJ9+uCkVXfxdQ4/71r+bnTYCp2fV6OcX8i1pBkRDarKQxfKZ5XZV0YLIlvyMm02AqdE9kjdsfjbFjQKEC0hw9vsAs3Bzmdq7J3+XvodV9y2zjXRo4x5BG9iGzizLRdp2WFaALf44T/TVD1RHpNTXCX/O5YOU5KUMc2vSZScV3bmHC2y9vyNQwhFOhK7p7bsSYqa/C/EQAoaKndJeSBNjFGR30dhKOy+z2/CmgU7qKivRxlXo3fyQWBcQpZcOiNHzTgHoYNbWvw1er7YGhm7jiNqSvaf+4lsM7GrRcnBOc1HdcYGYWl7LwomWHWmQ0Pn+AcFpJ5ovB/yuGv5jsbpZU3PowsU9/aFM8xc4W9NJobDQdf77IDsZ0G3w1lkUp012uGQPcQ3hAeiJA9e8Ub42WHydH8By0VOuQRVBrtFl53Cs6e35N3lNhufoW04sVw0u9Oa4HFYdaYPgQIzNdXh+UvS7eI6lrTK6aPYs0pXhuHG+JYZKAJhlRsyZrCJ7j+uwOas5auy+biIxaWV4FxBQFEHO0mKfDGsIWKwiQg97YoPUkZBecpKQ/7qrTq3PraYKnUAUoI+zTE3j6cF191YBUmVsZH7+RhPN/3RzgWCvLcHAB2ylWHtmKwwTM3rbyn6sQNhJgQTIHnvmqBEByH+piwExeV7XzHj236AYj4yrUbSHeXGqzyWhJ7haX3nivLqN/Hv+0NAkrvT57WXS2oCEO0RE3mRd241frjnbGXSvs5rvtkXKACLWffkx050GojBnkX5hyhSMW1WmeilRl/vwizguJo5VsIP5fYgMQmVq58+TTZBiKf2oXDZ88fIT5+mfjjCWPxThJxPCNik46wUIRhVWlTDaXroeSrEbmHVY3ZhAglFoasXO5dtSXR7GqIkdl2YFgUMGY4t3w0oXjtwZHuMqrtoDvR4HGngz40bCsQnjZEFgtAd4RLH+p0W39EDV3aMufVJnYUur8lxwZQzYyuseJT78YVFBUTgj6wcGHKdsnQRvXdH9GVQKp+w1EvjUDcKzXJZ34h8CA5bHB+QL7pxoX1f+ArldXz9HyWxBpNX/KlD2uBRJnx0utiZHlsshuq4NTeEZqV572Y1coDgnBBOvy2ybf32ppjmdtPxJnOVmAnPEEpxPVMB93svyaRyXW6FnDqNgGcP6DyK7EsJlfE/w8MkcKjONNt+qc25Q8k9rk7gNkhE1BpgGv13UB08C5aGSEdMAyFcQgpUTZYPODhZVdGfyUzVqsXqi3QGqPx0tZCaDYOVoJapbLUGzjle9yLAEOFOZAJKdRYh1/+Bevo4xV0JXm67L4ciZ2WOYJrmF7Tq+8JdR190wPnFWmSQQAetEDfPyE8QmjaZXkEb506yDazwcV1YPAXsuvp/wspyypV8DMf78pI/mlSPce9oIQFtK3dRyxIxcFWutQYiT6nWQz75AZ5sXs73wkRVCR6+Gn0Sp/zxiqsXLeVdlkRQc2D/LkdnknkQguH8E0W7uKBEaYjWU6HUk1sODCzs2XvvzDqhyqin3CbONBK/6FCWSJEM9cLg+IWqgPIdzYap5qWHJo33Bb97QYO8cMoC6OUmMx8Licgr2llZ9VK1RN2w2x1BNgmPn75KVn3KpjymZZZc7CYs8HC/VuPApzAbT1fgSY8GcTziIOnVdUCM/6SzQ/i4xKpzPbSrqX2sKiWhETWQ5IDfRAgVMOuTb6NR9LWxSXH88qy05st+64MJZa93jmeil7xDczo5KiTFMcBozpA5ZcgTCebaItheu5K8iMenByI2ZaSCdLeBZcym9Tc4HDfqTAg5l2ZO5XI99O6ohgOsBQ/nXt9ML/iNYUIcX7eWw+OifUlJdJLfmwEdwONB69eTp1CfH0qf55OReEe/s5IF/is8gWEznvJe1kncej65DjJ4kIdjD2yGPP49JAxh8rvB2surLWvY/0iNEq/XEQg7fALEn0TYZpyctyCI5Q9QfgqKN3Pj3J0+YoMT553cSzXqON4t1TbFY3wWoQmJZcXfArcXQp1Eh2Kk2HBCco8cSx0azoXB50WQhrcvsGn0nUGvZkNrVss4TYgJmbKvEh++wux6UnfLWb/XmPadk4zLzZ/2G/wP47dSTyhjaHGGa/W84Ar+1naRCTsD+DkbU3NNszuTUpPoHwR1lTTE/1BfVPDiKUSvxzCoMgqJE31lM5Gvdjt2uNAnjC8fSfiSg7ry6lLst+7mPW75+pIszKhv5EwaKgFAfphDLcs5CtGUzYAai3fR0qFuh5umCZHufaWkJ82abyY+HCV65uFTj6GnnCT+V3imN4I2bRDDKR2mVQcddTwqQrIY/CJTmbzPhn1SfClZRMvBbq2laFu9E5cpjYEN5GKY7nrF83Zmknnig9B4dv5PT2gjpUBBDUgVQfxmlhu13RE1Ypek5sAV7IoOWZesjHxOFGCRX7JtgZvEV8V7iByFS3J/LEk9o9vjbtygdP4+3lqsZwlKV6XTdHBH7YH7c+qJ5G7MXotc6DXf8gbHvTWKb9Ro7w0jsYSdbk8rTJjInKsI7NQZLAw1scDbNRtRIuNxCEoMet9p2sg65WZrdF3xuASPG+7DM+LY0kWrgFD/HgMuXLnZYrpC3vkySyCbGdrdmhbXrf0KowZa2c6HwyfnhCmLSxo4SjkCc0g9Rs9Jx6GgzD/wcf70wcNHwT46kxq1JJOQdClSnck84zySHxKIwexTl/B22x6Q7eJZ+TmFsp1WZzgIdD6+wnW7wzjZbjMaFGpRf4vNbQafdneFDhxLvWpN0C2wcjCRGQdp4Da6e7KQ3BIfMoWFdy4WUXoWHvc9dOA6MkOTxHuUIE4SGGRo7Z9ebJ1hL28pV5mu3hgOz4W6hIUc078hd8KeReV69GoiOG83KZSC58XzdGG7XyDXbgHWea9TRR7sfMgp8qbT/Be/3CSLp+l36+KP7mYJSEbthMZEhvRfrtcvuA2LVZPYo1FAZ4RUEmD9VmYAff+youiTiHEWgwjUpdQHqrTDmoR4m2o8Wql6pv9VDAM/4UBz7IzyYj9fRuv42UdaK92i6sjP6+K7S74CuX/RhpLeu2AArNn9oXMobbv2EqtLQd7I6CNkxVHQ/RXv60ABpIMtDwTmjoawmcfQMkiUJTFKJy/LamAhmiYHnzY0Yfpp8AwlErP2hCnih0gUZ5Oe/JMkXKZHWRh0SxsgoQfQ/uCWtVcMgWPjTIi/GrBX8E2xnsU3OiyOWx4xOU6wN6XYKjdqCrxhcY/e5LUBe5fAm0J7ossgFsPhdA23Y5cHGVK2Ulla/etpku+UaXr/GKojMVEzxnAuP/g34MMzEFswSbjNzN4tSeIiMORHkoW6zF85yUIEhEoh1yD+JWkIz39v9S3RguKpwotg0lMkHi74gGJoZOCLoo3rkgqxVjawRHuOZGUTHcDZv2fUJgCbmJdDII4fA6czZv7jIvzfmCBYXIw8NiXXwGHWrMzM1IS2WrmJM00AdSS0nih0rUORizSx0CpofaNEJUIrs2VGKjlq7+Q1e91tHL4pYfuIUfsztlEDZ6GYvXrDra5qJ/nMevdXSK+A124+KYqO+JQOeJraKnMu+DSLBvXWReFCfbRZm3poTG/JH/H1fkhFvtisn+o0kph2FyxbJ1JVEM0p48cBdS2PdEqVa0hkJZBZULsKyQsCRfK5qC8GomqaB4jCjF6N/nEjv234u3Asj+dznlxDJQbVp7F2SHzIXb/7YCt0UyY+AReonrsb5SrlzP+iZ31C9kLFExf0PQ7XaHEJTodG/j81WOMk/NUOTILs/zegQNMWBhRqODVxps6sCRbkpkOBXLID95F0FDo9eAw8QyeeeLmKy6qSru6lVRD++F4nLXy+ePBzszUtbp7u8UDzdGA1zbbpCzeWaPmaUrUZq2nmGM5+v5Bg4EIYaxJONwV/vLzGtuvkqFP8hc1jXHbqXaD1dLEUD9eg+LW9nadxvrJkdrG1ykgktBylyP3Rlpt1D1wzSL8EL56rYsYLTLq1sq+wKOYOUoo3Tg+j/3YmBai1qTd4737hxUDMR1eaxMEnMp16n04KvbuDv6o2qPb9SPO9Dd7iVHpcGaoYyYhpasg6FPdBbsNvoYMkysxZw1LvoVGvqqaJMVkQ45vj/lFa+3/0aLg7xxTgFKK2bBGuw1bkgtszatCoklefNAJRcyh2IE1bOpWhyYbiU79sA7mfC/EpEpMC5iktBB0kB2VVWfS2ATv/iog1FsVyyKfHkED329NrxzpVqjmPYuNB5euCSFisOV4638I0+PPE7SUYtjH+9iJV+f6hTru8CrsdJE6ZqoRkj/MF6fWreFKY33XNn+jRKTFasZQ3bL91CPbsfUyYn+KBmMUsh22CEnmI08oYjZVLiMO6Br3eWlu7cKTgP5LUsFeflxPTCiPiTy/sIj056157PnnP3JrDKmILdVkZdf5fl7RDyBpClo/c1aqZ6vGkK0nIN/3nMaiyphYTeq5racJby04PbWVrEJWqtGpwaSSQA6wLhbMPuFUg2XAwo/tRW+toa20euY8MEaqWvAvogr/2x4h7/YQsYpVBzl5xQFzn7uhAT4yRD/ROXVwkj5BAGt/nLX5GAnV+Kyw6P5iGL8e0Wz5EiDvLIDtEY0u01UtuEnUcwjFWRRlIM0eWBuDJEhU7I/C8kRumWso4/yziHGYSd+KOuQjnHGjP+Dp1UhspxhtjJp0xWEurdGxZZYr0uo01tES29SJwSepZfErR607TV68jitCCT5hIBMNF1mqZq4garBOhuUR70d6rTJ1ogFc6TlRMScze9lo7Sbs3dcRnPdFxQpw8yG1TX/eKzPQVGUBJi6A85Vszytdz4ihyNqb26BkvURyZ5MIqbgZVAJphkA9BpvAoX/MHgq/qHs4XcdY+ZKMZg5sd2EQkrp+zP//d8kqv/pOZlWLQUOB+X/MyDFnD3z1a5iBa6Wr2Vj2JekF2baf9BX/UFnUqN44vEhQl8qigY6Q4/pTvDgGJ6KtQ+0imEgC62bn2FhVBvyG+YTMC7ra9jIbZlrxzf07nEgzpP7ioL7g35MzKvSTWN6knzcUD3n8GZAaYLZc9gOqiF0YB5/qId1jZtO5tB6tjHkWqUvaVy6rLG3x5S7/vU4m2KRcR38ANKVGwRFrN8+n1Mh1JynquyhJQ/H3d3Dg0/W32YgP6YpJtIGrmT1wMW8gtONPveuCPkIn2kg7e3GnJSZas4v6nbAxSOzM1qIV6egPTB1r+I8IQKwfLL4Bw3BPUic9g4HntJtFBJ6zwYI4IHIVYhLfDbVKRw9Br2NEpfpBRKvZGUO8SkOyirj93S6z9fthn1t6G8HLvCUGgIEmoT6KYTAL+esPABgPS419v7670IGzs5nsMsvS6Lw5jNhGF37wUcNLkp80gT8lzSEvA5mMEYt5NHf10VaiK5wn4t8Jr80B0RTZfm9/lHvG/hQlTmQceGBEuZnTqJyK/2JtC7S0RDJq7aT6f/THSQQ9F6ldqpkk+LrWScKijKPsaiJqcwMlgb/Ni3rG979GzGb4ai3lA74+3UU3ZnCC2h7TCWIZ/8GZ5daESBN5/XTW1jEhgWSREjAJ9q7UGY002yE5pOTRCfzl9OuY1/lmrT7OEdq3rZ3ShP17Z/sdl6kDcxU4+3UQBreitAfqxQIKbPAGg+K8UdbM9sey9/R+eefg9KRin+fNpHBYl31XFNB3Lu+PewC9Zu1+FSNEdXJuJAn5LOKCuL0sZmdKPZ0pWsrQdFPDXZjzUrSj2sXyf451KLyXOiavZySQpV07jsckjoK+vygZ6s+GThbinMw5l1TDAFFw6Qmd+FpguMTo790gbSY9i4/ntlGI3WwQh3zGPWED/YdP915Jy8bbFC8l1QaSL/L8o8tkHgUEpWFJFmewfwhdC1D0KFtH42zT/xraAUrnPuBYiBcdIhaEM8j/QiWIMbGlh7vX/uywreXFYwZccVM80I39ObMeHUS6AspC/0C+jFvHpoF7kOTbxN6GaqVc2EC+uHGPgybma/V1zvevQjDCyc0LnmEoWIJBF3AWBAcEn25Nm4W3i4C0v/5/x+hwQJg6plTvttMDtN+Sg3/HTmDregv+PDd3VsbP7BDVSwJ2sKfCelw89TcxFLMys6uLWKIAo5rLvM6vlqlMpc3iseUBlgRidt6VFFesuQaVyJxUM1zQpcmqW9SpvCsCM9kOpTmHHQ1rttjb83GaiZKAi3LCDTR2QY7RcYWtawVeKhIs8VmV3FHLUXlXPbwXeEJ9y48/sdNwEpI8bRPGQ+OJJlNJv3tGBQ58ZKiYZbeLuvCqzOR/8piYoXwrg+bbq9U7Yn2W3MVWSDmerQfXth4FmDCBRrmDYdiBDGua0eZhVn1YbYyvbosSh4XF7ug9Mq8lvc/E5TtasqmNBY4SKCXd0mPQrxR+4PEz8kLe+RH6Aw83XcJOmQ3nFvgDZVk15QhaIkirOJChyTMlNzLPM0fRWNJBe8VudVWgxoAB7iNDo5Q81xgsYo4Ecyh86CK/4M6wKjEbK0UrFWL2HpWxcFUu8XX6jA7mTQwNMNfilRjPbe+HNRawyvrVW+50VrClc8XZAqb6Ms8Qv5wUuD3ZOzX2zhMlAHeoqIg7VT5BZ5Ccls8FEiDV8L4BsgAE81ddq728YHs1w1MD6TDpZDKXVeIA/bux39MDe5b3/Zl/x3uTUy8H4eL5npAgC9kN+HOTu/dDTnh4yIQ9DBaqplrDM0e8QFxOqSsZLLutUJyhO8D89XH1Xtt+5cNotDB4fGJdrZt0D1WtbsbU/DadNsrvJ+pUdV8VKsVzxA7h8bhZK32pV0oN71cLFfBVkqqrllJF1kYH4DGXSWqwLgKWq5I28Yp0oepIBSqu++GYqFQzhC9czn1RpfuaDZj7+g8e4Hzl2ATLf268KDsgzGQrAP9N9EWDpBWLKvqMFrlVhuHOSh3Y+iTIHr3wmyYoa67GHS60ZXzTZCoMARY8ICRypomc3NhGJC/rwecYc36VEXaeFxYAG05NtyK9MT1utWv9EL97ItPYugmi3pCkycw33jWGha7Q34QriWeVw6/mxCC/qJ7WOK5lGRLmVQNiP9euiblXGqhmWcs2S06LCDIo575Ijle8Avz5UWskxjSkmeHBUlmL/ZrVTlHUo6jhEzulfUMQVXzDMZyNRpDRSoBrXkn1wc8c59BZfrzcOcoNeLBL3zImW2adQb4Sduf58DOusl1dGPgQmhT0yz0JEvpznQe3XdEjXi4BB++8VedqFLkuAlNaOkfXcBpVRiAPPtyHUKbUasYRV7AofupgKeOnraky1d98hBMcwkSy/rEVQZqjrzIL9BQT63O/1RMAqb5cDka1L0sHf1fdLFm0WPWjpe0Y5IwJHaRF3nosKQv521NTLzZSYiHOmDctHXS4oNlDJ5wYRTxABI6lPJfQi/5Dx+uI4AkbunSfQp/qlY3LzWcllvYgwNFZgJKtnDw/mOI+AQbkuvmOni+AEi9ZXTJPNnCseLaTM+2fkur/8N28Do6Fx7RPYvnTM0oa7TfGCbrPsBAsLTq+nmEkDNA7qz6WgHEFYISJcUQl0AFdgQodoLqVzU1Sn9bYuruRUYlbnzdsRYa7mZQ5/q0PY8jiRN0e+POhKlhHHpDgp1uxL6jaTPskRFfqxNrf/0nwaqqHBAj6Zuyl7UzSZ/u6KYjml02ecTfUxNMS7LHXXNHEcLexSTynUC0fjbLsBoxEWHg4LtOAF8eI4m9PSf7wR72BlJjwBaZQgl4HrixM9YJj0AoK/Rby0eHjcAe/a/pSoVuDETznCPfCMfi4or09AWTO7A0FhJ+hmMBNO8xp5pyulbbFNge07Bf/xKx0By1EyXy/6RUKFxC+nTkP6Kj5+PwveZX7qpxYcz9/PgtO3NZPxa8/AFHpH7NTjm02JQGtvf3UPs8rwbKkTYQhQLjxtYIi4JLyr5Cf10AhociHlbdH76u2YrfedppoQYRCUJro2Nr8trQ6z6pLaEB5dzYvfk+74p3h3WxDyYrXPsFhgK0pCl+DEYQVvCYOQyLwBJq52r/1bah5YFpLKHq6eo+enhECmlEq+0veC5nr0op46fMeTZs0mpdRozRRaD650C1UH9we6bzwnv0RVsLqw1Brn2gCG8hY/txCXhuHocHCw3fchYw940Yy6aRI3dyVN/wujCRzg0NRIH5wKqonO5IAF6Dod5wY/ABKBOfQl3kx83Yauetd5lwt/EpAJjCs8vrzzMDxkjw57T6yFGIqICSTkntxeZN13/gn+sLlMMkxLv4hId9+pS4Gh76zSEvubYOOmf9+V5efZ4aKOdYZOwfuqYZqPdtlsqYYv8tGjJqTB0rSVqObKul3s0s3or3GM56o3quS3yUIvrfwxQBBUmzAgq5C91otuYyqa1B+fiKPYq49i40geNthau4x0yUj71oVnSEbbw4BGal42hYu8EfuZX//bQwl/H8IsTVWdZVNZm3V+A8gXzUDZ6R0dVG3EIZLXIGxx+hT8Dho2Z8bgkXc+X59F2Gvi6AQh+2AGQ8o15PoGQDTc/d1j9+YRwOfZxp8oAlKH0AgTV4E5BZcztAXhO1GKUDze3qpPw0eG/NI1ZdCq5+4b9X/mc5986Z5032/HvjTlIbaL1J7BpYnpC3tlAPRPyeEzJJFdyHlJ5AwN4M3gZyMAGjF2H1h4GZQAQxMIKLalY4Agwc7mXVFgWzEIgjWMyVkRnZx9/4YemHegh2fWgCup3ktVALKX3ziOxk3//QBLXnkqwcv+R/PoQzdj2ZQkdmrG0alwq34ef7eZ/O5FoV7EiEGdI1z34jlfR3EaFRFVVuGpKjoSp/oVLTnO8RvtXT7DEJDPxOB22n4A38qUA52v8qiG/Msrv4hL6ry9EwrrutvsLcPdwTDFLJ/dNoGyrc0jhMp5UW0SBP1zJ3aeKFN1OSuQshgEaJv4dYXSTjRQxKGwL1VWUx3bFhOhyh1uQmhK5pQs/5z2Zf1w5kQLn0KTPDv6RPB4VnrKUoz3V3qKBZrp3EykBbCs5X4mpf71ti/nuz+vzof2xZpNzB2MfU+1UxEDI3jngEW93B6SZ63ee2915O5N+pxCk9eX/SLDsYYO88jSlBN+k16bHRoS9ValFf4lRuELIOGIFV1PtsxaVl918XZHNEQeUxjwm6LpzO/RE430AtkBTrnW2nAkOahA5ADvxmeQWb8Rq/XeFsXqd0Qld3UqPRmUoLBhxC5yJ6PL5g7LFW+rjma2TIqr4rbva9iNVW+oMLJ+h5SmUYwfRBwXQX23NBJdzeuC6j9LuP4ZytGWils1OWn0rElWeXhU7zZ7DGevUsXP6Lu6rHRmcfOiitGEhT9Q9PU53C8n8IPpVhkdGeEe8qEJeklKjxfus4PJJUdgZNNBo6WDLdFY+LMahnDbbP1erGNhhtBQKSsNJ+23wBl4PDqf/bUojnoFDFf9E2PHXmL7on2b7U+uVsMiInJ664MJVluUm+UDGyxdhEsKv9IbgFPVfodjgG/+TV9/Yomny9v67QBORwDLq2UmRo+X+2zlbiP9bKYqEf2Wh7b8rBJK9WdCiRXPGVcBWLzgRhf/VoOnTyFcFaG2NAOvh5jFfxxeMEf8/CyjoCnCLIGDo2sh7fG3AJwx4Ya+S6/vvLE6HQ31uEGFL+xG+F4ZbesCGuWQR+DK/cziU6VEA27PJrrcZAX2on/q/5xQt3QLqm1bZbyVIvKISwKoUb7b2n3H8AuLiNvonjcm7KeOmqPJ5bqJtk/7owRW5FS99Ik0hWC69biwd5xlGJGV/1qU9NvRL/FKOKcxodtsm2156SLaD4zDiNdQZX4LCEhnhfuz3CbIWE2viDC8E3GnaX7RKpRe/bKIvFizq6tiiOMGIv8enMI555Byeeko3XlwpjL5ZQYv8exPR6P1T0IV+ajTZ8QTRiMyFo6tXrpwUgMVysEpY/wNsN1Zz0jlZVr0dcfLgklcePLhb05AFb8+X7VyVCRqes30ikGBa24dtedwTYKzTkUNMtnhZo68kzrwBp85ZKewtqBoPWsVfPh2xk1FpJuXPi2NQpH2qnCb23GSid2V4/L1cKKLxB+4tIP7hXvuGlG3S7LwONvkI7TZI49AtahujmFNFXPhx4fcSVepu6vTmV+6JDB/7vXQjeMQFrVjHgtNFWCREXhR+GMFOHAOmyX/CMQbyCJFtxS4k66F3Ry28JwVMt6s8Ek0Mk24X+QieIaEC4eG834mR2OcBqUREm3k8ZOqVknGcpqmOI778zEaQpzRH84edU1rgcBWWd8vN8gVaP1hLBiO8OLf4khtiEyxoJj9MTPrN2eqKbaO0Ccsql3P41YnfAjSdoePc9saEGSgCnYaKqiX9ZemCLCwI4YNYv29l3eGkur9zj5eDl5QSXa5CtWjwISHLdqw+MN0K9lVGA+NNnRjiKaDztIoLzVQ67hDdlGYw3KREWUDus/a4HuwK6/Vllvp8dxVpS12EgC6IdzvcDGZatVHsNefU3g02feEfECux88/k8c5ZyraTtvrQXoD5d+itBOnqDTO6vNKZ7ZxBDqF0fA0EcrYFHIrzFyz+9yN1JQlCla+r2N+JqL0s5t+cBRL/CZGgHDQ7WhWmMst2oPaDHASknvsX64RVtdfAygCG6UUqY2Npm+97Z6QwNKG/1afCbtqNUxzLt+Dlk81rJJqNiN1aQhvjcul9WGPBnlyJbTmp+yTH1hTWU7zCy9p3CnYn7GsiqHlJcsgr03Og852wsfyv850TMsnuP7RKzl+wRCX6olv7Ml7DjCgcjY4xeVbIn0JYn3JD350sO1g1md+yz2UgnG4KSH26R1a0B0A/nz3rbEcAJ+Ozl+/9nssJ1LIVVAik9I0EPR9MC7kSBSHn2do+6TCHWUbA+XLPlR17H/6ysY9qXIhr6S7oBvkISaonAWc2v9eEXEC6lr2bGDzVU1SsnIFEeXCVxfBIPn5nwz7H2rSKVFmS9vTx4TKlqdP1g2bUsG8A0d/4ln8FrcU/iKkKaRL5MWKI7L0UqxwZ5PA/TFFK8KoiGyR7CAF7SomqpEt4GxE+8TW1N4dzILAGa4yCGlCrMF8vkqiIFQS3Kyt4rXrTxcEEvcPdilS0R2aybSIh02+zSa3LU6DRuhvQee6fv6mhAjSCDZEjZ9tAzIPng0y09mEo0clk/GmmeEzo8hP1pjcaK63fs1a6bEXUeGsYhUt61BhEP9MhFt9JGeLsGuD1kfJKsp49iMTSylp8oZ2rSLgywMbK7fuOMbj6nTvpqxhXXJrgpZ3VkJkX7waLeiR2gpCzfj98+t8hqAMivD8KFmCKBs4lJiUiuuWECvziuI9fUw8F8ff2oWZvA50fHmRxILpXlb73adsKQFGDWw3bEb1MQ+0gVMBLTCp32LdifNNEp+E2qVaOT0EO8bpZRN/8ctCytCGz2zNHJ43QzyJcJRtg7Tnsq/SyysLCvZ2dabKPDvh5kCSrIjAlknjOqlz4jlHWU/K2O49C0ymvZKxD4vwvfGvB7WSLRdh6CqVoaG5ITBuAXc9IIYsHKtxgV+T8ZQEwjuQrm0LMj/N8EscRQffDkeGshIB9M3/m29v+KBLvJIOI7U8qYcBHjXhhgbj7A7i8ZnTrZaYsTwDfxXZNjMV5BGKDkfmrJryNJsjTGLZokjN8RemH/WC/ldIpoNpsB6UAzVo3vhqCTNFvV0EOHEcJaKywDz/eiCdzmdYTg2awhC1HSxQKYXvcX6a/C5aDdBUc2vKPaKdBziaAgFnJoVvw7i8GLVeribDsz8BmYdpJqldkwwnFmc+6miQMMvnCN64lmW1zn8u+ymcskDelA0MgZVXmWSY5F0uUXPXoksqRiQecQYBD/vCgRheNV4FvIAy0fLrgjpPaHe0cbuUsgthJar2vGbl8FKo3KYrQPOwA19LwhmI2mduQQMxFCPbzUfNw8tzml7S1WM77yuf761T2/JGpePxsjpCfOXYSDQc9c4xCbVIyAD9DpO/l0j3rhTaFWHqr3FuAT5QnO7j6qd8XS72f5TGl8gnIAikCWhRMvrvD0Oxnhp3LuH7SogtZH9ReGFIapAzn+DVadmMmOXEBO+Njb370nEEX1VehEDsXeS/oFdoL78c7Rc6uN7CRgbCyPBAFEBHqznhnfvQlpY3qx5ifv2zafU12npa6iXOOmk999W4nnrFMQifdq0K5uwq+s46QqK+MYQdTCmiT6qpERGKMnPIivfI/+zFBW1+93NsD4y+GyA5ZO+nchWUcSdF3ieKkTovVmnvF/2zbAlsGJ66ZsZ5JcUfEckkuliYABvR2lVCIFhN3ShogDBH72JUTxOFBeCL69cKwkhsgFxD87AvaUXQVDlM5piB3Krknu7XEuopFveK9DbAFpZn8Ao08CwzBLvsG1m7PV3IQ4oDcRO6UlBu8ZhVZAY1JNMfzcjLFmxjtwx5+/PMHTD2oHXh9owIv0c/hlibCPSDcDdJTiFrout750SuJct9XkqYbFoDQy3KOnfHT40rM9KtHvw9DHC10Q/tIy6CdGPEhq5OrOcFgFasjdGiRPHz2uRrahs6yxoNWILUU+maXZlyb6SV3tsJdEtQTmSjXde6EHJiXcy67Xh3xED1N6SiKcZF36jgILR/s5AnXrvwrdBztOk+yL7z5h7RhIbmhoRDWLz6C3mlA2eeAcovmfxsdRZzBQ4D1SGuLBfW/ZnBWIdfA6WftaL+N542MkuLZ+LwORSK+oNTDLXo8JvnfIvRokfclHwl86jICnt5Twf64del3Unpd4/XzydSPhs0pCxtNUaKwU1EEtbKkDd4jNsSh2o25+tJXoO3D53XElHCjlRBOdexBo+cG/BHR95FKC4x3RkTk1YRWJHQCdZfVrgbngrPyfmVG61t9O189NZJFdRgk/bkzm1uN8bZC2/MKiXTcyZ3ZnQWQziXq/VQ8PsUDgrSP2ftepsDl0yi0uj1AKF+hoDBqKkkleOx/70rigdZ4JbsPgDZZDofY9/JnRHK4XS63WmDZVc6Raou7ODtKK7z1g45licCUq+Cg6OTM3XkC0uFfD35v6p7w6XP2fUL35ObXPjAczngLO6berLeZMSdP8CSqVtffQDeSKazpYuvyPq8W+78Bd7UhqQiUr5LZIZsP+Q9UmsXUW7Jaev25PAl4qdDB7kvKgrWMCtXbLAmBkLq5IA4EKfdYYBGIMPMwAQ1uyu5Wfz5jWDpKFqRoNttxvYtngJzvYhlbmscNmSdJl1vFNks+xDnaTh+ct7PwnBLfE6GxjCTHP3h6ih37uUAXRHgGD7VRKZplVa9A7BoIw9Xgw+QNRReQGQw3HkVQfk1NxyGa+xnCTNcmTQKNdaXdJrVJq+VaUctMoknERJXZZ5rE6q6/izDsCIZYI8vKZJvRBMPR2wbasohDEOPM7mFUHe8lLK+/YjUrqtXuJB9OjADtn/zYohSIw8Aaujh9lSVmHFmvRYiDCHbxSlNLsOQRgKuxa8iJPkYyvWIfEfcCheeLaatGAQWBwD6K8sbdlrMxjDfOUHC0iuuv3QhmurUSMK1zRy36eXrrQnn/EVQCs2yMn5ztkMEsMHRI4qwzUsXRW5My8mWaoi8jTiIwH+x4vcqC7lTlG8Yc1ktyk/CXCpcON1pRJY/+a2oLjlc3wANiFwQdQgANB4s0U3eDkDet45POI56pFNCVnZmsLb1524ZAahs7BsydJeBDQBA67Ow645PUFYkErkhzcMqwBm7RZalh2X7t4Z9O+kWPTbXqGyASjtiL2MapYJ6fUnyai6q/Qn+ie79SiKLW6xIrM359XpdoSLMGOSPZItVaiSjUaXrZ+oD+mw2iF7vy5YewIINtoO3u7lRSMt4tQfzR423wAxkt7LuyfK0+hUaAWal6GSmSsEBuBWay3zVWyMVAw1X2dIoGy5r7fAQiQiS+MfgrcNzw5KWdBATTuNolcRzlGDGq13w2x3DJa2v0yu8NeswVI/IN19LynBohnUw5IdbNwoJd7DJ4LIF1hGxXH04vd0z2J5L6RjibLWwLufL0Tyo/+JQ6Jox7HwmUeq9WZdGLHik+YJq9MLC/dki3Mc645qSZgeaC1dzamfDUz3p/9KHX9TdQ5w3W2uWc8/XzMxXdWaMoSKNXow9hlujp5xGyprggP6A1bBDXxx5ltWu0tQ4EHNi2KYE16I48Nynl3o6VPbQ/sS/PO+FUCBJr1eGEfrt15/GJeyVOr9OSf4Oe/UAXTdfhtJWLoVFuWQzVjUPqDk4zrPEbPK5SdzHybSILcwkWR9bmnHXm8NoUAu7UNOJ8SQLWNUHuaspcpavKl1TpQMeDIt7RV+D6oPKjlsR+4abg+gwrgRxX6w5o1dBWtlwRg7r7N1Kszm2VjQ90EHSVjU3LjoKZeo97hg4j00LXnLqjL2mbYKELybirJYZT++rMWTQWTD3JTfMT9+8GL/8bgYeWS5/K+3X1RjvVn15+ipB6e2ovvrVfCiBLia8CcRtzUe3xYNqpIhzHf6yVQrv1lVCf1bf8/3LhwuXnP4BLlJr6G+Y9xKR6eKTlzhg8GEOL6yaX1lCdFEcwB3rDdSJLJjYh1XJmnyb4Qa8fKBgsM00H1Nh1pvMFsEeIR+MkaolF5K9y+CoBdkDvWHPjgf4sl5b0oKSBkvVDcv3ZxWADwUwoCgCY0EOPK4FIPob52RF9Wh/k4BAwf9Hna6CTRTgc/Gbh4NIiMY9rtbd/8+gfb5WR6gRnnohD8FZHws58H0aXotwjz4+l8q5Wr53LiajXx+lqVHLuKKXxYeIdTkrS9+t7Fv1Q8u5YTdG2uG1K0Ojnpk76Fu0r0Ja1xDpmLs+7NFUTY2t9i1wmhzIBhHiOO+3WQs7KDP7du5318mBhbkqZRI2h78bNfL6ifHkYpB76zBAhAqg1DraCA5u2p/vpxCeJH2O/kyRz0+WNyoE5BuJKF0qcwRuAreGYihdPYBMa2H1ImOuHChmsD5WuvHMuK9508sKEqYMPgkNaXf2DDbfivKUuIBJguwJn+/jV0ZC9SZSMdkRCguDYiWJx+cbMvAKNNxDxlilAo6vZh3VIMRuR68a7P38oWjkXaa7qvTxn0YqEBKAjh7kJ3hbrHfkDl3YtCEbexAY5WsnC/VoHlCYjstZY95NaG+IhasUM8BFDFCfSEkCarmvEA3qYEClgVuTkYPzqLVSZQ9DMxkm5QaDply2BqyDP/d7EaJ+VgnIwIrm9n9jzMcu69HWGGJrjF6TR3iPZOVwJyX/2DwzJOjvmz3kk/1iomxJbDws+QBngBJw3+3e/8slNdp4Y+e6ZMj2H1LTmchcCw9KNucjzRXfh4JDvVPEDv22n6XrORILdYKYhfUp18ckE4+QC07xH3gMvXxq44mLdoWylt/ThrGIVWJNqnM3VyHYVEqJz/YM5pmsCZDmVp6ndjTvh0a4vOHOOKtSIP8ypQ82GTaQ9uWyD0MUEE+zf5tIHKYk7i5s1D/uRiGJjz436ns7VNiaEdC35UchyA/tjDg75Gpc1gl0MoN/KbYeT1RRZ7GxYLs7RaEt7fTg9LHZKcXTgzxJ9GXygB7xXRp1oP7FMwvaQj/Ckh7EpvldgjO+LsUP2w1W55WTFgyB4aWiozq5DNK0sNjZC6TdG5usV22d2GZUN73ZOfw0lpYHQSidoi90XKEaMAFvbhJnMNxEvYAafbgPYiljIX4tvystQSh2WffbEpWLIlevyqOAmYOawzkreEVZIs2lgoyHt3Pk1zPP4lyhWlDwwMV8AqDqomvRfWKcTvtJOUki+65AtDUItaCcaus4rJ9ZndHQgNJX36i9b8TMHJX4LD3ESPjyUCwxqmzIq1DrKWF5QVoNAnGobChV5sQclwxVNgOEDOjBwGP+nPh4o9nJn4UtcAD4pE8LNyW8JlO4GtzNP5a5BAcFWCQFP/hcFo5ZhVXVvY/+e5uiAwzdMRSsMu5zIy+LE4chZptFGHzLD/3u+YNTsjYCF8LzBsEMwd63aHi3CajF3Adhn6OEeNXKBQlWZoLHK5AWnN3tmlY6cBDF8tL8XWopI/Im9tpFmMGBh/eXt/opESyzduos0ZwyB3Wrx08jflKIL71sH15TM159XXsaHS0AelN82PIzzWYST8E9SMugLJa6yRFEBXtI38WP9BqLtgO1CZb6zovKEcUi1knFON1sKeKT4TcRHrnxdn3XJlNsaDtl57M+0ro6bSWAuSe+frppbp2emmCmxOzbTH4ykUp/lARpqubuPxnhEtiEZJ2T95DmXvmVYTnjvae0OJ9dcofJlHdW9HtmzxMzi3vk6Sch7mDVwqDNHqkfEIhxK0aVKuM1ewy7ZEFeEZvxTBlvqScnE+k4FuREwhYXE27QcLqWr/WU+snGT731rhzRRB96wtqEDMGuw58pOaaHmC4wGoPoZDsqG5vpdSDIQ6LrtIOeZPMnjiOyed3jo3MA2fZjCuuda3WCmRteB3KqJbsZMtd0Xg881MQYLTqtRuZ2ZaTY3NuL85Endf1MV+P0AL92Qt6hul/e2sbnzpe4RdnwFcPnICm8nctmzusaF+xPdOAvtMgldp7eZXkMsp4jO5EIVFbo1e2ZBTGvIHNDB4tQqKsriIU8nuUiAQin6gXeJt9/IGdbj6aBS8vV5Q51Or0kYbChHCJFNnB9dBWd5y0HSo4emEpitIJg0U/jht91T/Qy+4DkfCDQHRWjWHLEMrZHVifQbfIJeCQkLFKhoHK7GJEFwYavAaILQaxHhpmsb3+FIO+ROVaA07lZcBHeP4Xo+RZwYNa8IrFTNHURSkCZDt3E62DEW4f0xJdPx6my9HoDB3Ev8dUmRLCouOagtOp52stBKScHJhEkgk7R/Y9XHfOS3X7MS7J4T6xNtEILexL2SuNA6jUv+fRqW3r2ELvuZbeHDfdsHWWfsejiVNWk4RTcmLOdpTDeFyydmQl9i5pkOzRg/3Y9Exmh3ICBKPxUJ97hUBITE0jkLHy0G5Ai9FpkMAszl7BoN/x8KBKYUciPOF4d8TjNzaMXjU/aPvOC+5ujjjKJlRNuIS5+uR7RBe6n5ypViNlWumLBx8yB9oqFsRxh/3KFG7HnNEsPxsP6jaIbJpjEEyWYT8NbvP2bXzGQSLgpdUIknAAyMmRQ1ucnSij2q9xOx1hNSi7NKk+rr8sxavBNyIWmKm/ruSt+Yh7wi9SSuNRYXOLNm2nqvZLO9ESwzXYIm85jfjbr5g3GCuIV5+bFNlAUYs62r7kfb56VC3OYW3RFx80DLx6yq9aK0CakZrEpM238aZLCpwhE3JpYn0qYcSLhJ8zA3CpL7lRwLWlhwdDlbqLHh/56OMsmaXZwcYmMV5YlUrOgVNAfQ7e21/DdVv57yUUa4le6irHYuJpWtdyBs9+u6oDCUT9sf1mbBQ2/xXjTn5RkL/rzRY1Rv8n4keJ6VI4UpTKpEDfEbNECwhX5QkKqAGGbGInPpUXr2Imi2ucA3uXci0SXdyaVgMfFO2rYZD5aLNOXX4AwOqbzuc1cZk5ZWiftu8usudz9I5+N6T//xpMEHbCfmTgpft/vXFmZs6XlNZWOAGnBzGe1nWXCyIUp5L2HwJsAl0OwDBlobFcc1f8Yy58iyPd+beJu+vxAgPBwDoDSUNWajc7I38XQFmbuH9foxm8eTymnLaoQXy4HwDEqU2y7BwnT2ADQjAa+IuDJ0fJWzHRusWXcGnG5jac88sZR0HSHPz3RsTc1dNAYy1XvzJ4bT6Ob6WDJ6K5t1UATmByPfT/mVRPPWGkuY6tImmZWLjuBKuJ8QB2ooxZC4bj+sjGPGHI08JBgEgIQAU3Oes9PWN8rj9ahD3vyK+vINl4cXMbOwFferefM28BwmHyDAit1X1h6sg2l0Min+Q+KQD8KmYQsiXE2tKeK49CRJXYhuJRHyTLCB3ib1904tbQXZJJPGDMVKP+8H6UKaS9v+JlIxfPVtaaOmpRSRVTbAOJy5FW/gG6+zP96CPrSuE5WLoj3oqWNV6VS3k29HJg1uiC4gqfHLKN49EOTX60w6iuWxyvBQ0JOUy8eIeL1XfaagNe2jLBXxEQtfuE3c5Zte/ivLYu8AzZzxJxtrOMs7Zrn7bZPpR0O/YZTxHZeON7g5LE+wiAN7fvZXBKKX40lRRZGyjBxEDJM22tjGxdavQbBQd54zubn56KcYsPKB3zoDHL/fya5i1WBzxRanYgDpEux/ipI9z6fxuFR3gbDH/NQrDJJDxCCXvsShWvr3yF4MbGzSn+DOsw1qnkBQTLc4hn58t252SasJS5cLIOZo73BbKqI2Q1GSclHuGIfTj+N3N0n3f/Djw6dkE5PIHjKbXgc+LABiGLsKTsN4gBX23lRCRt8hfTWaRJKsOrORhzmZg7f5DKPouffn3jbG6JrKMbTh5hClvcH0IL0/SzHDhR33A0i952gFXnI4yElaZYFIXCdICY0O68HyROde8vquzbc4huCSYi8rnJen5zuueZqr3QLkeKsYNOxgwDHg+9rQDReXpQBaniHwnnONaQaHSksqe8xVLOETiC4NUkq2v5kk+axkM/IDe+1GyhowHWeVSdStkEGrvDbXRc8WkTps5Xm6CHLoR2F8KU+q8jh+FwWOGrSoBArNiTInzicHB2XbLwoQNK9ys/IRsapVq3P6smurthZfkhNzdsCqZcGl1v3iaVnJi/BcBnvUld9Tj9+PEL01GWEswwHkJvQWfL/rBYvvXRoiJpbpv6C9vHm5dTsDAZSoyosPSGeqyl2lvmofGrsbE3fg7fzMMrnPzhgDpgClNlHjLWzIK9JEiB5WboEoIDXl3ZsKp726coWwFBbkPZka6/PAgrlnbdgdL1ULwcdDa91e3tnmS2cFncUJIsfmDT2kH4o/swYjt9uKhMujBHmeVLiiE9sWTuI8x+x/0Qef7FKSnTQecP01OTTx0FMQMGd0sLvF65zxICURJRmWMEOChUFoX/T/4zlf4un1jo5Wq/YzXD2yR5Gp/eewG10LHRWk2ZVn3gDjIqPlDKtzsqiUkx7jsqB+urS+yTFMvJqGuvTCm5XsKexRb5actchMj1O+REIptSWSEXeM3UEzUB8/+Tm6iONU/ZGA1az8Kb1K+NADaS6VKqYkylh4Bc/u0IgZKGUcQBMsxuLGiEGJkIeGlm0cnYeb2ECMcMe2T9LyiNE1CrQPxe+K0uIiBEFxz9v+xdxyY4iWFSkWUrvf2Bj1Zb5pAtuSf3eSeLnzai5y7TREE7U0TEQlCiNV2BXpgupD2hyp4LpaXph2BeUHyK2M631gEIRHKmbD09G60tXugKCR0qxT5fBaNcnQE1+KTITqyXOlnmoxlGtCeb6mfFS1xlXYAbeb5Q4mtmDVdOidi3z8whymfSdUTOjrYvKku9nuFYPU8HD5ikKsugHxhH2ffEYiSbqiGBXMOnf3j+pnRgydLHPlyXUiRQPdnAvoCyn5Srjm7HCelLHnrfTXGLfmqd2NeP4Ti5Wt+DQHk31IUUCirD91T09XvrXwtMBSY6d9lvybbsDxd73HD8XLscGJ4KiaEfT798piaB7Vw4qjIXzYyE5bg0cJKRZYrYzZeWPlBetQJqBOUr2mn+A4tKnUXLH9I3GhJ7eB3VRhf/GHXvYxkPmhABraIpjZeFJYn+MPC9tULM2Bh3KwBr7KoZBoO+RwdmwmNleG4TVvk0dVJR13Ze58Mkijtb5lOAkM6GXJJH0WTMnQfmh+Rj25L/vUQnFpqXpeiohbg/2nc4AdSZ9laCucyPTIcjdALOvGf+zgH/DiqHXTM1pfvulkmDtFQenbuXXyAS5r7JeEHL/flt/aK63yMEhxKYUCQQ2INqmKdNxitJe+Bpxk6nR+rYJ4kH5IOjGT/yuohabyjUnWAvgN+pt2Pr6znGGQEFAGhcaoEz+qC507yFCkO92bx10ANW0FW+lJap8WRrIrsE+oEJJ/eZwH5zpXqNk6Q45RsP/AT29OH5PVoAi7TeMZgkNpp/61j51bnMdJxezkdmNumrtQdwwB5ivvSF1m0AxB1s59m0ROA8GzJYI8fiQagKA1TdA5FMfzt5+8JlZQclmBRXHccG9vp3J0crqIU7MdgN5wao/6Orl3dldfaGui1bWMchUDIQRtlWNYNAhPGee5wDlNkZWTicZ+TMLbbfDLmw8WmL4K1+1Qs6m6ORearysDJl7PZTVw9KK9m/JdtkwCBmAa/QcN8fQ7Z6usiB5LVwCesG/TegNUlkpMNDv8pW/B3/2jUmICI6/c8xt7YLaGQzw52Ls20DCoeSqDpGb85FwwmnnJvZK761Pf7KMYQbMkjdbE3xtrr5EqUCbFTJvTiw51PwGDJ78bkR9ct8jVdZbp+CJpmeokcv+/vKdvRtqDAxkeNLMyPIb5bvNuI0ZU6h/+rPpYrvMy1x0+9FnB4o7NQbCNtTSb3UydXIzRxR8yFUFIoR0HL6hum8FCZJ/NewAQmD+KkiVPEBPZ2LX2lknvd08Nd0QV0KD7uZWCHiQDft/EthPcz3VJO/++sqbVVFgb+WbbuILpT3PAyPmHV4+/4smQG0Az2tY8KmBLaDNAuGXphoIdkoZPaGjtHCH2Eu6TRJyYSA6a1zfhxfkpVYuePVxUV61aOz/XcchCYQ+2tR8dN/XqTrVY02Si2WqyJ8GrCXd4TpeBvoeNVbuUOnPuu3ZM34aKgwcjJ1a1uLmHImvUtIoLbs9oQwjiaV9Teg8GA5EIKk9LVAvI1AW9dHz3ZwU19yv39uXvJH2tqmR3++i3Rj9CIdaPh6CRm4e9PlJRRUGgdejU3IEuc9Fmxc+5lTu35XW5L10nIU3XUgt4pG0+V6KD3mgLlnyfwpD4OqUi4TZMoFPC7L9gf4uisZ66Bp11q0z4/dHvk9vUiEi5zFrbOR2eayG2QkP7G6BszbX0e0Qdo7Pa3kzSVT3A7N5cCCfyLoyhEK6cl7vYu4MzN1exNnKe7aye6Ri5izUWaWY+CICKSUN68GXqIJibIpk7j0kiSdXBhWbuNf6UCd6JhTtAsMYE5M5Ws2a8IMf6nqSMH68mgaCMMtDGCB6H+IrspSgtPh9j1o5KAOy6Gc3nEC0P9KHjdmrNLhIXCwOxGBXfJGt0URmwLrL6PcgZv964k5LOtEnI7SGitXI/V3p0iPN62dXNYyq41ZYxaXGkMnvYkMreJxOABgaTeTjoHNQDqZjkiuSCt69BvyFfk32S2WXSTG500hmdmdyHucZd7uwc0s9W+/+ebpQANIgm8eg+xw2+MRuR9fuyF5cICB0My/YA7OHjq6fmG6Mecs3CLiLRCex7Li08MmQdT94r8CCwzhgIY7eau0qkv16Y2LsPIc3DvV70BWEmCJx7dA=="/>
  <p:tag name="MEKKOXMLTAGS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qD8olcr89gTYVdcqbCtdArH6Z2k2y4aISxjp88dPRA6bnqbHRbzygIpTcypIoUPuI8iXrrqXhhrZFIE+LVZ2kX/FoJs2r+BDDh++58iYuP3SFs1xTjAl8hjlzcq4bHPQa09RLJr0LboVP+rNalYCQ3HAoMXXgyadxR4oAWUxQLwe3LO6g36zm4tJ90997UZRXMjiZ0BsKhz3zSI07Mit/Lw0y7f69LYTMjl4LiZ/G4B9g5mOjwEqg5RD11U8BlgBnJj9N7iiMijCl9/U6m4JOLlt1a/Ni7xRPddbTxkWczslDuhSfVEHtzNaL0fHisDeWCIII1SnekXbT+bqNZgfknbMgfuOTengBSpzmJBXVBv8pQjUdbbcbhBJKUue8XUr5Qj8dwDhWkJHVTWsfExLshTUsqql9JSN/zBbkdJIT52XgYZuRDUfxDF/udv0IVXWqRAAscjR4C+gPzld5S4WCCJrSs7ByYpFn+yuzkNdvGh+ZDyxDPIYSj5duMMMebRLIvijc6HodCj6jbs22zOJTke8bH/Wi2uytYFtXwHd1VezkdyW+PNEX94rbU2TMpbyZdRZbOJjLwoICCoaeDs10Afa37LKzLjVOGTbts+i91ESJAl8ZWc4G47KCDoSBjzFy6FuPEB2DtyN9iaLif6kaFIm+bfMkqByaCp7qtT6wZ3wR5HQjkUPlE9k5o9Wcfj/HsVUsZcKzmpankkEUy8bwpiPlrSWVaeU6UHmP8uYEhz+h0xDG5YErr+epJ22U01ISUxNRK5kpdcpmRDnRKIWeuLN4C9Me4SVLyl1rCKaRMSYt5uEI/rImMnj7ZSRENnBeYkP2VCAhk+7avwwTW7ATbYwVI7AqPhAoeLvxKuN6Z+1vhf4LS8bh2zBNRW4GTtrVawq1l8zUHVl2ti3CW/ayIVlS+FpsCkiin50RcccDK6FcNjoTY/du+FHaT89SOV9fHHBQjM+6zIGFjTpVIJw7n2R/a3d3FC0oXcNUTni77rUeSlmKdBhpyMpNDBCxVu+XEs3+CB91z/3ArT+xuDRH73G+Z53wdu/sUFV0ZcLwcV0/o5x5oqoeSF+4JPiTYmeFrynlE7q/fnLWAyjo50nyNXGD8xEh/JjssiwbvwIgBRWWKj+trN7XcWU1ql7HRBnZ5Q/scBFzxsrjMmMI6QDhEt6c7d5D4rpmQSWTeUpd6rkxbOf2wNhNCZx7ZchS378AACCu7nV0MC47ndOFLX44aZlt7+5EaISDJjwuMVXIRCawy3y1RQYfWRJU1sSj5h4TjB8wSmek4qCd42ershYssa/0viL4hdzmkzR5qp/wvT4OX3walI3tkwirFIPYEjKtDVJ9eiQrBnivG+aTY+E7kgkUY/V0mEM2N4C2MtHOj8orFt6ogpLYu488wJreDlsXAogEypySQb4GB7wGH7VcJ96lXafA0IjziUNnZaW67bl62WFuVJhMN/UHKfpVs1GE+xqau6qth3/WEh5pj5xZaECDPQ0R3mNYUY9XyP3sFwlP67zNQK55u+Ucmxx2g2AGdi2yZ2SllsdYiA++g+6Wy3apxRiNl9f8W7mfYZTs+gj4vnYgOCOtHBU7sOcvi+30ia0n1+2G0v2yhUICVwM79aKlTm2Pvc+FBBVvYNPj+0luxnEQEyN/TezMyi4oNeFfF56n7/pMIUdd/BnVgJs4arQtQYfm1rBLnZiDB7NhFFmAfHpSQJN9Xu6y8eSZyzon2pHgwa/SIQrvmAm0iPUhlQ3uNBTyJGIdpP4enJ3Gh2xsE71MILwcpocnNrbpAGSh02gmtO6lX7oNwzgXW4/xsup8PMmJ9gJmWGHgAwdDMvTNUpcmcs/CT0yGAhU9Qq84uUuXSpkMV3oiHyrX3Eq5UVFgGr7iyoN8/t9oniIPx47MoaLMIwGRlFOuL4HMo4DWR+dNANfS8kpjXpIKNJZYjMwo+p17x6XKM30TaJqrqeVeT3acPxADABoa3flgM2Tj7PCPtbyn2CludT6q/vTMgLFNZH5p9a+ix+XrijWTn8WH0SpvQ0PPEqSARa47Vi/L6TGNyVUKfHyfZGB0EdRZPPIEkZLkLcQt5yJOhNbXXDzmjt0u/4QdjAaPzrycxKSI+h0pX2tfr7BlHT2eZrPj4fsLIMB9w3hbLf1hPJ2GfQJTmVRvnC8Nq88Ux6wHUTzXWWGzdmb4O61JLvg3qOWzjFT9gZiP42NHla9qF33Nq3Iecl9go1PwjtInp/aXXS1FdDC6/n5jR6a+joX2HSk0WnkVvKZw3C7SVKm9UgdH1XLQrIWjlOCBnxQ+OMSrT1BsnaxO9J44xHsxNTsM5DA4I7im76nJK8waW1leORtkcdjoN5hhMHneXkQfdaH7cL4ZF1Nx3r1s1b3rLhjcDKkL8QIt+5l/Iodk8ssLhwWNCe6Sjz+MicEnuGwIs43osNEwpPL0qBo7EIk60zbBSAyDUum2T3xmsEYjxtxmiLE7vKbQ40xtf2Foi33XrhnRM7tmSH4j1rKuDiJiMv2PeLj6vaKKe8UioLn7b3lClAqTYJMJbE3sBNRE+fmpFuf15BcW87wRV23L6bW5wB3Qk/8gtcMH/Tt/dl9euUA9jj0qsZ2DebzZoAQcwHSzd2n8bFannyX8fAg4A6bcdfftAMzd0b0l2+qdWvY+x2aFxayPziZBp+B2tZel5yryhhRiZhmokA798+79VOMh42qgMFVWaokfZ/Bf5p8G7YMU9xqKQzlkM1gbJ5lfObhBXpNvYnE+FX7NgdGrUpUK0F9da7rXp2FSOzTXvfiM/+ZA7Lg9VVzKPTo5YccpoW8BZSEaF4Ia4vI8y33JU+Coa30VtCgj045eyfY27j7M7nNjKO3WCK9zgRWswl8oWxvBxwnPqQMuyVsaLobBJvIAe8WoDy3yzxxSA2zn4CqWk+wjun+lgXNMWTBS4Sr9h3tj9eEhbjffrh4SyMSA2Ob6J+c7CAcUagHVkso2sHRYN5f9DjYtatCVMYy5ynYDVexZ3WqgtuJdcBBLzSoXoBwPyTijuFn3V4hln7bel4f2pmT7mm2y98rEvlZnye6Z+i3nUH+NY1G+izvAso9E4GWT/Dreb+FHWLcd7lnz6mSqDhPkohBf7wviM03v8cnPjuT+kohkTFRTe4P+212qYRaZoSbG7jszK4EBkqL1AKjwHtTUzBlDJTL5PA1OZvfk6Y9W6vF5qTSsOXMraLFrMnVW1W1WB1iZTSTCsEDkdMhGz3UMWA29nstQIgfl/6Zhpvg9NBLfD1TBecONE28pS0lsPXlu7uSJ0qLVtTtC+0q3SN4hMforirQslw24lc+Wd69tLcy0wpS7x4bxd0z6MhPvIptxl5nVtt788OI6eoKsYJuBLzrXldZjrnC2UbxrXXeV+4wC4/oF25n/8RCsNV6MLKDqod8cld8w8tF4jdw78tsRn0AD0oEpd2bB5p3gO0x5G4ZPapldm2ZkG+SA/fvZmkcgN6RFrfOLPtFCIvYiyUMsCQLM3xsH/2fi0lG3KOCvb6MYhb+rW61BPiug+RILP+geVBV8mf/3JZ4MVNfDZQuy0TPrICXZss0sL/1NJyafRSFPDGAciCR+u2y4qddxfToVFBxgIEo3k3AF1BPjSpNulCBuaR3q9Ps3+KvhmASCD9RQt2V8xIgY6u3wnf5vCixuXcvzSRrL3euKztTY9E8uEB4G3/0I9MAoD4f7fst3it8Jz3U69LwLlRIx/vCm1CLFi/RXMa8W3PGnOe2A5k5f1wFjfQS+osN7yKpOlO/DG8qoA8HnBXiaK3IsHMR0oSXNI5HxnUhnOXlzeXPWPOCXfHoGvPfw9KckM7UyUtoOpJGW8lxodvCO2aBouVLvR3PXL/6vl/7Gp4kQn631eLUQo6lDsFoFaolBRic8Y0rOaL6/1Jx3/Tp29fr0hRJc3uSsdPQlbkd9Ld6EjJOx9lEkt/mgMMdQj+ZlQVVTp8gnnrQkyQiguufqiHGmPLG3v8X/Pn05+/XkoLhrCeFckege510928QYtOpyGEaDH+oMifhY2ZJLJyny8nGn8iVuMrDV5WrUc7xlQUQKsI9Tae20oTKGrzXdwjTqwBjkgUW3nBud2m0sJrlLkTVpV6fXOI6dsJJKbcQ3nXkj1gLobutaM/yyVXpeQ0NxS00tqZzZLhp992hQybZ3diQS0AiJnmmBkeWjN+hI2Fgnl66yiL7KfxwreOdrX83RG8OC5cM/Ac+zYbSdHhq2tj0kAy3rUUbTbyIG5TJwKLdU08Y17eUoRnKnVAGWfmwhQAKp1g47MGr/6tZ+CZcSHb28vEyKOJTGnGYOQnOMPnO0J4qRf+eze/mOXzPCldz8sG9zX+ESvk9g8nfY22R0Jmk+u0IOgNDA86B3fVBYqACPIAaO+C9bfNxOPvWMoZPoB9+ehvlrNS6SdHnJmwjcHXOWiAWEYvP7fK8arQCamhEwfhouCitXEkwJ/Cy1vAaG8LZV34rMKt35NYhYE/P6dmsrOAazpo01XOECdx+ZS+kpd4YYfQ8UDgYjWha9d+yMg7gBvlaznr2ygxID/YGuzC04cxb2vvM0X6E96VKwhBbS366MNV95R9/Qb7IGmy7V4U+ZmKDzGvokmSS9pLuIVAKsQiKWoaTv+6mz7keEHlHFKU91jFqLfqenBlqss9LJuamgN6Iz2sYE5j43GZmbn/M9iG35EGTYTfqHVa79ujSBK4fW2w1T4ADqsJkQojAdRKIOag2wZUuMjdgo1z/au9aAq/HOSJVi64abGV/dK9sH8uGbqxkMv2A/og2Sdfb5aRPNbApSykjk5TVTKoWdOsH6WVR+7pWJRNl0ZI1+XFumHf+CDei3iWlo+k6yla07u5n43lXA/Pl7q083roFE3/fIR+p16Ju8UKegmpQoPNjcc8N/5iuBCQaeP/1VXJZp/0zX6ZlQU3uiksW0NOTu1YHym6Hhxy253oeynI/2nvLHmxC2V3whIsZ/6I/7y2P+h3GwOcpD7obUezAAPKgZLAgEvV2rnUjAZVutxxQok3fITSL4MIPc9H95cpDMkrnoX5WpILC7BhzSZKK8JcwAvENUF78oPbgrmE9PjhXs5a0RlgekLGTvK+WwWjkys3MzYyh+mwEbrbDsuBtgly/RfnItGNOxREH2pb7w46D0Q1RD7YGiACv/HdwMmcGPQAN1WeTD/yPWKUbdyuYBuQlheJzKEkzKxLqF4hMSc/6L72N5qk98kh7eCV+e10rSrUB5jDGzJCqDemQgNd/yQnPUpNJ6GAwu3ZjhGkbdUU/OXs13tuMzckmpQZzgcD6UE/dMumfvdmZtFm7uynmd/ALJXW+ypfTiMvqFcbtkOqYuie0Kd3iNph/I8t+HqUgx8F4ixPm4vuY6LGwmCvTk6S0hv8Of/FABs7B/Z6cnYCyh4JcI73JNJMzlfknKlYpqVphbJbOTwnrTJwJq/DwJcdPuZrKmJpY0XUFMWB0qe15C6ao62ef83fBIPichyI536ihvl5QHc3gOduTD90WnOXEDOoxF4Nc42xAFH9bEqM4mZMXX5CyBaFARX+o5XyKYxEMShjST6u0TUIZlh3Bsn0Hzdw0tmNcHViYPVoc6Q73VZDqQ8X6JkSTuNmVKD4MIUQ7Jlwfo8pia2T8o3jfwl+BJuU5PzHZs+GnryqXn6/LiEb9j7vNmqCqYzmC86/CaZQfF/n6ctB9zfm9h52ZmGE0cqTB0Ti42N6bAXYyUgC+iD8Q5oz68On767XyBn0L6fFm2w0VkIwYtQwKWetmAWWyfNNwL9WRVQbVkygCwDNRyGl6Q8RTAo4wp63Ai9y3C6rN9NYpeR5NsJeeAOLabwb2HUTK/CJpRmQ6PRDClgjhZyFRPJtX2ECu4bxoSwL7LDVkq/HcoO5O1ZS/3dTymLYxGw2/ViGqyMp4NVMmWYuLG9KQWgPQk7ixOomT4u57dOnk9vyeu/+XRkdAFit/hZyb61djl/IsK90/Ha2uuTE3Y3jXqYsdi+/OlRzASs6sgC6/G8CPNrI309qC4isHG+WUbC09RRNxl5ukYSxYpaZhGNqaf8XcoVT66J6YT2Dp2ZfXpa9jjoAaN4OLOHUDBsGYRGMfEjh8XN5Ze9H5pkM/WaOvehem+yb1ipcvSsaXkkR928xDYfDeEcKiT4jcNsM3HfQos7GsePSjTpKa1Qt2oKGU6rK+esBopbDWEaI4yIPrpTeaMO2ErH2ssBDw5nnl0bqul/XRjgUHYkQ+yYTBN1W4HocIAwnxRX6hjjghsFOoqSkgkK/y860bUaenCTuysq/EQqcHBGojk3HoO/79VXwe/FSJu5GX4bTya8d5/O6N7Y+s8dgHtrzZdG3ZrxYQe9lKvZG0nXJAfWTPNXPvtPGjfDmdFHF3k0hQ30+MLNfeln6fe1tY/STMa5AoKeprvf1Vd9QPet5NArtzpT1R2v+piHK1cgrMaT2tSaBbeevHUti02z6QoAfmn7NmRD/f6gIe7R0NDaEDOhRKDQeHqxis6dTRgKGa5oZnD2JgpYvAh09HSPSHcqXUO7DNj+bsYQzs/4JV4q56l009ufUQrYIbql5HMXmhAkQmk+rXBxlaq44zO0fT1Pc5gVKYisiYOt4/doYLlVDosO5qC+Vz2qq96aSSS3H2ZizrbaPnuJMR1aRUYJRzIUCK5H7d0ZmMh1q5oiAb/mbWpPj+nr54Sw+xKyw+jViJZmShYdz/i9mE3YDVzoCaJ+m/5W1cdCBwTINMkvszMfFZ3UnOgyp8TRRxlNqA5KvHeiKXt7E2NCLeKr5Hie5KZGroWiKY+xp6KgJJwEGTKBiWm7sYr7UCbGdUUU2NUCpo0HAwR/8xVB6mSNR8JT2KisZK/7D9LTZHOgZX7IKwD7CT7FfM0DR8rP902tPYLyfxbivLDHzq0xjiL5S55IVAh2G9egKDRluGJOUqfmfjtt+Xyy455uKwpWLUw2ecmo2vRacYz3VlnFYj8CqpsD2wHj6p3mP1dNKIH74Y8gj8VhUnXYb+ZHXwq0DdVpzoR9bWzCbXCbebrzrbiWfgg3FRhcnbcL91v9L6XnSIq90Oc2B07aj5v31SFhLlln3XTi+2ckA4UrXZOeEK55IXRicCfBZgfDO9ovlPmQ2K4uUUpsxPdjA40ghcJVlIFLZZKg4av02pCQvNYFItiKvPu36KGcDJbuyW7yhVxEbg6MyzhzQdPCR+D6ndUZzdZcBqhHCoBirEyhQNHuaHSQsizs2QPXbpmFjIieFtWbXWtsOI6nJwgUmghV1gwyK9z/m9Zskz2nY/gg+PlddGDgzRMi/7uBITGBiPMZiLGAcmBBpS5fjz21AHoEkrkSDnX5BH0GuY0Y/xSHA7Z4eHRTV56MAQ++D4zdSUj8fBYYcCdpBHLsoYagHXxLmj8Kqe7OsjrX6d2WuCd+fMXRgmzvScHUVdm+jTMDmAymHG+0rgc9kn+fpzgf/arIPFQ/nYXioDQv/vyYj84he8xuYzbzz2nCQf3cBy+h7zdSlm9SHedtoqrCUN1de+ld6KiG9z0lYHUjl6e0heIkv7EMgyiWxrBlGHFyl7GvzLK5eyyqqnef2uIOT3rMcUmMjiF01kqfRmF/FdClqgxyT0r9CA+FGz80C1VI7XNpqyernuxmEYBYUd4XlhXyjZIjtmSihhLdjLCsadWlwoH9J/ywyR1wQ7ENzVfATo+ACKxZkSCGQ1GoKOzB9C4Mm819u41xBG/CD+KTs/j1wDT0wNWog2sbirc230frhsY/qvQsWXwAlihwkMbdsT3XbO+/R2cb1dw6isBdgZ9Kfs92F2y4NmOPstWeb6Hnuiv59kd8m7UkoYNavsWhNPx0tyD5/oLgYYZDJHzZ5OcDVZcb05pjF6kTPW9JCt53Heo1AinSee5880HLpmdKxH0J+gm8Y2y+qZemqjFhE/OlghN2d2h2SknlTlg0fwk4+FN1WQlpVd07zVoaX62sACbE/VOMDj4hW+gzwW8GGn7OANJ9NszhTMLas7hDlFCf0Ipt5KDwPDogeCwbPvPo2B9D9X5nuYIQlntEdDv8uYO8kJaE6kYEs91Ocknku+rT97VXVm7KyhYYyihnk+yYFSCz3QRTR1iCfiyMbVjMuSgjz/MNxuWNqBzX/WOpLHb8EaiIo40chf3KJJvB64Nfa/bZ172WsJl25Cx0+iUXQqM/s+1sK52eUHlmxIeaQQrnMvJJxPX4Rrq9KxWiFtvHlhx8YCRIm9eJs5Ram9vDHCWmud/M4X3qeeofOq0vBpXAihuiKiJeLLiX6TuppClUqqPBmyUn2zTjY8N2c6Z118Jgb4OCXIBDMxGKMyHBqo3751KY88cUvhciFEKNnj8POLnWLlCsfGbvqMqDC31V25rzIHW5IyZznwCgWIiqghBdyuGvAss7zIRrtl4DoQI643CAbtTHyo5s6GxzINEaQTNfJTrcW2VMEksJQ6cMcwBNCqVyUlTRuSwido8cntIUkRE/RUW/yG0bEhcgLtKU/dJVHlIDLvGavUx2JD1uBZixgzwzAGAyhN0UlwXQ29dWGs+volbiSP3ecVL7PHGxsHeueKx8jDybwE39NnmZXAWkt0pz3DIHfGYvbF7YdmFvls1C+nVJ2XiTLFnJcSx2iJQcUYfooHX4mFicFxD/oJEpY+tte9BtulsO2gY4RufY3htQAvbxWr4ihRUF/AlqS0tcJM2F7QT4skSNuchNfsz7P870FrHrfa23iA89Tq9TvcrSUbtX54Cel2n3e4+nQp/ahd36E9ZkucRIB6IOHu/saJs092OFxz51nckwE0qHWwAuXO1BOxsCGzPa+3qNcnsJXXI16N504+nAkhOaGO8SdGo4jLLb6kLLF0yLG5VIc9pyCSfa9Tx90m82AmmM70doG1UyWcfudtHpsOMHdLYhsOOhMXksqG3Tvcfog+NyWKuq7vr1R6nN9+lfYwvZKZCZNab4xolGwoq27dldAgOAr/ffPSFflce/nOZYJXoraOPMgLIdcM6/MyiJjiYYzr533HEiTf8d/2WHx9weIUUCqvDcgiKqjt3VDk2tnZHG1ksXFLOt/p6PWUWHGnJIUc2wi8+AtZX9q04W5LsuOzi6tyk4C63cd9u0fGx4mwh3JmKJgSlHlfT5roWytKuMily/MPaiLB/EMWPMx6BPDrcJdCemy8gQoFpK/vVcsWRjPRivMnBIsHVdhK8br8QakAFoBYeWKSLIvWrTSPh8we85xRtne6QF5FgQcqntKv5CGsDSVzXfgKq8Aif7hkSbKHisBpkD+d054UH1jiEg4EcPblwzxA58ugSuMhsGAtv65PByB5f/QxMPtMBsZH59rfHd5nSz2XNjMtXphkfjThbHPvxV9iYEkIGXkd73gzem2nfw4NemNsp9BLMXd7ghSU8jZ+wpZjVsze24dMmjZWLPFmDwGs/RhbX05JNz1h82XBp+nURV0lCsygdhCcqAk5z9PXzJeZmBLEWE5n7ca2C8F8w13RZSh6rScvEQn1bL7rILU0bcAsMB4KXQ4mDBIEYc/kVOVcouejlvEzcQtyWsiimo24wxOA7veK4g5gesDn7q+VEXt3L7ybNGqKxhal8RstfuyHc2v6hqEjLGVpcKG30P/7GkhC4pF1A4MWCd5AF7rYUaIquUs4kdLHCqSpgXvyt/dy6Ul/KqkEdlT87Rndn5XnP2Ez3ThOUa9VSV2DJdiyI5l+hb/ioxqK9CtaS40p8d7i3UqK1ltgOnHAgFwWxDOey2s+y2fU+8tVyrkLGlk4PSp0avvzwmcJQ0QochW52HAoAnitTlLJhrxbxmNRP0pz70upH+p7TbNggF30n7LffeplM2wWp9tifXD+2R+H060siJ/sKil+qzA68FP7WDp9lcCwtpg/nGiIuhAG1bRSyoazRtHR/nb5HaT4fJ4QNSvvYYBTPoSOo9IjizyM+DQ8OUobafSWosqy8oYjImsvZ+amfBkmO2F1mjwmNXC7l6I+6vYDtzavETHoYuTpOE+ILRhek78cT98d+KlWZR8JLPgRFKmBle3XGunJmBGpuo0b1+/qG0NIPvZliQgjLOgWOjl6gZYZDwm23uv9GX0JaAIA2CZXQbCFkkAGfcL0tOVtUERHvKkH8GZc6Y0eu8nnNjdBUDi3SALPS8qXyT1EwaqBLGvdtzdhJ4hcDKA1jgSKyvA1BP76AEC1lJ8r5gXP7cUAJWSxwFw21JTQBzDIMHYk9OEBNHgKbvjkSm69NDGjTyhXDU9I3/3coUE47kAkbRG4fYcSg/cnXy/h9j4mPuC8L5uWQedNRHFgfGcfqsa9fIlSMP6Ol7sOjUtbM8K4ibCAIgoR42IjLTNITch0T/XqFyFYkNhe6tpdSpF7t4GMqU8Fj24jPgLUgCciIkwQnrlQXKRQkFKv0JCsQyNK+5pEUqf4SXXNGLvD5Ap+5h/gfGrf4EgKBFALAbXt4ii0yHixpaxinmOxHZRom16oEUL4gy1RU98EbEvvAplbeYjSN/PTx7qklp2z7nE5lSLK+/5E9vAvp3wTWl5iloV/qN5gH1bVLAmFnNSdGEhtiL2dBuZBJzHNsZ+GQLkfG6twuViVvdkmb5Unacq/jmjTOyF+eW7Wym3buTa8OE0o1yhwyI0Y41s58Lk06ps5VM34mhL3p+8B8rjZbwhXtdqGS196KArGIBGRI4qPEJrVgKh4odpIvtv7wI6b/92oYsIaMGmqor6dXo2ab4Oi/UZ00Ej9f1ayttcRMI3cDLTRlrD2qji7BS0WQPab3kJrCu1Y1nDsoqzHRa2yBZd+WyQEpto/N7vSmpqZp8CGjCp2WQFXbj11Mtt6fhfs2/J0MZqTLd+sBA9vX9zra2Aan5G7jBS/NfvbfAFxlJGi7BD801Ycvk4iuZNTxaBsHgt5oaqRn5PvsBwCrclo81Un+8xJ8TPIr26nrC3HVOuXKNKmhxLR5UAUWhh/PQGXDlf1csxRekapJHpNgegjFRriv+9hNgGGI1TN384+AjsvC3+tg53vws9AhYmhHcB5aMevKg8HxsvpFuWizqaB7TbvY8yJIGqiDZVaxIgOxXdUGunVrL0/ARGdcFKRTcOAyxG0OST5/KqWu2YktR5YWRG+3KjMewIKY8DcPDyPGbzrBtaHNzDZkzy5MThhfGtSSC5/jAgFoH0At4ms/fjTnfr6vfgVSQRcSVzUgiOJQMzcXP0Oppw8WaKgfepCn4f4IfoZICC0JdRi1b0M9+zvtxIwR9Te+51dPP1LdAHAF+I8bVgCgiYS2/ggJxk28uRu1QFJH/XmlRwnGma/FAk7Gsjn+J8EFPRcoWY6CJfy7nXYNX1y04Y9qqq/KhreX9lmtP/auOzsaTBau1/Yy28PAImHHJIgl/W4uzLUEBpb3+LJdl+xbC+yhG2fpZFAwapLWjishBpCercAG6cZ++sslPAb36x6aF68SBtcfV4cikOUKu4BjGJ4nT27vk5UeO6OJlnb4YYwIgYe6xthlmbYhv/ehMKuefRx0KbTYsqCiBjf0ygplCor95XrKXEuHc4o833wygrXKDn/HMG98lrWw7DiYDFCTfDZyWWhbrD/ZYhgyrYEa+WE67IHA5BFw736hFna7FMacd67NQ1gE9wtf3vLdra/ndTYZntbc+GDoexpxrJtXzyEmWAUCmy5H05YN/s0U+bDxE/iBEQqICdpmBGWpFpG8O8RoZJaWRgYX3m6DeF11CS3CDAfYRSLAGWSVjS0UpcWzgg2elNHZUaT9nZhMBSHZHtCXyK2reppeP8svHq8/PWpvQkL+XvofluK0kp7w7rY4BjQ6szZmltkfRcHFJ0RQT2ObwYvjM2b9ECi5KqBKc1eXlh7JxCPMrc1ls214fxlWMWqKG6YEAyscM6zxlIGay+hN5zb9poNoY18k3Dk7fRkk8tgoakhS+wNaLlMD02HuGyxswfKCkqyYyWA7RVCYQkrZOM7/Tdqhf4IpX+V0rFdbvAY4JKryTS0erwragzcP9PVW1/j1r96P2HQr2N8djDhQsypaLWfyPBcCZ2TwmRHnFdCBxQwNNYOk+81YOk3s+MJbelM/evMs3VvbCmadwmCPaXq4uVodQXeBJybpjG1QQh8hyIUQsUbRSd3NcUBawuNE5gcHHdqXEu9HAveq9MzS9W2kWW+F79VfZQzJCxPkEdyoeLfC8c/GB6LnTT5vY7dyUM0lsBZb0sF3HdPk4BWYIizZSXI8av8OAtDkf62ON6ob9LG0LJc2WPu90h/KuYTR/wQDwvOsfaaxNC1O2xs6NZttsteAIs3SIH+VRwdOlOxvFLGcqwV8oCTXaKjNhL13by4wET2la6F12p+mlb3a3CYo8VPQO3VKjrTWcNOnI0RqqqJ1P5pdwHn8VAkkgHDAJ54A5gRJDsjY0cQ3c/AB3xxElxg9CT606bkDV5oIcu3vQDZD0Q3R1kthcP0dB6cFI0lrdgJbljtS+/Ac8Scw2QTd4LkG9dh7aT9d/Npb0UPbqieWiab2eR3v9iJE5kByIXMSf/52vgo4bG94jyzuehiuvtOg73obiOIoLN2fh5IeuR1K23zN/38zp9u2nSm/7eljSI0eWbjreIC45BR3rwcfAPGRKbfmIUENrjEKs3hDXi4FYCiYo2hN3onkSqKhEXonwbZdShLy9WmYMdmgVUTnAsGNOGjUKUmmKxRDkAObaITXhbHo4ytyJ0BYEiOAT5wSyllyKEL65R3fDQgIphOSVZ3743PtAi/OUIOaiRViBcsAOUQT8Nr268L3XgU1/OaIOhl0fMyPphzDY6TeKNE0PeBfvLm4x32tnXDEqWvSFV63hiLwYECv2T3QaNfP789oN/gq2CbjVJGjnT5NGe8JR/MA0FTlNrbq3stp77LHUQzllj8hol5Ci6lfqhA5vXatSG9AGHqWRZWd/4YImRvXE8zWX98Ny8TfRVo9+xlVoMpdL1LzEaNkJoH5t8GF9XDXisN7Z34WoBupE3Kh8umQ3F/kXsIVdY2RrSNN9iivtKn3O2eLtAkpTJSkWeMc6njDbi3exKY5fj2sopB8jeGpZWwcijtLshmZpJgzDZDZl5w3IVjlTpH+T1YRNQG3CBe98XouHdr+J+YtjzBy7jYG71VsSvY8Jobkj8MQyTlHsyMDCEpKC3jhTsd53DT9yM129+Mosq2zsTDCgmV35DG2fxvMcg7oOrkbACBFpQtljNwGCamWFvWQO2sMrW6AH6oxfurPdvgR4lCryptF7gN2i14KNNjDIRMx71GI6ExCmfEytxjglM35vsLmq+0o6CZqRIk1cBolVhsLG3EfFv5GeX4csa+gTlMramh3UV8m8M80SDPmxg0NSMnLenES5ifAMm/tAWNh02CNYcyx84wsEsj8Q/GhUS49CFogWOZ74hW6ZBQIwwMF2RWXtto+jy39MamIBaMfGW7jrkKWY1Mf8ikQwgZ3pIkmU+aM9i95BrZfvYrbBjsBm6soBSyhJj+g0hEc8BsDUVlFcL7/VhmaxYL6JodKdpRdzoE88uphEN9vWfEPh9mS33Vrc3ppvFc2WwTkUYOv9xB+YrkVeJeiS+W9oKqRNAw14jWeH7YZ/FhR6zNyoQRTgCOjIpK/jLl2HTY/O7CanbqAzhbsCZAR4Uamb30aCZy2SpBFrC4RjFTWKWTpEWLthI4eOLEsloWLWkg9EtWitj1vizrx9YTPudD8ywozYiHEd5s5/Fe8x1vzM9PJeFAtdwu+g4rwGWgCUvBUTZmuGq2ROXyywGQ0RFK137Gw9eajlHHmqraswgAqcIiKXHGhpc/Zf2ewTEMNoYXikCNHuGENCqCE+7vmgTZ3kr5QD6t9g6lqwJ82mjEs6/bHG2W/jD/zXTZEReFoxjrmgao1C12OVTOTIryRWufkV4nCvRgzIDgy9cVcNb3TwjSGfML3jlChWkYFkapr7t1E2pGDMdrUYR1lpUSH7jv1p2XGmf8eFau9ZBOpW4Ts6/GxboK2DwVwxCXFYH+jFuvaPGGJQ0Nbekk+CWb3pkxKdj+3MoD/QYQfVGcX0+VOzA7rpSAYMfa+wJywL1BHQqpqlZz9UZtaSyedUOy0x2DBAYCWAa5WEDAYkeTy6YFkIaPS93J0wxEScpu/31QtN3wRgqXHd9s52MoppTFNoAXvoRa5pGRil5QjrhnNL1zNH+nQa+GCedTpQJuzEba/cBGGFjRpviSdH7RFLaCzarkgkCckpWtnDOr0BQOluxA3F8+eBkrIGhmZNEyd5We0EmTOoTrmJlXyH3s9c3hHtmTa5ySj6O4pF3r0DjMAuf9eRNMpDToKZdOwOBPKft01oDwsNesrnlrhgUd567omDWqtVvHGPK+KpRrn3ndSLoZLkDED13dItT3UKFqfDKG+Y1wNTcu5VClNRvG+5oCS2xR7ZKUycCB2WpU8e4QpTYzOZ3qDtGNBQRckoki8ZO+DTU+0y/0xRynUjhIu/HHdEgr9GnXkjRlEvt9Cd/ort44QsvOmKtTE6RvT+JvbMomzKWhFfTYn0uLrysPxYcgZK/HG+Qmkbc+ct3ZDd+WltsMqhvGurwTUp205rizMXBYz0PIGu/dLhDBrJGd1ao+mqYHpInNDfufccn0+8D8TwO3W+aqZDrKnsHDfSNLiosGqKcW68xuClWZamjLPZZSH8LJFFRafOYVjgD40dvtfA88fa8VwnZVa1VglQIHD7kkx60i7At7LeXlXn3LeCLY5fpBJj9yNUAas94Tem+U3bzlN2xtUl4Yu3HdwAtb5nfoZemMeOSlKrPZ35o4fIOuCEWnuDXlz9ohBypoKNsmFqUee5ZoCeoNx3pZk8OyO886LLEISAqP5XLZTwYF30UDdLp2Q57nQKaBhpBn4QTqwJyhBzp9gVM2sfEDib+ghdHm2L7Vl7fykj5qv29zwY4tEZLHMHXgLT+W3RHbd68LumLv5vzhjlYbRJEN0yx+KamsHY5DwXynQWGEum894+0QTEWq9zPSpmDrG8723dbn5U5PDXoh5h9ja1REFB93honmgQTAJqzAMfC/p34bQFwqWqLdjbxfUldgdkcKZR7cjTAzHxKMDCqY7rzI9NPbxVH2dBdw/XUlTFrrrlDwcgEwBm5ol8IQlD3bFEjHpXaZ/ZopevfT+H6qrDkDVfieBI8IEf1vRXlYQ7spqcVWN36FxNSatMYlIDtGvmH3zWJoWa4S0vuLB6kGF8YDeDxtVXBuYydykvIqJLkWeqRxVMZI3JmEJGIFWlYoQGxpvRp2KT7NqbCjTooYtMWQ0vUp3V2+GhRl4MhjhznXDqiaAPub4plgBxIVPyVPyf5MQ5vfFRanG5o5qMB/hJhuwwYSISGgrDs6RuxgtKSar+GZvviIWMp8Hai1CPd//Y+evZKegsyKBa1dqcY4I5y/euJJGFqPfLO+2Tb4QC9CXeUAE26lqUlzWzPWuqwbgpBqjipS85Y9yBuOjprV6bUKthvIfmcsdy4UoDlVvtUsHSD4I9czrxazM5WOpNpWjxe/+DPsnXIiM1TEqvB1WoLOX/WqawTf3Gq+7Y3MjmHzTJMm5Jyz7G7sx1sZaOycBlj+K0Z6VH1U5YvYgysk+Qtxpt5x8d2m2s0tWORNllxRHn+yaPGpNgk7G1yFsEEuK1ZHZXcKvqbwbzNlCE053duG8kvVPfrShJZmLWqxbwV2KqyHr7h2jgZJVxVmIBzQkP5ifpDMlfvp5vvhnqeddvF5gNh3VxkSpERAwtYj/l8dKMxuFQRvL5UjEKX240IzseTIe496l6rC8iW9EtT5+kg2wAprC5b/bufscjb6VsCkriy/WbgclavvFJK3vENYNLwPRoNOnOWhxvegX1D/KgquxZ72fdJ2i2Y4M9fYmTKrZi1QFWxiTrZwAr+B3BlwEm+jd0Hoby0ipB4FflwrGUIujDE8bOBPAXmDekuOvn4ZXd5UKY7qOTjfkWKcZ8t8p/Dj5wC/CEve2XsXGTADbtSbLNkSNcSS7vOB19srRjL3dX06BaVyRVozDUG/vscMnsMcNHJsgDt8AqO4BHzpycq1DHYHYSF2eCUK/ceofofku1866V8KM5lWSF6MSaB7xEGDuLCHv81ujcj9Abgz5eW4pn2JZipoAeL4PEDOeFN24Lv4yKkOXTG9EdVGWCa00f/xGXlmwMTy5OUKqAr7hqawADE3C7eHXPKkIlZTPwwM1dR4ndSQMZl/Dzp/7xbqUTIroIWfHRbzFEOBB0FowDumi/BR+R/S826hYHaf2Vqm8j9jFZkzevPNk7MPw2uYpoHh00+DHjKovg6gLFh/S6Ok1FDLaJ5OhcpH2TqlccFM4FHfK81MZ2cQgrrYjJugKMuQlNTnhsDgH+7y9Z4IsZiqMG/EczYZOD1sPnxGe1KF9gSSXXMS2ei3lZ6VrjOn03MpCoPk7krICrLem8e4lqSlfiCXcFD2YgZZGiCFXEa9fx+SFOph8ONI3dvEzBs+GXa83ueMjRQgwCbsFCHcVNw3FGxFO/XEEqDv+Dv5s6/g5EnAilgoIacwjWjNKSw0TMwUm/mad8wG3GZOpR2GdG+X8/jOlhQXo5qv+jL/HpUkso3/eN3vnCsyl8u7H0L1ZSqAxcps00jojVRIVY8ZlJb4aRYgzTwhH5mPq7Jo/Bw800+C0Of/Wqk7uiR24nSnl3kZipQt5cU43kgbXTpLxuzlYM8uokFUBGn3teBZwhLjRmiBA/6nJAqTmNOBpUqVEi1FEPfbOSfMYm5TqNNvLZegWPllYoqNcZS0vfd15YonvHU/g7org6wVSoVZeR/LE7cBbd9z6qhWnI53Y5eDQ60LzHAm7HNzI88J4nlQcUHqnObRjKBm4SNKubRMUro9Od5+l7X0GJmHrO4FnG8npDaH2c1ECxVpgXLDQad+hMqUki4YfasQ0WGLPXjl+8jYqjSlIJWh7SSPP7R62KiqVoOCJyS75tYX9KRjaACX74p+Dn7uGBYlIAaCpOYYHuws6KaPf/TPKwdHMGgfpaWAhXpgClvcPa8GvxDsDcrMfBwgDPWCsR+gQGnW02Hw5Vkwa4q1F4c6P/gTv5OOg4QxxVw3r4vtn2X4Zf3Bs1ToTqj1k3OdI2G91uOnwozrvMryKoyTZrmZrtsfBAKX1/sNhB6n9iplCBC7lyV4rqoaokxNKM+oEYMN8UN+BAx9jBCD118uujdwR739xMk08YBfvUw7jfFBsluIEgv4ibq4cDBGrnm3HoVfJAoWgx8ccS2xYbV6H20k9eQTb4aKWvF1KCJQHhcIh/gNpL3C2NFq/rGELD09t6Sn2XqBfsUyKZL0TyLvgkLCq7/knXHOqn4YFOpQOjQULVhYbNT/vekR9Ws8wELtFMk7nZ3x4tm4eivxVi8uSQnlv8YJEVwDOicJNTKKxszWPqXKq5wsxQyXBtqM5AiNtI/QDCnYLKZ4NLOzgGliOiPqWh2Wddti2PoK05WC44F1s4u+Azeqo+ehPSWckbi8FdMrU/D98m0aZePr6FgErh7cZO3njtsuXT6ZNkkm3qt4dI8+/OYOpokG+yIKFl4EnOR1hHWSekWuC+gOGLMNuO98QxW3P8MsLlP0KCT85zAFtRvW7iLpxOGVMNzv6gKck5bp0zn3k2roTSd4m7tZ/2uBwNk/C4wHM9QIN+d7Oaurr+9HUJwlllWYlW8C0d6WdvCwCPbEGV6GjmzVDpwxFJTny8i93M59H+4QGP/fGvWVSI4+REZot1bbHjRhy/qJ87k5tHQhGmv9WVBeb5UgcslmsFWLeQ1YkN7O26JrYriT+FRCxhKyvWv3AjEXFk1cS9nMGzgLeSWxownouQ2a/+UpO3kGY3grawEvad5Q3Wj/grx83rSYkp1o+aC1N+wr6FewrvMkOGXRqV2lJK5iqS3K3NQrkqFCDyVjZcHSJfI87B9n7Mtvn8VXcOnDF12U/thdDnpw28cksA9P/qQ28mXCfIgZhKyL9z/hDbU6Q78BQfnEjuYHcQ2BheOQbIvBBFZZmygHnmbFFVZ+b+NL3eM7Su1w4V9JXh0gYtgu4iADJ4HQlNsh4nqTZuaKgl4ZGjXWHsWGR6vgv0eZl1eSff6EzCo47JpQwq9WBR/5uM8QMaz38l74xsIRhS4/HbV1yusUvm4yNwVPyj8NiHMW4IoKTok2hwijIcU/LF+u55L3RR8cPUAVRbi8uxCO0REXTnapK5KRE/I33Mq+e/YG8iByGkE/0OwnJ6e9C9QKDOirCp7U6/TnuPeAksE3+8RQ86aetizy7Lcf61/rbZA+YXvGUUqpI5avhV+5WBrIFxcSe0vSB45Q91AtKha6p51tY+5VBaAfQiyTzdaE5GIT504nk2uwj42Cy44ttt5qxK1mxzF9tBMieKIiIlOcijjruGf3jDUpC3OjE7b9s0pC0ylGH/xHT/YW4/+kk+xQU4ozcA7bIfqMHFKgNgfeey7556LK56VvsOpLMITr334EMmAyPo93S7CQ4Qwgq/wAUlPae4WXpiSwrTKWyIfjVCDUd21+fvmc3eG+8+0z0Y8O0y8lIaq7A0TJ0qy1PajxsfKfNeUjfhjAX67VQ+OpronsmJYJBkXhnFaSRzBtfjdI+qDYGvZXzq0mJIm+WS+LxvwogzwoztddfqGxJSK5bkm0C/iaL7UC58JpUUrDmF2dK9Nrgyj11vVFr8sMcoTWgBnVuGiyET7e2xLZ8qVlk8tf9ZdfpFwX1ziofueN1Pd5H2lvOzDLx3u0m2wXbAB+Gl/Yd+t4HNuAA8iyTJj8jDmANSKqwPbwfs4QpbJ0Fk42FL4/aslG5yvCZhQeCbtwhMoX1Zh/D2JFl79Ko54Ke0ef3bcbsgOvfTQR4KnDTnMMo2Zb1s2r43lPX9kr+kfyiLwyd9qKD34Kc7n1esGeG/cE9R78Lp3fKYlrW+GTlncZ6q/cEFdIlAxBWD5vRl1zuHCIiWpVRFLTuA+F8PU+yiuzu1Y+85UeNOC0TekjdR24tJRUneITQQKM0pEWYe1gg2Mxpt80FvuRMHk//MyqY/EI8rf12aXAebvTrQ9CK4DqqeyPaUJWY1iPF/rYJ7c6ecJ/k2AtRfX5rHGVVbU1TCWxPZ6dm4gmRhLInfNb/RK40oGBmHKN1ovvHGEeMwyhMWk8/Iis+Aolup8FtN7vNkRMKC3oL9Z7FX6/rIgwloVjfZJIdQoERCGbgUi9qseb9rv44n/ny2y90hkPszFdvP3BTbFadetowBSrOKe9nZu78EXYYg4PZuH11BykEfglMLU1WsXm/0ttyNhnbMSW+U13U8U0NyNUIqRcSNHtE9JHW9QBECtOV0g5ioHbDYJLc5vbp/ElB5RrQlxXQcdHHtf9olAg0RWePIN/fDlXhGnGlfuC++4vCgJQFv2YN6B7G3agqED5NxVetWxVYAUIliD10Fhvqhp2NCF1iqa0SFT0mvOI4rynyoOjKs2s7FxbK+ynrxPtZjF7qKvWDk+RkFsPpzmMnN2Dfh+4RavcKXyFwszJBev3iYy8yYA412YzK7H1OaxZSGgTZgsWpnYSXDR+q3QutLEARg2nhdWusclIHYARjr9oHWLbvx+a68oM4Ej46jEVeO/2sf2m4SBkp+L/3LQmd8TpJfxuf3XXl6plfklH8RnhnwmzotJhhd0AKtFl7dc0SaHbGxwWvP4ocbUb7ckEnjoYYu3nBik7xtW/r7+QM1K3Q83PW1kUwjst4AgxondRfpHJ4V43ypVRG/7SW84ThezYnujjH8+KucZzVdyPxr62sjpNLYPvKPlpsfuMZ/79zxZaxFA1H05J+jXS5brpGjVmX99hB0TGcGYlzpf1qOUxIRoEZLNxKyLtqveUb7RoYeBOYdjT0J8i53nbCqVSaZ0gmVnYqkNvD7sg+ZO1T78pDQeqE9BPQqXPVxEia0YPKnSqfV73BZie37p7dCl4+vw1ZTi26sZr0GOXTkAN2FDZJYiQLhH8cpbJBwflZGpFZhIrTdnrP0mHA1Pft7KiL+Gv4L/nAAzMxv1hvtt0NTYgP+Z+u05xKIRHB3lDa2BB8A5MaKrSE3MKNqTzU9p+xUkEoepN4IQGCetdnZgdjoJT2pn+AeoNYc4hHj0TYbHy3107Qxw4+fLAkVW6m+LEsQE+GQ2VAoN/57DjuGfvTtwA951g41XExXjgugh+cvHjJWMpDo1M8PDNSOH4Sq4N176CT2R1/UQut6v9N5vP/WGUXsdIyrgsGEririUyytdQ0A2uMIb7KEtyO9PMkq6NJ6Ez87bNS1wpEzyyvaff/0nXmq7REpxJhkV1AFG5KcNnOn+VozDq/+kFZgGR9L/7Q5a4KoUpKml3xbCSnH4NCuSHpynPsruxF6bcLLwM1eGpieV02D7vDcHYlEEvuHLBIGxIh+eTbIAjflboio/kZSAmhSWH5Ce4WFyxn2wyk5TFyQ02C8oI2ynxN5NYMX03cEA6TV5ieQ9GSKkOaoB3yrTeH8apJ50pqak+wLNUtomhSoBkAMgoLQTRG4G4/6P0PHOTgctANq6pywoW8wPVxWjFA+85RnGBEuBD5Gy7+bAOcPHWMD+3jkZjs0Rt5zU3zujbqj7vLPVr4TriH/xFvdT5Nhk0AsIYq/uH4JsinHh6GA/KZ4Z4giGU2LqC4R6jgMYLJGTM/ZJbvPKaactO0fo0jiGCuw6t8M3S223zntadFY4tBmrLsX1/X4da9ssB0mjZywPjToFoQodTMO0Qj3BYc1gonn4oxgzviO7in6JuAjpta43vONEtDXIfaubF0Dokpy4oTB51vzwie5n+htLkJxeikzWKTpABPlnh2fChtkymyTbuUYJnKEHEtCbH2idwIkBPclA/Ejpwx8WIbkWPKrWs6JW9Ds9H7Z8ZfJFwfxKExHS0iT9/8YgBVL7uzShHXHHBlhfLTARAuhBOZOAboD7rWYT8HpbxPlJLnYuvurTJJpYteQA25IKhNrR5n8DRcFZ4jGJuhocVEltta8Ea0QFCuYYG763/V7wgGmDggrI44XV8cqM3PcueHvrI4fUGxoxNZ+XzYDPNswYnrlIy1nxNw5lqKg3F2rBF8r454TLxXtafn0V6fYZZxvGKmJVgLSKJbOrvEr60+PtJELYfaxiiFw82LE2oob1s72R3iYHP65KbVDOEr6yE4HuLh5hHyPvDjQjR9ch5pigrxxuMEAUALD8CBDY3dZrZqwoePedT6BPQ+dgWXBY5pgv3egR+Q5nKSlM8WBYk4iTKPYa9yRoDb5IDJhW0euKcwrLBplo0Fg+1qrsr+huVu1cTUX7YN4sFIHs/jFtgWRvfJom4cLVsg9ZxTMDFaJIrLuyFuNmB1g921GPxlf2xddMO9XgKSQzOvh2GW+m03l5Q0uLx+woaW0G3QbABcH8/bUrBzZfbT5s3n6/+fynM3p7Cowry2Vm/PWrW8FvJZXAIcIAR9TeoDwYoaR+gFT/Cou0KwsHphG9N1ardX/xxIOj1BBwEvXS6Oy6SAaeTIrNrk94nwvF85VT5dg/kDFSzc4AZ7IXudOx787G3iok9mlm/RGhVK3hsLVLba35oBhxA/56JQKTaYWKrKP33a3LXbzRfLEe5BSJNZBcDeUp0FuxrNbRsT+ZuOIYQX8jdCivnOyXTo0Bene307qNVdfs+hR4+9vb0RaMOUwDLlLRc3OZyCe7xgxX0w/fBUfS21kFSLP9my9XtoLLo6VSMN/L63UZI/6VYp0Z3/4M6jRvuaoaG5tJ28e+N26qUrg31cwTYlxAc+1o25vZ6+gIHFTpxga+fEOh7NSC+yKkxRcNthHnX+RZtEy7aXJHm5JxP+0juNeU4Lxc6B31fR1LSrBU92YCR9HoTRpNb/IV4vZXdU9WLUd0uENvvfFlKG0UFVh4/aMUQ26M+B8M/ks79bo4XmpmQhABUQlKh1iybAyhWopZ4FrlD6sBtwkWNMcxAoVKWcPB2sZrhQwLAPoN68c8YT2Ler74wb5fvLxH+TOvkIj145OmSPofI0djNrVWPjnL0TnBD1MKVpRcK6K/l+mkviF/0rCuFuQWaQTXbNahFEUwKiXhJnO9N1bHcSbgmJnx3Ktd9eP2PVXofp25VC8y4a720p5IoyyHibCRCLS2d/q2ylQjpe2F3FLWFUwHkvA1sIhChuoS2EwO4ElVRIp9U22R7eKHaIdairGejqgtxiPnd+VFMtU6/Oqv3sgpO4XSb4o1YMfCoSc+cq8LPi2maC0P3ejeEmnB5mjKeyk0zL2BeSaGs7YGxiPSVwQXUy1NH1Nv83mXnL3rHuTPNpzXCrqHY1uRf63tvfFqGPJHQIrIwOGIvfzAl0eyf+bGvmDxfFwdB8/oJy+bGikRpfri6eG9jK002nNQq5oGk2lwuurUDJZ+RUW2H6W1lfAW3V3Hnuq1Yj+ZGBz4SDGHXn6q//CXAuLa/rzww3pu+eijWnRG/T5DhWz7afTC//t7bCBoQwPW4CNwl06vhvg+OfUFLtbRo6AmXQXmPBU23vkcRoTe4/bRNrMElnWcBfZvpzDxwL/jE9RgcA4CcQ1fnqBC4071GnCgnHTPQ6wVdFesIefU2yUvDdOcC4cwz4m35RY3JFnIbeBC/Rndu6iwPXEvQftkW/4cwkqeXnQoJf9BnM7J5M6x76TfjrAD6+/GKJ156FfIzJ7iK/i56T1T4Llg1f+vdhq48P27VIEgOcU29fAjHA+t2E6WO09GLryL/7nSBymlVzhOHH6VnOe3z9tN+hpakYobA0PRIKsg+Dg4xg4f0lLTJDPL8k8971p5fCz8Lisxu6nqdRrLgp1KyRf0KiUxFpJ5HV/NfXiyR3sShDVXdx1a3f65c/6IHDC90AMagATyDAwvY3SodfWDTNjWhdRucB0dqusTbzUC8rkmA0WaQdhpRTQcUmustEL14nBSrINst+bTzE0C5LmpF+8RXZzomeNstm9et8MW63Y0sKKfHkVoMYtPObZ5gqmgZEKmsfZyAUP5pndlwKsJZNtigcA+zchklEdWA4b1ilRFm+5LVhKQ0P37kEbnyWj8BHfqtSz1KirVYH6r43+8Y80oxsxQmhI/fyW6KY495Vq1s9p950EQP5kYlid6IvEmqa20wmyt2dNABBAqW39yMfaxG9PSQx2Xmo6RLa3mV4A3Mzk9mPmWztIIk4geGQSdXPjUoD5u3h5lquLVN+uk4IZrq//QGckdhw8IKbHO6VhtZ1m1W2RvbcoOZ/IVIw0fB0p+wIRYGqPN1RtHh7hoDd8f9NonCgnZwRtAKGEGO8MACGekV37D8rM6dmu+5/9iE/LbJFOrs7ZNVs5oIfprk8n1Ds7s74zAbG+C25qHQ552peZnIlOZxJzSi/x+dRnC4rTcuMXTfsW69aLlPTFPfM5NIz93hBD8z25Kq+rGQ+2hxoztiQ0sbZZuwf8BT9OA6z3g92IPZt80aXq6OwzY8AZ2wG+1f1iVGL/kcqWs1ip4fSvd71qV8zdGCarriM/Xs7aAJmUDvdj5OotgUHgHPCakeg0JPCD5xYaq5kDjHNt+O/ZVcDRZXM4meWKoTA+sgMJ9g3kGZLawhQIscVdK3fHPMUl2GmMSIl4YZj/Yg6UFDRRUw7fxnt/JV2Bj0A9DC1dzGfHeUFg7zqGF0auPJQawZLgdAIG7e1OtI00/ZJN+kYSZl5k01PjubkqqjVBuriMryo2YKX1zJotHps45gVuWBEa8ZRqKRF28OEkahY/xiPAFQLwDQgaMt+ny7jaHpJPUnWzckJOzSWamUEnNrUdzDEifPBb1JkPmxE4Bm6AXSDHsfnzLVFuL5agavUKYus3qcxZIGth5zXADnNHuLVjXID9nBId23HlxbJ3OJ+JQKRBUFa9P99U9JpNEjAQHXCm+24Fn8oVWIeT798/qTk0zyJQtW+PamdhgqjVPN8CdWH1WezB85YYx9vOfKzTHdGtu4u3gEvPlWLuInV/2SxpE10VQUFqwW6bee/W1xmMmpKGsn50ahpwvR1O7esBYu2d0400xj9i5N2CHLqSwFMP9+DpHp0XhL1gPgasHc3LXCCkNTSQEzL63mBAVa4DiUzbFixGZDavlNWqwEeKkhtoO3QKMvyrtpueuya87ADrj6yb+rtv8CMKUIRB2nTzwTNd25ASzrqkovKN+dzkIMi+7MRaNc8WXeOp4fVz6dQJ90aoZl0+Wkr9X7k3GoGOT1E4bVwgB0AiiaB3EBaw8k6ku9yOpcgRp0qe5WXMEa75VCI3/gyJDgaTDxsGZMfXgVFfPPLCzTx/227Dq3wwL799HaGdjJydE3Sl0z1hVDrYMNvdSDgiMKp6GqcutCXy3xRHFSqglgPFzu6U221JRLWl8kxsdOgV+G5eOT6TYKGd8EZzggiDEo/70NOzz7c4FQ2SzgUCy8en/0ROjhUc5hn5UwJWh9O6xPb+9ja5mSRs0nAT4ICIsaNv8B7+QkzJCsAJ6Tp0ovB8SNd3wzRyJ1JhhUu6cgEGRmjNSS3MeEDroO0BKYi5kmGzkUEKiArzIng2MZqt6uZdaTHaBRmUyV6nTsA6ETIJMJHdMq/KSLLGnMpWLamldjSy+YV5wlO4HJ3/tD8B8RNfOee2v39KM6ANJMWJvc+fpViXEPC1MyQ1YCTIXdmIxoBStkE8HLntPIw0Y76eH1AWmuLDiit3LJ4Cd4IKp9XC+pcXB5F1YdR76HK63pGwfm+N5gfcKiLpAa/PzpHi1ybcZrQGyp9+gzVR649PNLjga19wjn7ywRrZd4JuBJ1YYNqxHFT0gAUI8iH+zKjjUsjRaPoiw7mpZH8+g79CnAZnE5hurv50u15nqCd4Dgl/EqoSs6NxPKtDeNFSPtxuAYjRWshQjauQLSY4uqwVx+Mo/8JJyUBvATtttWJHHek/NRQYngIpnLyh63fjA7weJURlN75xsi/BttJN9SMcpLkAExvx5gjAAW3pAffHfFHMSOWEISssmZj6p3NWTlnn06loNf2kZnPePtLfW8vD2j7bMuW8yr38cLdR3qLnEoWNhE27Yeg8Y0PMk4jajA5U4VAq2A98uuZEZ0t5C4aBPWedGl1MLQPxCdww/0UvndEbgdmbv2Qfwo6RFaXJNdhOUnrnh4X5eRjItSFwnc6GwNU2wWjeV0JiMDJiV99/aul1YoIgkXDKE3JEmlWcEB46tcR2WxptDldOzimn9rbEVZOZxziiKqxjjf18cUjfODJyHKDb3ArNZYupxyOC99RtQXzS84CDXYccehS9nJu3/ZgPlsi5XV5kDbGcDVXG6OjFdYgDMklGMTe3N1YkvIH7pEGYByVrRLq4Jf/Mz2gNhYIbfAm2tFnc2Jvn3sK3vifWX9r56TjLLgcPXROf17VjtQI57PpKEjD3noPWJspZKdJCKavLr4+ZDagRSiJ9mZQ3L6MmKZf28EIapE2JkXrQwtrcSON9DV6KjgmpT6FN/sWJ0V7V+HuZwsePDMAwO8tayy5hV18QXLqouRjlaj7Tams0WwIz2aLv5Q2I1ephcO+0aOpyrjchoj9+8R1ATi3j4yySRZgCDXwZHqXGTOViATXGlt9RlOsfS/PKeU/5PTGDiLt7Y4s37MDdZcuzcXnsW2zgLTacogiZ8OkcAfKzPf04Y62bHXs12Sdnq8fZCaf5jlj2svooFJJLCuk9fRhDUNK90ilHsWmXKGiMJJYRT0w3dRq7Ld1+v9aIIDJ29pAYvSBi1KwS+UUwDypKaPOdt4Wbl9qYGeWhwZr1+A5G590LFoXal/rGOx2WHC+K+exNJoFYYkuCit0u3Oyr6oipiYCx02rw2Qzfzm+6ASLlwxSEI2LAJP9uPUDHXgdhWd8bXuOXdtr2UbRSRjPsDaYJ1haMnf6OD8GiqEzTIcUhh8LlZ9Jg6xU/lrO5rC1J82jmdYtUmiU1dflPsDL7f0zmSA+PHXDBxM+Y16+3zRtWxDiLX7LWoCZqDx0M+N3dQPpCvXoELeBKVlElWOl6opcjc19Hx2/VAFDgFQwGyZMFwPYUIyXFZRExqXKbK1Dq5OFLs4Wi6pqmNXpzkwkpOAt7+yIMpamnXB3O9P8MlPwcRHVnE9T8ffpDYYD31/43ZH1EnkPwU0o9DwLzdSHBVCI/BDP/MbYh0qsZhpwvYTr43DTuiXnCD9F+tkfP17+YXcVw+cgc7o4eML5nMp8dLGL/4Zjf5YVXhR6lJzZ7+jfr/DEIaJ5T2HcKNDit0C8aQ5WJrt782mSjHnVYpJ7eUHxDgfp1SOCIThHAeC9+x2meXRgRU+WZu3ahbpabUTLpXVzVcV3JHVNRaa7C5WlmM38WVCnO+3gwcLkRAks5peGaVKDTETjClHHKqOCsEpfxurzx0cFjPEQbd8pFVxcCKlL1/BcjlO9bDg0iF+stHPrPvk2LDM6cDE9CfTcOB6RJzcm38/2+jaEjn4MtgijBrWv8FLz14+z/BIi9Sm7gFfBwHxgDC+FOk5rgmSjjSzRin04nyW4qZbP6CfN+cVGSLicNvglwnBe1RDWj+b3QjRMSgGCKUHlLE9Jc/4rnly+CbS5O6aU/AiTCqC/P36Dm3JHNbYJaAAZPPaAczhYV5e622WLSKeZ6Z18HO6+lyL7YCov+f9i6T+qe1w5mSkq8pbJqFvp2txMOob21wnmLEZKWcW1JmsIZ46xhJN2HMgQHn+s0pHe/2VeiOEVyMyKfOGYkNYctTzid8wfdMeHkyjME7DHWG4X1yUpyA8jp2j4UQDGrnPr4e6+XRgHu7L75D0XwuTsFaLiKkzqkfP9+5rLUa03iqRyFGdsSfIlbHNOpI6fiSgOwphmkQqgGmmsqHkYvaEJnOpxOyMApI9J2kuLx68RA3SQ6o5NcVwshyJQh37OVgvnlYhDEvYXbfWWLLuUl/rlFrZ94dm+/XywtPlsQhhfVQV/XDWfGOx+pSAkzW7ZiAmjqaDNKdh6sL5ZfC5sXG0rXQFI1qXsLa2SwcmXmWxsgyMR8OE5osK02hKZskMTZbRDNxjy5Rd9523Wz8o45EqgUxQVH/LQnv0YJwRfsJhyg2RfKuEoyri8Cb2eklN1Ed26V9K84Qw9VLMCsDYKaszsp4WAM9PdwkT0lI1xdxDNJC0gR85H7obt58hPXzekjZhkBakEtJV9xyv49RWupOj7cOawG0eMWKOWbiHBSHxMQl8DkT6818SuAuA5Y9VuskEXk8aPCaCC/9KtxWO77yS5lz4nIVvPUOrPKhdCM87w3etmVJNhXyih+wl4ets9PNZ76SmcykxHWWSVKF3FnxehAfNXfsAfvwlPOV+I1zPv/7V2+kFWcOGP7k9oBc4qY51bu0L/OL9IdPfJiWDCDJx/sxYWyhqBVzPZMQmQHYrm4a72BXU9WDVy6KhfnwARIXgEUapiAmoaYUlKqM3mL3hSSmma28F/qi74d5zPterDxWgYs+yyxYUxzSq4Rlm50Z/nhAzX6iccRCz1ZRBZ58YCEHKHRfV+5Cwf3UvSqhKlwjq5CG8wFx4gJagtmgtQVAPJpb7qnmTby6cQXVhFxyU6gjSxhnSJaOI/Yeog97ZB0Ge+WgXM6J7fmiQlEfRlFPxqP4phg2pr2QRfcjHFhgaFb+R3S7IezFT7797vsPuZvK/vUl2FRbtGgra3VOkmH7FPVTAArbZHE3f7f0b08bfqpQ+o9qEmeP7kfYtG9laSl+VO2jnuSV+6dUc9IsmqvLSLJkS49iJMsQelJq/p9ZAwujUP/Lvf9kEYQFbb7NZ3zpILqfdUofYekoKVctAtk8lD98uUZ5PpkRA0YlZGTdrKMiz4mJh8aDJsLpy7KzUWtW+A0nhKeNxGxi9p+oKhrAweyf2QXt8oeTjdCGK50KtSDlDkk50ClF+52I9kEwaY/H1Se2tAo8VmUvwD6n/Z3UMUi0qA6oshKg8ssxwj30rqniGy6yDF5bDAUIYTosZwmqmu2IFMsmUe8YpE+aUw3KlpmZ/2spD+TyGavsh7VPBB0840rBjIf9NoOPdQwpKpED7S83qzdqXM/vXOLSnXmYqXH2dq9uDu0BJqiGpfsmXxjkZuoDNCRqBe+/ja4RS0a1zEOw9bZAZGQHtPH3SfgXC4RJ3al8gggfDtvCUl40J63RbXrP0I2NcipN3LiV+P0iOwt4kIwvq0jx5PxoZ4lPhRB2AMy4Dbm192cE9a5l3UaUxF3at6tv9abQpw7Wq2LZT434dJAYvaNRDfrfJ9TqxSsA+hbQ2ZXuzT7rpgU8nM005qT6sUmjM4tbDYvcGJUSDIeOyfOEqgSOpJxZT8bVKw7aPtsgcCqrJBP4v2pPumbiXeWs34cMiSdgCKGiB4fK9W8HQ7sUPbIkRG/aVrBO18PjpStO246AwwaKoNWJLkbuKfm2PvwRgQvWRJinFINzzTGFEX2EGZtqlnSmMV/4zaN20igwBx29bmGRAV9FLWUr7dgqqFIFvISNzj7Wid2ODTcvQUg2FHHJn1M7KM7TdgcD2PhAs/4PCE18C0U24PUaXLsOKOGmSH4nR78NXCsAAWx9Lk2YsIGzU7PlNf81XiVanFOh9eW4qJiZA8m9BHI2gShPn0wJ5CKb0UMzMwS8fqjZjA6xuSQgk3Ccn0981+OiWj964bbzomKzazrk9PktN7AjYEecU4wWSEef3/PL9sa0G4fQvou4ZMgSzqii6dJ5Lc0i6WLI+sSYWQQpCKQ6blLFPcYrrvE66HCvZUdQ4m0cvF9mxqJp0aY+WYupJaunLw6z+QrlN66VYfRbt+lW55SixsLJl9h+Nx95WJBP52oM9+uNCyaM4pDQjkbwZrwiVr5qgU7bEWoYNxQVjCeuRGiZIcBEVqNksg2L4a+xIft+BVKk34hQk63hnJcEQHGNl9g8cN07lVZ/OaH9D1ZguVezgdD5dIKu564DlV/gj3at5aw5ujbdQgVPK4rKDNNpX4tzLGBuWzon1xN4TQj0PdbT7PHOdJiKC2t15Gsi+7eIY0TcXK60ZvANmXRWrT+U8OMJC9tIc6CbV+A1pCB9qnYjDksR9MzysIm/9Jw+9uwQIUKYRSOj3QmjXEVOEiDYgLWPfL687LoQnDyf2R8n1EOd5sFe4kSe6tHoujn0ZZIPa1gWSWlff8UqFwLY0DIK33nowkZ41SXnew1GwYKrwr5/EGfmvJVAz9bUU0CKCh9lz8+SMvaB60FrIP8HwekUKyLOfIXwrS2Ln7vbgx7PBvT9HlZ/35Q/4LQsZro7f8B5a6tflhiYdebXr9gB1AKCvJgnA7r7EpEoJYoj2OQyxhfze0Ja7UfHCt/UUhreXuEExufva0LFoo3tR9bEX92R1Q0pfyb4jaDbd7AIuriI8CXA18f0ymANr1bjzYk+yGmDMWqpwvKQDGqWqyKraMQsRlNU4KrildlDWmrzHSIRC2hSbhvQLWkWW3W/INNh81qSiOJuWlKqlDaVjwfbIzcFiQEZRM60Friw8LcJgFog/Wf3Ba2fsWuHMpxJBo+Px6MP3VCT7BLT+/QCFTnpOSGFakbIlzfkmHQa2lg6zZfoyLBLfSw3VvddRVTN/B3xfdK523u06eKoeGz4Eak96f4sT3UbxNfiTV3UU22/L+D6qbvFY9chHYuPy2BgM12KFwv+B2ymGZJecyGdX8wEnNX3atYLS2M3ObFos9XAj3Mc0BvQS6x5Z8Yr0TnebpgaVT3BrcF+TQEUudnyT6QCJ9kpZCjmsi1dRZZixmBCe/TT7dD33ZbrJZbhVtgN/hcmOsPqsoKHg9OjBYRICYFPiWAmgVDSPzwktQ6HCJZ3xro78csCfKQQbXQUhgiSqFJz//7jCkT1P5y7B5nUYsDuU/9wzYX3HowzrZt75WmRFqBZZ05K3PTMyS85VZ8zJW4MPFZI8c95IKL6QhmB32xs1tAHz/QEe6RpXaWQYO9x/1MDcj4Hxyh+3uRZT61F21TqOSQztNONF9De7vEHikvgWqGVAJxtQgRuFTtBbFj6Y/CQyg8bLbJEj+m/yUQrmzOgaqmOOrYtg4RKqoyinF0ys9HBtfRW8zvbOwkd/njKQtIwnrgNVd5/n+leVgmQMMoOjA57TL8hVS6nWpo7ipXRpqwy0Fsu5Cq4eqej/s566vvv8HzwUcwdHSOTBVR0K/OGhj24zLRhpej8q/GKTgxXhf6Dc8UB9oeYt2b2QT3XjCEuxRpTWVe0dAnkPg14dacMSHBcJ6rELg0ntAlQeWso19rYJcewSEqmHNcUMdqNY7sz7ANY9QyBWpezDQqfu77DXc10lMKjjmd1w8Fbevv0Xo28i6kkFA5bNeqiIZAu7COkaez2YAOBAqND1XSsvggLVQwGau1t0JRT3jgyaM4DNUxNLo/y5jHrWNKyjfM2gHtpgOPNYJDFtLvXp+dhOoBhfVjsyuf0p4iLv0ShpO9g0KFLFs3g2auM9UPLJpHDa4ZjmBjOzWcQz2ANfvjTsmya71Ct5VS5x5FZZJ+AWj2kciNH+lDXMFkM+3ZYJusPgb7msT8xxbSyaj59qv4UuFzmQhpJejWXNjvFOfUwTfuVlOlV3sji15AVjAkHwvtxcVr7c80D8TVjn9JowVauE3/sFnPlV4EvrRzE8prN0NUeGRnudrXq+kLko/gzsPGfjfEG8X9I0ObGmfzsUcg66VjjHI4EJ9IqoG8W7YnD6P6XeVIKKtrGCAc0KJpVSKLZ4AqeAOGbAxkhZvhzHP5mCgaRM0R2Uu+2wXRp+c5Fx0g487hraLIq3TPXakiU1zYFiYeXLVAN/yvi8rHwIJdJRNDc+qk+xvXXOUJ3IuXLHZhxezq9Rl9ekjTiJDH+aNtRKuV3VDrIrpQSwxHA9o6UVfIG8ZncIyQmKR3Eu1yT7JWYlXbCV+s9EJsf+qrcpOJ4CEmkvOh1u7Yh5AHjA26rVPapObe7XEEZORpJv/t0lKJ0u80++dfPeFfIhzxX46T+w+1MD8B9RSkawjcS+xlpl2Mni9E3ldti6Rt3477q0z9p7ugW3CmvRp3fXDE4ZwokqRJ7sHHVeIJcwcyYyyc4Xdi3z7gFJApgWenl6HdUKumXCFLC8wthU9K9GhuulQHK42d4cDAb0xPQFAEuDWTt27ApFVguiTZsAipnv2M6rPh5aCvNEv27YQDhmaNMES0+M4Fhh96Pq+8giZksz9jv3gs61cQJmhsKzByZQJsSScI7i6RXauFy7abLR/rJSLhKUCbnmvFxf0+R0ZbKBYdUcZXifTsaXNwMaTeRn5518bKbHQEPtSrmGNJlj87iDIijBJshXoInOdtyxdQTm2n4h7pTLw1x7ydMuGAwBK/8aZKFZbj0KUHtc/giaxV25lbj7BeX+YsXZd6P92TlHzZlsBlAQanBFlJw0rFY+Pw85E9j58iEBvHFnciDknNGB/iD76+ZiAWjp4b1eumSs6FsK5iba0DYsOeoeRlKpA/oexxrMTldSp7tShaQdVafG6LcvAWbTaQyFZ9yjpWBAncMCVDaz9UZGSN61mHGQiKOs7mV93U0DL7DT49Nt1TwMAdA26Zs5bxZl5ykd+DvX/v7AYR+IVVFz7z8RzEoxMeA+lJGoamCPhiq2Sme1dP3vJDj8SV1b3T+xQmmzaoKdw0pykZt4k9tQ3EJKeJGaTZWRWKvozyFs0OcFVICaweoruY1kVuPzHSkNS/f7xWOqT/BlTXefvspiS8WnPce334I/15oGnhFNtKA5Yeb37vE8b5gxKUopHroHwdSXzDlTBKy5mQvhM2CPV0P8VEc/JSIX9jV4modef7zd++AkKkDVKuO8nE9UTrsgX+S8U2U0SO6Dq+CFnVzIYeNFpP8Pvcml98dBWgi4jITfqwEB9+b0oqglvHCRjhd0zNwL4b6PPoIlcg26CB/K13ozXrsBu8nlGEgGnNTtpLT1dV/eHxQRH8LJMZlVtpxhCEIST1Xxgj9dZM0KSUQc36PY4GoovhtU7vvhqbn+HVdjntTd3wfnbZyo68q8+LW+14g/db11Fbei2CYOyCk8Nvur0SFPj9LnRk9SwV/7nXPGgUbSvcQ1yVnFHRBMZRogjm/Zn3knCH583JxW1caHZv+S8tT/ZlEcB0dhey38rSqPNT1cXswa/1F5ks3lF1IVCbGkwdYBZkUc5AW8ir67HSXWvq1n7kKvur8oNbxxgPUFMnCC5Fr+oIgCWrcfdcN5WlUx6TyqgMobo42Rv90lhsINfYB1cb9nqwJa1IYO3DnbmvTP+fy2JXPTyW3j7FBFs8GfFhlMPgj2Q3xrmmAUi4z4KFy2Agba2GxSx0ngYjGAzK9mJpNPvosRV83KY2EGW0KaNYqgVxT/MKieiKe5huOveaKWNaTYcmhR6wbpoXUdrpRz7h7BeAr/n0HB5PqrQaUH5r+G4WyaCi1UrPUAUODjLboYWf/BovNtlT4q6XY6l4Wl7gWvzWQbYQudOJSroMqRM/lIufhYsyMRIP70Jbg/O2/URS+yPHzSd+rLUEUbWeyjZeTiPsjRFWlg3wLZPxGIVC4onNXQnsyqB9wWOvcQluCktIgrzP0C6ktNL9+XisHVDxdZh/guNhFPM7shpqYfeFZaMB939X6XYJocwgJzPwvbyHi6f1HkS9JjtxlAguDHQk490PORZReHKgxaU7DTOcS37RlMzwxxvvJSUSoivxa+6zFoeTZgr6CQOdmxycXMW61UmvLUnu4o0uiYyr9YTlAAQR9x5OMADs8aeJ2Q+slfjz676/brmjhwGQQoVKedBrrX07c8xQJG2HvbsVF7AT1cPHsEAt9iq3CNYSGuf7ypR0lb2yI/wT2IpnCiQhNizhYAJJo3jfkEpuTLGOwtTGTVVIs5O6ecSbfvrFTOynM/gRxa4OBEhrNWjLR2QdVktZjaq9y8tBcHurCu418eTrqdzFpMcpi1VFCu6ZBdpMMwVoYtF+RuS1h1Qa5DnaEuWac48eLQCGfdWt/1Ss7A9qpD1qe1jMoiSJ2cuSydZsI6rOBA586IqBuWJo/q2ToihIfjHNz3ZLxSBujVKwE66TX5rdXyOtKzV7HtiMftty9z6NqGfiY8NKQYLyNp8VZ7gmQaL2f8pTKNsheBRgJudwTSbN3s10qmXYh1/qx7RRiMerQZRt3BQt7LJWXHNfuH5rL5SGtl0DZjTH1MBAMwZW2ITWCvOcG3R4Zj+5UWacQfn0SKJmq7Ei7stj+nlErNZ9b/vP58wI3lM1jZLQ6R8EPfIHpKfWSsKVb9F0A7jI9J9kG++5RNo2pRqg1FR5lXSNUSdupghL4opgVrBylwHKczYiBF9Ze/YlliMJLkD6WTQRysTCpPRIH9PYnerzgagCR4wra+NWYUezkw3pnnqwjawLHY3VhSJ3NkcDy2xcy0EpVlUq0IQ6NxsLw78CZnC+5+9codGD0k2I7AlqEiVSGlVNuJPsMViRHfsVjJ1Lozk7/4AmnCDyIjfQ76VfKaNgkE2UJ4C1B3vjxGsa08Lz5oCfZnCfK2OX3oG8bqh3pVGdZf8dGQn3DY42Fjd8Bc5Ark0rGAgOJbROSYmeM/WLnkR53kWtEC/7H9MqtGOwCCoKOu8XPXP7OZxRFVTQLpTu1FUh0btNMvALQSv+bEw+Vucb4rGQORNBCYajXfou5D0tylGcMupVyWEM7f74Y72v4M/JpRj+I4aQFZ7OvzcWXWhPTHMyEGb1DE8AMDLYWu4bSgE1nLPvv/Iv/RSl25AUthlMNcNbMC5ecT0+nwLxJdbfzlGC3T7zBLRqhxj2sit09SgD6XH9TX9pFbYpHkjh+bIbZQI3225hhLAR0pXr4syOoZa8okT9cIghRDNwFG3xxPJPQi9Fjfm67/NZhNWdjbMAFNUpJWoQDsa5adHq/IsTSX1XA/thr56xHYqfcGZlaCgmRmpibd3CtqmrEfe9ddsXPn/at4TUA57pEc3HKp9Thkaa8yNxfMEjOsMwJFVAcF9nNsuX/nX5Hx3hPn4LS8HEe/uq9yrpAR01hm+NCIfK7UVeqaTpFOKIOD8XAwf6cAFrep6TW4AZlg7YUA4Z3MzR3hUJR4Ec2vI49cG9JtMGyTeigdulnPcDg8Tt64T1ypUfuDYO4Eod9W6qliJDARc3S/Ssg3BkvtIVUGv8//LCmtvF2v6l6t3ZhHtTo8c7QRbkqSs2+b8U92CG6sJ3wIdmORXdcRfbO++c1LHq+dMJ0aM1X8sKX8pKm43BKwODUsNH0DilTujHfDEglgPwo8JnFEAbqaFTUk76oBC0y9/qlEvkDg/Mk5gYJHCa0bYJsJsmTNMf8KNBSj+APORSnWEeQxsdhxrRymjkyvULjUftr/8DtSMSJ5L1CN07zdZJT5Tm4RhV50x1l/3twHIriwNFkCJLFHYSvqG2om21wsiUP87a9ma3pfEgYKFFEaAzjHVtCbup4IZBuHZyFpI/YqL1+wxLNjzvnAJb81hKXvC8DHsecQNNtfNg8+StSptdiu6QAEs7/6QywrE7dFnMw+zcltnGAyNGOPsdMgkZrBR6GIVPeu/5hcKusCiVOg2lfp7yeaNNoxR9qEqNnyKzXixSBY+IUpUQtkd0FBEa/LEQwj8N8G3RiivFvIpTrR3P28ZBCPHedygKoBihmcxu4im5PmQenAK+rau/UZ7Unrs7Oqf2uVM3ReZTkL6ONsQpselR1ss3QnUTSsR3o10k4C/GW8LVIC/c53mSm3+tH5YGd1sOOAdgATVbT9Mf038BzzrKib+9vALJoZ9AQqJCF6JeNqDZ/jdaf2cc6nCcvnPQvcnigaExENypNBiFev3UDUiSLFt+FK8WwjEmDqGyZ1vqwH9HLt6BCzPnBQO+5RuLgZezig4tGTv75MZVDfB+WHMlRxmUq7aatEBQk10O1UGpeFec4MkwfUOgxtrY061BiMQa2Zlkps5HAq5SnIcsmN1Eu/e+rTBY3fFX40OOhYDTfwXml0o6hJxiEcChtD85ibmzHMp8pwt+ssAY+OdOs4XL6QNeDA+db16RlxT4RzXyBqpgi8SXwKRlZNHsygoWofGXEoL8uaXU8KNRyMPUvH9J4iFFBcikHZdbRcO1ZtUqnhWhlXaafrGV2mkR932A8knqnXrstKrkuZCalcVbRtyBW7IpW+YqV/F/LdfnFoir4ZltbkCBMhiskJvdHzrc1HwwttKZeVuD0V9+x9JOT5L0WcqBHfKpQs6sT7jaZvFwk/TepJNxp+sPojj6wuhEA2/LZSn401fUqaVY49nsYNmtU9FM9ktCdKAMT/mrSc0uYeRSA3ifPAevsPY+9Ky7d6incoggBYj/tRrIknbKzgYJbdhIPA/6p1n6tx5j7oHhtt5w2sPvDjh3qO+rEy4GEzSM8rBZ2VvjdEqTepVreokqjjdUb1gSN+IAgkBWZ1QlLAhVDeaVPTgNoqQfOLiYnSPYu4zc+DQ4J2vx+sNFlZjrilI8Q01xDrxzPqEvVRXR8gDo6ArGjkKhYl6AwBy14LWE3LpAzn1U6+Jwhn4xPNMcBnDNzint/KEYAAfbLznXXvuIijAdgYj6dw8VZu3iYmTYYPpzd/fckE7fXwcZAm2b1kZ/aztvcMeyCHGCNUs8uUr3cLdYDTg/oXPxiX3iGjCAoNTgIeZQKc50QnEEuIAAEZWIG92Zu6KBBhNpZhL1qTLi5Im2AyjdVXFjPI1+Tlii2Ze/4imInclPjcQZ7JljfSor0OqNt0BtxbxR0GxS2EnNhR6eBjn06slBTgcuwVPJ9eeOgRFFQR2iu44yS6ACvTEoC0hnPvj0RlJB19iOWBehrbuy6OfazmNrNG9VlykTDcTUy/4o12E5BwBEAp5rs3PHpGXO63CzwIyew6OA4uCoeSeQT76Sdyt615bwpBnV+A0qAb2I1lBBDbBQ5Vgm+PjgUvazbfEaXRTxUtR3qyfvUqQJ41KkdJ8Rl4BbZYrkJmbBgI2MDDENOrZmKC0+iiFXnqdcoaB9Epz4j8Zz49sNPQ2hXvtSt6OvM56e09iS80y0VBYe9LC9xBiQGVDPPF6BHsrmRLRkS87KaxfsnkyrB21yY7Lva6tnHTHoRGz3KIyb+ZCLDHivJK5mcnPl24azS9N6FSj9LbUYF4miO8wbf3BxYY5AkmJCqR3hc4A+dpE1Xgmr/kTRCRthyt9NHBAqxTeV26Brs6qYDq3xYtRE9kM3XsVKkSMa5L2zUpDuHT74p9SmMmE0BwGfAvyc6voVo5ePXDof37HkNdG/5Kf8qdK5gtxLg33hTs7I5sJATHkZ/iL83cE5ztCdr4A2ymduUa7jSwbkUJPj5U4Wr6m9XKMVNFKTPhm768UqUtRDgFK3RQzqik3T8D9ya+MWLE0sBh05/A/n0cwG5zKYxod5QCZ/zaKRv+L2nKBp8tN7sDqJelvgawqdlZlOSHSLgzHNVS5Mk/Q2VrXAjKPXyn9wgOs98bcUgKQZmEtNIq25Exu/yB+71znb9F8bij45pLIULllQkLl3CpiDuIYcS8RREWWnIOEEmlrizjgrbjvt6DvO2Vj2YDMytPdqd22jWw0sIphjN79Gm8+Vndv0hr9hEcsT+fciUSE02AZOXcENbjAENi8w/f2y0oSvs/8/qvgbP2RJDJ6FhZWsvAzlss1G9tvh7DHy7p9LEsdhlE0opzKUxFlnXYPWnxt8SdTcVAn6tWWVoKLZwGePE30B4Su1nq0kDSfRzU4HQCD0SnOnEbBSGyTaZ+HkbWdu3PJ38NwYIJ0U0cJPttN0mkZo09dXPjy7Cw4m5IMeMj0ah0rBIPRbU5ypyN9Umt0CdU0Qv40AgbAEjosLstvpWz8V2pm4kKLwGpL6n2n4lufVlfZSe39ovsUsOQPlN3xYZZcGZhaJcdLk6ZXlb/R9uc4gWSSf1otvax9PlkoEZT8w6e3T4ddfVX33Y8IVbjQBGL7jOSSFOyXZnmTxmj2OuHGjOGwJS65vM/x9llFBIyroPStVzwuy4aJdo53SVyTxI5y+1oFoJSn96A6T3aI/Oqf5gDbjiqoUezYL58G+7B97yQiPGWEf5NZgOP5fglksWUjBK4t4BtePAqCFgV3Fk1Md4498BDUSOuuRQKP3Dl19rfdYDvlbIJBsNafI9s8wfbxdZaGF1d8G1GNqAVE80jaYO0g3VZveXuZ0rdoV8SbbhNAywSu4utuYUN1IMMu63bXY3LUqMKgA/0zNDlVQ+NGyDRK7C8TA7P87IlAKsOQp2aZtSXpB7y27RUftZZfLTNwgpZlgQlHzjp8R4rjV4PtSzbqNUvBjd4U6EWGsgx/yCIdroiHynAnad1UidXlXG+p4qGpCLZ8dLRGOjxaesL5kkfoctC0BO6lIE/j+bKH8CxdbUg4r3zpuT5cwiy2kJntxe1s453+ohjrszuko76Ko4F6RyJD5Pi7OVQaIgIexO4AH45e1p9ujXBvITjfRRMJdJPd8Ys3QyIrFb7naddSVeul3MBwA8oAjKk5e8fV013A7Kjtj4aGXFCAMKdI1/ye9ic8ZTDXv7bAKDgqKENCY1DkfpAW3ujaBzHi4wc/JYa7EEzyzMJ/Lk6t3Y2LFn72iPWaV4ISOve3JAM3Tn+Q33T0XbnNNcLKWNfCv9JXsLemFukjGpiSgWMmlL90jUKdtDY7TP3+ilCcfUsUFVgipjz2W2j06pVDRzssHsreRGIj/XCag7samUPIg8QV4LiiUQTcGGAXROQFFxBzbIv0nwkM2FExn3haynAVNU7PXsKvEq6ShQ96TEE7nrx266U9M0oBY/1H63+1YiFiHTBlxXTXW2zy557pUBAYi41Io81JlZsJ64vE5sK8QZ3qgRUuUbHd8HDiZWVXbolmNvWHnJnR1ZHuaI2tvwehUT1KZplJqK9q/UjVUHEDabZw0OKjBSQwm3qTTLTDc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pp4diDEOCzKAoZbvvs3MDhumZX1U1dQdIxhztSN7MRh1Bt8km6fmd6aQdt1WLLaX0VkRuDRFc1U2ii0xt3leeNq7pEw15I2SUtSagYcSkZS/mox6NELD+TPQCtHAEBlmNegUINCifbYFRSmHwBtIOQP2me20vn3XxFWOCjvhdaOotzJAS0GfOjq5AKkR90cKdtRK49fKDsQcSWH4AdQtfhwxlYFTaesigQKh5pGOHTbvviEPSefjJWmgB6XQltdGav+L53OnUH1/xKFwG0tVpRk3P5d2BOfgqxw4HKylxiDnJdwX6onHcIrD8pQyJDiOfuzsrKPVHscxcnijLFmtdpFjmpJjXpdhGnVTNtfhpzCXhUKarZv1Kfe/9rS0YNpOFbf0pBxSjXWkQwDLilVeJahP6ReKewVYYUDh8CTwTgGirGaj3fqesL4+MjmyxxnURrWzvWo6mHe4pLtaLYhGKRCHucxvkIuA25JkZqbHyqX7XYZF1IPsjDFFTBiZY2tGky3zlPfQvT/9RcIoqs0ewXpBia7VS67UBUgW+8mS3DuzxDyQLmY8UCuZ49NZyCkcZBDjRjcEx5SgtmzjDkN2e36HXrJ/q1Mo3/dY/ngyhf8TTzF+9rlcJP1Qd7KnhpoH48zDQFz/KjHwVlu0tP4cjaKreNshdztIU/IXAZkTB90tBePx+VX0r0M3JqpdkwLyPs2liWcnqf7P90YXzGkeawk6ZdS5ELtJSH9sbzTBnVHosU/63AHXA8REggSW01PQEgv0DFNd0vY1GL2ymQDAwdD32QyNXML0d7AgLN9teld6JpN6jIrhO4POGKDshDTn6Ma/wdjrr2Go1fh/tsQaN8goXS4gAVJ3SFgI7Hz8FNgfprcvcClH3JPHDTMJUPwd7j8OFu/65LNNcLEnVxH00+9LPsb+esuc3SPri15uwZsuhTomtO0NqUtm2UJx/w/CwWNsBbKvkTGiu5jcLHrGIZz4oCiVm+zJqLMr2Rv3vjWImub1C7ERF5RGMry9jyDeyzKUnNelIXGrtB7w8HkpbQNTlJc9X4/F3FzZgtmgA3QJWQXp9JeVzL7T5FR5b3V1o3BL68z3HQCgrEOnLb6d1mO7TM9q1VWdXldsM8l3hMIMDKLmKSYf/+FpmULja1wc3XJK9rFy02U2hgd0RlBZEqmEhN+9/ZUUCnRcoceT2xJryDK6wQyapVy6cfXhFrAJx1N6xBR/GHWd6VeW902rT5edugV2Vim7/9aiEvWJujvAW34w3E9oocaWrYjdzZq0xvxIybnT5k0HMRCRYV5QmnTRvbfU3S1C4cKS/SltSDTE4QmPutWwd+CkfGYFregnzzcjEiz+lTBuZ7XssvRwegr4tKaOCc53+vQdV+MabZLfsaZ0taFgZ3dTVjJ2HWvPDnFMg+gbWd96Gzup4nFndp2MzGoi9DDrWdAunaiqLxmrSS5Bj3Zd6EoicF7qLfRQ+/zf6tGmcPgNRrhHs0EJxP+3TnRrsua6DIQNA0E1EIJZ/ZqWnDS0ZclTRDM1rGBu55fPVhivQ2Rn36aljSVSTXFwK3iK+8cEJuCHNTbbO+I4JaDTvZGq7AAC8c0RYfNTLZcpHrvMFjZFRI2bWJ/4qSMgrK2vO2uDrRiT8jHSRzcHNfuheOnbOTd/14o/2LHrSFvDJK6KpMtPRQZoFd2YHMySHaZGjHiLMJfnOnU1580+t73sIwtsAO0And76CVwZOhEubC38vATuvzjVmYn94sOB2fYpPFtzfvE0erpZfz1s3fWg4Lp+Xqay2rZ5uYmYgcmWU67IDXbDwr6oXl9YD+0QwaYtHtpi8g1++S6YDmaBgNPZq+pP2/41ZBXw9LS1Yx4YXcrBnISiv5dhUIH6LBVxPbZaVEh9bXGujDV8DZxCVtGtqMYnXk9q/2unBlUx9Fuf+lHZKYptnq97vdmuEo18wMCB04XYfqJhoDDVy7Q3CNryZwL4iZd00a29H6xurmr52djnZUPKUui4SHi++9PiyRQbE7okkbzLYCn1CPDUie0WsWFTdBvkeAq+MoHBjubXexApQTSclO6SdM7GQRnBoe48V1PpBxFAvqw4FZCS9zWxoB2CRNiyJxruzW8qjrSP1qdkWjf5S5SiHReuszCjDWw6S1+QBj9KkUHo8xyKWI/k7HfDulwKB6+GbPc60FLDu5lAcuhj4XCS45NTtCQ6Ir6DJJyc4KE6yGzVgXui15Swhw7ry7KEm17g9OTZLMjL2kNVySomcLfURUuNu5L/Tphi8JhJu9UD7aGVJ759CxnS1NxY7RA60bjGdQvIlJ3Xjj1gl53BO3CZHlu387bNhEBkd19yDtOb1tVV1WL7LHaBuTAaATlNUm2J9KZCV+nJG60sdYnx68YHk+SElBQGCGC1pEz6qXFxSsrHw5mYwEjljj31PMWPUX+4mzhCgGkTqCavwxhpmgQ21YjxYOup+1GyHzJJTmORGVEj44KKF4JZEa6jXdWiOH//ruTVWL8BNGBf/MqkqrYdXHsCCewsp3foBrwYe9Abj8nPEpnOMsbDpAA5HF8CisxYHR0FjuTW+NWa9EAMTYlzTXbKBeAYu+xSVdD/m+mzlc+GXBQc1thpAZwj8bc5tLfyxkwWBTFqxXWsLv8c9YrcHkds6vVQHxfbOm7nfpbv3xRvjHnYsR5rVhO4x1QburRnW0Ls6q7vihx0Qp3POWS135AMIVcDSbCCQfHHBpmD8iTJS4ouQeHPWU8Xhj255pXrRIVbXjF75uW2y8wGSxYw5/UnDUZwQdlZxDT91FKwAgJBH99/Q8qBNjUWCz2jGjDpZziX1z4JFKZ7/0TyVo9XsHykHFxxzVn5BPFoJA5wYaW7QWAPbiK7rXptDGhh3Rl7KxJRvjeuag9z3+VRf+KiOMvixil6JYuUSv2J+a6TUNV7hQorDddbKAPqvqsaaIm0l++kzoObG+wXZIKWL7F7UH1JbJU/4nmeFEZUf9x/Wsuchy5sBapYNndrsxTwSw6O2pAf3FfElul6i5XRo2kOi+FvNhl9tfqwdNOXdj+y1izrhseItVIBElaKEe/doay3iRyC3xcnvCGJ/Auul00yipRA7gcVudDb7wl+tgtRS+hTCWbd4mml5fZpL4k7WLGbFfgSKuzWDwFT/twp6n20KObNEPPvMqkib6K0cJAG8igc0ru+RGjAbrsiccdpqi9VaLKVmsscagt5Vxl0KxIdhRmn8YeJeL2FHlCmetT90uQS7RY9e8kf2i/GfFxqKnYW4jwgHCiUedodUKwDXln1eaiL9IzfU+suHWoPtdFJvwepUrU0iF6BjdAUGkdjWt+28DJSZr99alt4UES980AoepTVuUYx5KLyqzgNPwoqaysKqxjP0p2RuWhX4pIAwuxZeoVmLHssuJlPxd46GvZneXkvQmAN3C/jhvmZBX8vopZAUMqjh+xBwbhIojhaufGaBK8PxUSkUz3E8fEpkpYENzuuFYLyVc6UrYTLT32cxEjISiQNQKHa0m00jhAuCbGlnJdZWMoGeNRNwRiC8NvavMwX2bq9NEE/P080Olg3BF1qLIPnk7nZ3NGeoLSVisbq+9msSXOohsHVRB957liaOmj08K1AwKXOCh+Yufq4jD225UcbkriQZEu01PBmoEg0vbsVgTuGqbS+sWgeCo87LnRj6DnHdPGm6FQmfDi0oPRlpAozdyOLwl5xyDwD7R5xeoTeMM/M6Qz9OwXw/Z+OFHtgETpiI7FOEJXom7kKTpcX/PQWbN7H6M/9QybeAJZ00rw0iLqOI6u/yGOwpFXrcyLbTMaRXAeYxigBSspSODtbHB9Vy/BW/+CW5vaGnd3IWhagEs7p+JKVwdyCycCAcCOF8v7GljlO3l8X0EDYFYOjPJGG7ZPbnM+GAjWVernnXyeeRqxVFeQhlgYBWGvGuWhSaypc/M00w+SfSoT/XgTh+W3oFnDvta75eRpb8ljAAgEFeGGGTsyXAY0E7DXhiWDLu0nRac/ykrXLjUCnwOdnwuBXhnWRNhU/eJmccncqJgr0+z8dOzD8v2POtoMxos+Yy1J0Q/mJJT1gBxWDgn3Z7aaZVxvMt2pE+wPd0MPaFdo+nuaGDXUzpBBERj/GUWHQXa2/nyR4GSWPcOQbLztqQ+9FVVEJdR3jVvXzfLYdbc3vnVcsikiM+0MtKUNe7K/i6DGRYGXXZZFa7soqSzrjiem/2++WM4wdWZcN7CY4KxNNwss/pGn3xuvtv+17MHA6MpZXindeTg2RNKhUgh4SQnw/8hftBmKl0OBW9S2kvguCv85Q4TQc5QFKCgfJ4HlBGk85hSCoH3gdm0PL15Qy63MtlXpeXomGLzTb7P00hwWUKXVRc5kpM6RVjPU3wSLJX63xCufjZC2jav57GpL2i4yqc9P4tilAhuQ8Pt9SaPm9IGML+CFQ6GS78Pepe9LL8M/epiS0Wo528e6CxfIxG9btvvJ/YTDDGX9QjVWsx56ZSBpBYm+7bPZpN97sjtdKTZLnx7F/rqtcAnr1CbrZ1gpFoDTQi3kvj2JZob7KI8pZ/ZuU9k00eFrv/7AwlkVH9ZUbdbhHpBT3izcfDBZZfrSEOwUuRw2Ng/W93zwRjK4tVfGn8AestvlGO1V+zGvb617u7i0OXwMSzEOvQYN8UleRuovMlKTs84/UaCJZK11lT9u5ju10AdDeIrRwEKw+zAt5D7o5JMDA/rh+wjUFK5If8RGyn1Phkqr3KPFVJpgQkeXTZKZUf8sfeUKLi/S3HKS4bscLAGMzBzbcD5eYy4aAbXmjvq2xjRBBxdRJ0X6P0FuZABXZyAWM+fyDrwE00Geznm0jn7j9Joo8OtuegDLpMhi4ugX942/98dge7UhROakIogK1QL1NXDe8LhtWADgEHvqKYjJqAg5Fhjw3H0o+dxYjHBBpUnsqV6w6wrEMHIjClU6mSyIoLij70Oj28qbNsku/zyQixc3WtnGYTMMIree870mZQhK1H2HDYB0VYjzshQmXaPXbPjB42rS9Oj0iqqv+5PgDgTGTZAg1cP1zsacR6d60FFGR1tLEyTBSQsW7h1i3MTdmE+5cMmjccaMSMvOEBaQHLpbcM+TiHAcRYmp+QUb132ZxE8Rg+1CnAH9tYx1zDnDZBpqd8g5CicaAQl5Tf4jiLOYgEFT6SLihjM5cDjLMSrjEDapoddvDpGZFmWB3SK26bFRGjNqS1mTY4shkEpVPUIX5LSAh//VC0vskWwEWDdM5XzCbQSbr/ksI52MFRErXkzy4xkqJRq8mi8000WlCJUh4x8ab3QBv07wWAx6qDljAzCiuPtWKA/mFnpGqng6w//FLa4xbySahrztpyMOJfCwnbzg8+8gd2tfbGGgtPV+bLVLUVZ3luHT/v6XI5Uae9TOZYSRZsHcfZFRKMP4QR6+v1UG8rfJgGt34mxsy93/qpjKnyr2N6rd8tyJSWEj/4rA7LIiKy9h28fhQGIKrAdvbgqLPHbXYRh8iXeFV/0eRpkpiweMQTyq4MJQjL2w0IuKFzhoYG6QoW8UfmN4YxrC6+vihYU0gZZC2IBOuwH4noX9eOgq4rtjVaHqsGWXE5fT5C52pOC/1iz1P4YuIO+9T4oJfFZh7hWdK7uenwtPrE1OqADfsBPv92DHCUs2nxTqYDvp5uc/JY+A4uU1ibCeEONirLLevJbgkQik0B3ZErQco/bAO+RbPJ7TIXtSFPNNyoKzwq+ej9vmOIQRL6nk1MCNFc7bXCpc0T/Y9yaVMFHeF8ffamv47KSaBqjHpnvBbykHuIIEikemKQx6VMJdGbpZNPijVqqeDTzeBglIwh84QsZDmczGPCw9MhQCMakxUPy4WiEdTF/9BGlBhaLtMD9/pAyJocUAHuzG53ls8LztybC8KlrvueKynBr7kvAdRrpQw3nEGFpOE4gt/QW24HVIE9cxzV8OyzGJOTZCk2SWD96D33ZKsa0+vRgZ3zDoqKdVnnUs0OcYwD8EZ5RMJ7rBpNMNB3DjAKk8MYKjpw1gsJLnjDD5nSs2E8z5G1fbLIWqX9rUrKfgmZZo8iWa2n7UdYmC+1I7wJm/6TPD1DxSyJapnwGcSjyR7IV6nwraLusKcL2d0wJEMb33oDTPbukcUeIooov7UI6irzJqK5R1qGZNDkJ4KtbhpIke3DUUelpXGd/3CjPM67W1EHhHSK6rzWudArRFzoUFdED+rBNsEruS7FrTEq0klR6rrvfNxRaZXkOfsbYBR5Eqfm6qiSBaWvgWhVI2qguNOypH3Rfb0VqNSL/1NYngNXTNism+uZYQnbxTR2EDL+g2Jglcg1uwlFTDAOcz8QaTP3mctfMjCA/RpWOTlMPzGi7hJmq6KP6fs9FypTVtiqKqXt9VQ8+bKCTCDG5p+lR+DxjoW3ahVuhDCPtIHtxry3nFJtVZ2O2hWlAvchqCPh0fw+BCrxcXELBDCIux/hJf3rlCPGXgJdvRybBcwcD3GKNlhHut3PJLmHnmX6rjlnhaEhi94fIrWzLd6NpeO5DmJ1AD8sr28CoMp+ILHmPydrJ/inE7dMTpYgO+MiVgbyKZfvUbBFD/p2kYl+PFeGQAbJ8lWTluiQHIewgYQXHj0TcdVifMYnvfhr98fEkNpv9vNJ28p+mWk766CG512JX+h2rx9fCpwngH8OXH2VEhd6RtzrWODyqIRB98BMLZO7bNbpIFNZFZTN6w+aWaxzcpccArFw236Wz7YO/rM8nEbzbN7hD1fXNoFzo+uodohlE1EOxp3bMyko7k4QdTjm5yxgnc03cjKmUjwRYwD10mDUMW9z3ColcQfQHCSSQ5D24zDpzcIIxnnfm7Nyt9Xq9+g0cWrXAKY8sJ5uHKInUQgktqxv7NdO2lQVHAjZpNjdo9bZ2dm4BfHx9dLLyGdQLc5ZVsiKw3j5a/4gWq4/Xp/tFIP5k8Q910qGqeZL1mIiOFgZc8VGmrfXLdyyRyWzCAmQrMfl8l7GPjj/81+LhCN97LMOHycFdfGn1kOnTwpMJe/WoDLbcn3DbOkcNo5qzStxuiSxroQ+yhiyVxIHTy5ttghF3nCHLXrtWsvCW4/ibFsHtlcq0Y2TRbL3ddgOnNmozKvFQesfBGyrEiTsLnvzAZWQXqM3feabo7Kxn01jDlb3hTcKUbj6nLWCBJMgfyhScYqh3yDLmqgAaXhb8bJbRC9+ZyHU74EVw8FEeQ5CfkFcUuy+gm+rGbzXkjbuDQUadOYRgOBH5BIjfMXXZlN/eE/lNEQMSk2HC7PysTXPRBG7sXqyuaSIa11KmbJEv/0vQUn47VnlOFrrHrWp62taIrsrKYFeUOIeX6O+r39JMii2XoKirpXHvlLFy+mcn6pG5HlAHo4YxZwP9FSN08FINf3CKAd95DWtjjAx6X27/MktJlV7m4cUd1bi6UeT25f35CTQy8Awzs0OAXfgpQsEWWiNKONxgp9lQLyeIxgEapTaZZiuSLSj8Q2c92S5/Ci7076em/UFRAYfEmKgv97qtPeXigjsWXFLtErsR9tVQIT6aVl8E8LwCbdsxWsJ8q73e/7rRUAOXH8sx/635/NuD41jPF51/BC2I/BADzHovYMQvhCEldvKKtozHIqP0qlv2ZDS1oGC3RO+zsEhgiY/+7FdQG6Xhs+WUwIjmxbSP9WCJx6RJ/585K+vk1cmrd/3UAH9gsZ+rWBwpYZXcsmFRNbMkYxgRK/8xp0R/cPNP6uUWsGirqduyhWyaImHcSMlE/d+tdRxTBo8WKOt6f1OI9XpYeD12YXx5UWBKBU4OxBqLFy+RS7MTxBCnreShlsNt+NnOg5ipVAUzF4O8zYmE2InNnvDM8J1CRIE7Shl7NaYRwU2MlfePZaiSPIlvQnuwvoWmjnIIaKLVHVfIrTsbk24iQz3GYf21CkX0sCu5nRjNddy7cI7oGWt/TaINpnnQgGqcl0LN3zC8J6tVzXWEMEYijWu5dQrTw3pmcLJrUgdP31pAAkwzXGcfZQ/FHTn8YoogDRSqBfu3w+sdmP3fXtJEHHcJPzjVhFlsB7Dztc8SppGOxi0BguxYB6RV9sZ42qxedy4ptIPABf1MBqqYTeQ2osEH5VNooNsNHbJ5POsWUpqrYKl8RNNuUrYtuYV3rzdkbIefzhTV4nTJ0HGTMICg2c0i5Z0KAr9BCDE0P35bZ9fx2PrT0J2aDTQmGVirGgawbUNchb/4D+ZbSHQnjngmq7CX4+faYrKg9ZLfak1N7DQkWA+wZkjK/V4za55+/NY8VsDBaKHtBH7zjd6N8Il86XAxQME9yMVyk/Am1Ww6qhvnve4qIX968wJfjuOmXFx+kh+68dn4PIrc6h73rQzYbSqL8YuiWdXbV1czzv/LWgVNQaMewb9LwTutW3e5F4xEUO/5s0Fy+Y8jAeVpXEHfsZUREkwA2/7Oj4hQ4RZ5/QSEni2UBN6wJ2TG53/ENTxJFtlY2nW6hDA83CW352Vkd/kCHcCSZ9Drb/iHjDZE2ccC8rrrtx3biyt/rjuBx6cIOkv6KEegqhAztlgkIaBgFgbC4Gm2Bj4xHyTOekPuGeJYtF2XyYHTljtZly//9morcOGWlcvD0ggE4uz1qPuY9Vhz8JM4RAtbCO8kWpcRSxur5ZQ/va2I0MAARL8gVM5eFurlaOEqiLw85Fsahd+INTH1o+n+Lq1k4j9HaeQVSLx5ve0wnpVvLTeSAg5KZvzVnD+2A5p0KwsxdagtXWn95pdjHaveZjRMHSk+YTBLW/Y5WKdXAjK8kQbWxADv1e6fm2FhZ0WSHENZc8DGd9PKkJXzQZO9HTbpByyyOrXlBMeaNKt3od6c21v4/IeVR6CioIaKancbyv8AmXF0O1pfXSAFYV9C06nTADoc1uM4SDFtG4QSnt68AoPqXzB4FJ0BRhqzUMYkqr+MKMPx1xNdG17wjAM0AGwWT7G6GcIyKrJNfGWvnhVdZO9bLscC+SvpIpi1/HTJ6JBctSAlkzIUV7WFc3mwx53Oc49dH1Ea63VLZ18eZpZW7L0lo/mp9c2WBBC1RY9qg/V/+4C3aU6R/JNCGZL7jETcKZIRLMLMqIXFQl+aDFrwQXwuSi5WGfwMCPdXSuhatufjbc5kJCrQPSWLXkVBY+0NPkbozjCy/hQ8lUciMzR7oJXT63xzOHGQIpZLDmyORU01MiCPyReD9R2wlOiLKFiiv/hG6rz6vSHvY7lUvF5ENUVp+iOS8Q4plP6XN+nCeVFd9qTDDEb8SrXU6Km6j+mEMKbDCJrtifqlWsW2JhkJ4rbzbrhSGgWRdnWBzJFyijlQlvsK17xNoj4gDlEZIbugtIZF3If/OWDWdYojVfFn4lGqYMiXKQ2LCuvRGJvm9Wkwl4G7T2RkoFfVBhr5/G/mADEbQH9OXl4fFA5nTTbBuYF1sfNrGxRU8s9iv2H6gXxkSM9/IA08TwT8SlTmkX/DfZ7BMkCcJ7Wr5gw7YUQ3JkzZlW55js8C2Htu/zrf1N52xBm15WB2q4Q3H135SX988Q+0X8MBpyv1NCvyMWsfC31fYKRJmSaWTG8PpW3kjAqq+4gnBnj2E8RlEWt4rZi45QVy+ILIlCVNG684TYZoCuqH/E9o1cbZMFmMJv2F+Hp75hgaFyO4Zvqp5v03k1/ygqV3F8FPXpPvnfOkp5FQrVPb2GcMy7b198yf5kcV9Ar22UzpNmMbzlCfI/75RjdhHLIn1tDxRXo/kzlOgCkl/wMO8tq4/5WfxeeHiS4EFw7tXNbR6BRlA3hFP13XhCCCQGTHS5FgXguVZaOVx+7OzMWzlMEvrfvsE03KqQWsayzi+XmXtG66xvH+q6goa8ZZE34CU+uvutrG4sNhKr/KZ875BSB0CARX1/mfFSWWNvGecwWdYqhunoCyeMOao6KgFbcIeULsYlDVN0BI+6f++vfXiwpNFtYi+x4vE0eb0gXPaiC7e7d1q8R2ZhxttWb6+99wqf/XUDxkw+aFHwmcjw/xOr/q5rUIi4fA5vBAcZ3fDkSp3TQ4QnHXFPmPgSCkeIFAshWuLFl+pTkro0weXLCfnt/AQzz13M9y+uqTzFY/U7pGFanIZz9JsDOA3QjF/hRre8zKLoup0FGipA9FQE+QGFjdFosr7XovdoWIRQdRE7AWP0mUlY76XijLKfF4JDQ+MHhRMpsWh7gxMat/hacjqWtG1JBW7UMOsi8We0BT6kOdT57df9g93uuSx/DocQti9IKTcRalnjTCeAea8E8JJSSFArFsTte5lALEx08Sij2S2YtpnV0m7be5ZqemHSOe4wUeZlfZScxeuYLjxXsThsCvYop46mTOiGLgJDbu9CKhuDRzwzLZIXBH34M1bLUenFzjxVMjaa5mmWacfbG7p0v9FrjOsHzWTNulorlNHM03QumUQCRB0X/yfNdo7k8LKbGua9xHh+xi0roQvaNNoPqlnfNQ0ltH9mEJWVovURekvxOgqzMGCACwYeRRyotcaPDTRz8oGLFupLNaT0HpTmgoZYde0PdJz8kBwGZ8dG1/Zx70B0Owd9IZbztxlAetVRXU0sUeUXNyp1YoJvEUiHgjuTFH1mVjGyNdM40Ga31W004ylCDTD7jj4RKLUcHNRrmaK0Ec7fgNVOs9JUCE6ZwLYpGBL/Sj6CrINKm1Fl6POmug5myAEuZ1pNhmBD2JTOEIzTqVM6kLTgJVmFc3rjLqo3U+wCCM1XLqZdEfXQnYaai7QFMPeoaaH6p9iwAwKg0gzD4lyFUfGBeFlxFXxpbrFWYI26oW/ITckJvUSHqPx7BZwjJuO8AQZFFzyzbVc6kBq8VEP05Rk3yQBG/Xqpn0IeHT2wU04hp/1sfIZAjfgegeW/E2NyaVWre7WZQeBtqeaQtCNC2jWU38mX5araIQ4oRQHFZzArXO3qJbh5BV5mWtznHIvp1y9z5apT9IfFzSadIh2rBzrSBbmzN0WbwUtRDtBzyX0hGyP5cip3Wmc9/v+2vHEZcH7CXpbH+hXASOBnFuDDoliYxrJQLGUB5yJBBQdOayPY2HBVnZoykCrGulgfKZvNfCCQc/vIbxqGhB7rO90xJJdnn60YK5ZjyByd/VP3ddJX6Vh3N4iTktcKiYZyc6FhMg0P2RHysSDGrNAsBXlF7YpEnZbzWQxWAAcdfbYv8mAJWCJoZaepAm/j35/z5CxAL6m/YkcFRg/nuR2H/QPhW8qXT9J7BmIRY9dIt3HaSs1fkWU1ww+S1OmrdVSm7UF0PR1+kT4PZAiN3gJlqe5ysV2cqdA+BTIFubF0g6GuwdsBFtVMovFt2AcS7Vgtw7uqUGTcFc95aJ8np6j4nXx7f2eW1UPFPJm1zyizNrivWC8mt5dWboW6dj01CMuUmzu5vL2Z19XJFeqNKeLAx8UIMKzE93dddFYwHlmKvgtclo6+qcCki3WN3QNnDZ9i2KUaDqYBmfSW8G9/VZQMMx7Cob27GNrIES/HTBEG7+pqfJV6h70uwCK9GnYOGAm1TEZjSaT7ipqa02//wXmImn83b2S8a29VL1JAQDVjS9hD6d5kiraZS+bAMHkseSbYnPeW/JpVFVePWWHzHJ+MWXbXgWV42oPrPkRwhUjaW1OeQ1p2g14CFi5gfXWvX/EVT8b4pei0i9ZRmz1K3eGjfBIyufg74hjTm7BuXTn19aieJDnjPqQI4yjlviHd3P2NacfCPjLo51/tOjUbnNLv/rHzFltNVpIqt0iAdlG1s8sn6r49j0FJcJy7yPBwp33DnaftNwgp57BFjBSB+2LI45ao7pR/39MhepXTGSl55PIEaMZ+GfYKOS/evS9MUIcyJPdq/DuMTHvKPGsuGJwK6/8/HXdBU1W4moaOKysEK/fpTqSIgILAe2s08Q7JUey/OYTV7T92aA7UG9zstwB0u3MUqZ2vAC0jwb9RikO7W+Y9PXMS/Gfik+v3e6ddkisw7hPMEVMUlZuoRu+cO/CuA3ThNc9HVjL7oCeJTkuPJ6t04WW9O62SFD4PbGzrmYqxuonLn6/SV1jISqdTNHfyrk2j/HdWwD8Xs8gAmLPxnX+inaLI2g4YZwwVa5NzIT89AxtIAPkkdbvXNu7lSyEgMtAILmB5a5BlInOu/BmR7ylcPmhpbZpiRjS5r/+83nroKT06Cwi1E2is1nYpyioXjWp8ek4CQn+1ghXLdfr6c/2vKYIJigcUDnM47j2pwKQw1ukaAEXWetzC1/fVxJBxNWsKLu0sA1svnDJSpBQVvOuR/Uw0p+LjZL7pREP3dQbrFKvKTOirBohSN2jw7CLYkyNBgri6jPvn2UX2Cz+eGV3nQ4z+t4pDv+v9EkLElYYgIjf2Lzi+P2DX79QA8XCLKK/+H5Z9StHVJyL8eQVG/IVR1Kgd3/LgRIy10dhoDyhZGebA5k7WoDxtbglMuduqjb1g15R+p6c6vAxZXuAoB8Po3bxMGIGGtRh0fXn5/q8S1sulF7vk2iijxgzggJF4CZ/jrhDeOmuzCsqD6NbAJWMKb8tGlYTXm9eiLheVMBKg/EVfe/tbQ0KmwIBdPtYgUNIYTYLwFBW/i/I/fT9w4J2wnpiNQPdWdk0Ua+FnTYXWMd2J6ce8JdyTt/qigQgJrCZ89H8SU8mJgBsCABmkhVMIPXo19EsQBXar1bOwmBDgYXymy7qYQFYrHz/7c3sAcC4+GhXoUp9bVPLIQgZ7Ag7nzX01GRutxonKrnwalsGwXN/KoM84mRT0dsxTOBgxFlj0dwbKZycRrRmpC+liBzb2PByO6w8ZeTal5cCiqBJlFbsNxyOhE6uJQHAVzB91jfWFoPMthfpnfgjRxnFBPEHo4qbYVyO/J+7QuQUubai/XZ0ZhYhnvPoBs2q7rd9v1kgWPdU2QE3P9JmgLAidSFpTJSOn/x4RyRHhkOz9KGq0VaPcp9KOguw9iB/tmtV/FNlFAt8V8PGcuzOvaXan1jFsL+fMbKkukR7BCiAd0N0LL1h/ykR8IxJhzvxtO+ZQApcRpZ80pdzekryCOlG0FRGcs6bsbjR6iWrFn++Hn6LpiFx2ql1JChpX9wMDk7yA5rFFKoaVrPZ21Dp7KmIRgkyTkMrLIaZ/My9ssPpc+Ql6TFMaeWNW050m8FwtT4aE6Dfgzje7g0DemtFhxcFpyQ5QPVOjSJwS4LAiMGs0Ny3wlVGbnQqjf17BSC4qvZMg4P+6IDs/eFglfK0lKq3SJcdwsZF08EQxb4nacAQ/DFGY53mF8ucmXs/+ZWIJo9Q61zdnOYuB0k5PVIBCFN5zWP1ybE4lD6oqK4UVsLduqplSyyhb477YQTGOnTKyw5h/bYg9DBwrfb4PYr/ztQBI2jHoyQIwsZtK1wC7ec++oF1ICMACIgSvFAb34pZIeXFBcj/jQhzRSXGf6eNHApJOqOUN8XcZ634Uq9sCbU93d1T+ESBF4NCn+4k7utd6DZWoLCOimJwNiq5detz6S3Hql1hr7+UmrqDN0QLyBJ1Ff5sKo4il8N2yMjgEmqZhNn69IsThnix/Fy/EZgJeIzDl2PBld/W14u3fjxeHSsWeUUsX8eBBpmtD6tamZROjs/cCy7hg1M3o02sHFR70Ct74cbZ+N2crB3DzOZ9slWWz+MdaY/CQ1mVl6/W6SNT5Cg+9MrE+SeZVcaMlzgODlsPgzwBBrOD7PGAccu0KcqLo1af0ctBLRb8qfhEJK1bILkO14Qy0TWSl6Jc9VWhjtN+6tNuvqWL1s+I+HSgmMdwKLb5kJAwZC+9V/O+q0WnW2Qf26TP+bGgP5v2MasBMtCnG18bGmbgjiu9wNlNhJr4nrUUFgSm7x/AMCNk/7IEjcoY1/bexpXjY9tZQS9RpMxsPuUU7zVlBMl6fOOqbxVTEQJeMAxgIy8grk/pxt+3rskEnY24B88f3Uj5LRn5YisO4+LAjd9xOiyn1R2CANk4MRhVMVCout9q2HVKY9emkzQrPstgH6cc6jaDA/Icz5HYAJPmhpXqX3j/4wfYviIa1itZzx2E9qg2KuoomdA5sBH1chy7c2kuOHXiKeQ9XaFmfB5+s0ZdODFIs1S32VjLWlgcoEUs9/2fgY3h/xMn193s592tl3/vtYGbvwCeFKKyyubSIQv2+q54YSevADO/4EK+3k5RQvWBlZPZeAkyXCYlnN/wJrCPJl+/RXWo6/3SCg7VNTMTLiumKZF9vAzX6VbKBsmKS70uMzCKQrALNkhojof+BX0d0BEBtVTagBauX7mJjHJDGXDNJsJKAxGm6MQbK4YIQIFoLAiwPJt7f3Z9pi2pdK5KEjvGbSfz72pZ8GL3PLNDc/4cv878Ev+elZELO2cefa2Mtqhqrg6Kt36pMkYRyFHeqEtnomzUXJF4WfnY7iN18Brbb46LTmlHujcdfGHivY9vohRW2Ur+tMNYDE4kyrbIvOv0bTj9Hdin3DgIbRR5TTz10Bb4DqVgF90y0ZQABKizKzQlbsmtDVVoGeUu3b9YHPKPC137NWXdtUwujEq0lHunKrPIWxrB/26oJ2h88J8F5TAkT/VXc7Dhd1Mk2stKx4lgF6/mjUYZnTo/RKxqq2DY0L8fs3D9ToZA71xKdSmzjz8kQP18DoXQ002M41uelHgQ+h58nyCnR3sp5kwTUVsdWImYMyqNrTF0745RFu0AIB9GhI/WT/sK3qNtGtET+EP69+4Ld1Zh4z/LXQbWVk5iF4dUPPyKPPg7wdmbnWce72KUpFJU9UwLsze2GLwFSjPOnf1Yt8c+ILC1UkHj9OL7dS5xuKtATG2hSf5rcIClHcyg89zjy7S3rtsm3ftfohUxiX5IGZxSMeORLdy8TM1ONM8vk/HIFVuh3fFptkPkz1AMSZ/YTw3Rt1oMzv7gLJFi5Tfq4rUm24Mqs7kFu6ZjTcPzV/wWegsSapdhWjW2dX1/Jx4xcHs2xYeYjvi5kLmszzQA2izK1X7okPEL2N4QxEACG7sK+5Hyl4PTdu3zR3iWpGwicH6qkhq0zRpJHGJ4WO05j9Uz6l8OjY9i9bDQZTzvGa+pIviwdlDGUkE2LJvsaKokmX7rl0eYNgO+UAPsMdsxR3iRMjo7+fd2SCXp/MxXuj4/ysj99DFs5wbX2/iLF6mfxnhFqu8B1gXI6psq9XyALft/Xgf1WJdP+UcSz05/sFSrlouWuI8nrBLIAXeixFiiI0TxO5Og4TEO443AqeTytF0bjdkV6RYXQxllO2yKjKRzV2ORTDTMluiUhRSKjRdFxJwPKTLS66xJ3mPExxYkrCfELsABlqAM6ntijkIX7MNR4fgWwDghQlhs9qvlEE1b5ZHyVBTQZ45wtY/f3+z4O81JO2kU1hNdaQAExUyT0fPUv2NIhLwIjqh2sroiSX2PjxS+//4OvRgLqe0zVucNyvtLYcxca+oNdIZPYC0/lxLrV1aeEguvYan9wPKVo+S99C3vaf7x10vO5s7ADEK5zflekMQnMJZR3GiGYgMeun+sA5u7tC4emqDBy5LHc9XazQ9DvZ1Sz5YxWLq86jcfZ9igMgOiK4Fqi6WlqPfuz2WzLQKtbuNxRGMJSgMBYgfwEXTv486LWqZMfTTuFnjZZTc2t9h+pYRiDZGtmbTnKwKhWDbEUnzOJF41GkLPURuD9BcYeHJgVmaJCs93uN1dMWgUtvmLnfGi3YAQ72K+/7beaFemZ36jFwZEjXMbo/S46m6De3vWHCJw5BpgIPmGyvqFWVwlSsrmZA7ZQJ3ElheoGcfLgkubNs5rVHll5G7RRjXpdgWb+i8sLJFAG3M+YW6aJGQqsaQ3CreblBXeeBcZ1n67elXQtDU6TPqy54ECWrJ7cycauFiA7T9tqcHNQ0fnuBg3SNVL1oYq5CNJ/uZxFIxLcGMtcX83Vg5iV/DrGaB6tYR8yS5+8yrNbKvUsjrA9GcMY8X4gBQeOVbaojMl1Jfakg8Oe3ZjJ3CXscS86/179iLlh5qkMAjugKep9JaWHKqO99AsVrLrCdP89RCILlcJvkr9txz1waNwlBXkZ0JQNLkOBwjG06TM/F8DmWtxZnj3x1qzHE9mO2LHpLTtnjo/SrBp4RhhzCjuy8sE9f3pULvq51Y3g9KISkVSJCwlVaBXZLtZT9J0/CF5TO7cEeuru5SAH73aTD2IiuQacbzWAP/iSKZP+Wm/b+H9LxVghj5pXJxl/SPJA7BQLomENBnczQT4YXjUnuuCFbFxWFBgcERQhyoPKzA9aikL3vOCxQ5UCkUz/V76D2zWOInD+eZg52P1M3e6GB//2G2zrTOMJAoVwn0p8iWUgtQKrWwgjcWmQX9afQxHh99T+5Hizn3i9foA1IbSvZ0luSces5UFiPYQA2bK6Y5PzlH4EnI71UJvTSBoQF0GbEQsVUt3xRTCC09eCqDyciPSJNVqmXj1GEpJu1y8UKuFPWHdkydkLENMIs19+i2Xj6OiM6YFc0VvF66yONAlA3S540cv9KB8//YbSXjzW8yE4ja9aE44KiP1fAsTfijHzn9JWYW7ng90NwGRjD5vPiVCoLE2Z5SjlabuRmC7i/S+qOpvdHtp+xMgBgcpPTl08OnRLNGvkt1EqhGYxmbRGKI7bAZmO5QGtazuXYoCRd7E953klexsvB9AKL7Lg3tK2T9OVTps+WfMI39nfIdYICuQXDWe+stBMgh7GpDwSkpN8RNWV64y+4HKB72s2MvY9xjYxnaGFFFVCnsgj/6VqVkXD0P8sDqMVtJ81PB2a9BHLjsiXFaqMT3ufQSfQXrl1o8KzBAj+r9GtRFlOUG2fGRcQ3ndG/3VXvYwU10q37O8gRdSbAEhQ9DfiyxVsqVofIg8xjsgN4a/ttryJsFtTTCSi9jw5CeDJKJwbzDTIzrFFWNJv4tgnleYOWcNuDrMdroDk//lZ/Xn287KLmFHxXyRgvFvTEzEE8g+K7DbyFbSbSZ56g0IcG/bEVWAZklZ9lnLhCHcTnwDZUXzQIbOLk8pCMr2DyEUO8qJF3ZEGah1yod8iKjsSX8IoMWuQVIeIaNCvyvujsGb2lQKDMqoJmhNZYpb/cvfKnGLEOPrQcSCwtEP0RpOXClfk2N7m1bmJ2vaeqIPZ1HsVWcoTgRKZLvJoMBoDligBEO4CVc/Wj/8PQ17+dUhoMylgzOdLF3K3q+hgrbRCtiKcsN/M0e4aXb9wduBwSLWV2a9fOgpaeNBftmT+4GK4g5wxA9G4eVOLfBxrWuDTheEGEWMcQ8D5WRk/VuhxfF1Nhna6wJdlmv7K2UrzyLjAGP6tKXV6H8ns6xSgJSIygmXKcGT5W6WvOt0b81K2rCoPtHD0ykjK8JrVNrfvHzW2c9xbMX/HV+ADmCatic1LCeKkvFCy1V4ZZgywty5cdn3FqrHtV7St1zGSoviYt5XXeq0LKj4iTRLVNwt8cpqwaf6/N3EWtZ9zBeBks7t6rhvF9Ir9sHt5EycxPkXGPzvtSeHaGRIkxAmfalARdxawg2r6hO49n8VJ8mNyn8OFb6YP97SGItsRCFQhVqWdS8A4lO3QDiSOgXdLMGOlXJUqBfuwurictA47OaELlqGkQWjbhgM0fsEw1Gc6iL4KaZnhORtRcGji+rwYIp793TML8PipRCk5zcACAnPZwtgRW+kE23oBEjUeADmFBm7xcBThzdfcHiByRfVba73KTgsxpHz1u7QMXhPjMUH9Ox0IzDZ6ybyI3kaTYOu/FwPSiAtCMpBk2PAXZfNOklA5ubbitbuZ5Ne6M3Ki0xyV9MUIMD9w+eD/wxA2+eW1FDwkTzXEXq7I5xMjuxV8JwZ2QN8o8+wq2i1TTsr18PqXP0j3uvnpFO/OXbeTkWSwp62rOge9hhiXfZ519KGbg8s59nmUEFQD1dwLMuiyaU/M1rx+y9Yw9PYtIq2Y5h0BB758HcCVDa6A4ESvYx2OlpDyoRXaELt6vueSd9E16GMQhMO7dRIKtyZzwJ/zq3jKFoZJ2JI/MkqXxVmF3QHYAc27oEGMZeG5ha+D83sQ6ZRjo41Q+AhqedulqtI7Xkc+BzWZPfrXmamMzAKsMR6JEW9n6OWxnKWjnK4eEwuhrwukyCrNlQcD+ppow76Y2UfSqubB2Ugpy4XFRpbtJn5NmkdmZSFsLpjS12YqqK++WzbCszPPc3b1SirOSbrajtoiFFzLeKmNOv/CmKTy9+DKH8U8+gOM+IBOgGxeoAp7yEcoD2Hc9CjUBCxZlT76p19vZ/taoIbLTPCMLOvWKyMcRUvKHTfCstqwgKGcA5pEdHUiVboXdkohEvt0BqTa8fG+dhxbsvtyYU7DzmOCNyokeeExQDFIjIZntaIcGPj0YvPqAAqhJck3ZW+mvuoDhPCdUotQH4uURxGNtbJgOAUiycIChikAbFxa65JvDMPvq8Ody1Q36iPrB8mAx61KXYUqfrtsMbIGaqr9JgYc/ZtvTnV5FTV+gLEr9XpUPL2Ol2gh+OU14n/sa2Bur2QkyFo9wg8lvYxJoU+8Xa2oR3CWnAyMto9xCwcIcC0mUB2rXfOY/qK1qKDuiuiMn/RmusJeIm6XjEduPkmZFHrLH5qfySeDaiwQ/vA8JuCFTnz+sv24+8u3Dc2gKICJtZTO6/01cyPyii2YCK0XNaEw/t7L6IA1qSmzz/7mzfusG4DuIsej/Twh/tjwTg2fEoS+Z4RZ6jzRDEUOG9TThWzgcLucVC1aZ81Cg+crfSrYpQJdXtCZuPh2VbIxszHFC0OtN0eHz8ejmxXmbAg5zizoSXPaR31eGWzlnAhe/13cdLk/gaFTnBON3NeoNmWAA0cJQrWu52uaeMlxgSZEd5/wYbA1WcWFFqbhNPPAPIjJ/lnf46G4wbmHG2aOpPHefDJBAleDqTHClPbw4HLfkwnKTC9KZJaSeXOUek6Y31LtGsh7Mh16cLzyewGQPYBU7Kxl/yMs2K1sCq1rhVWg44ZWImY3i8Im8XOFuC67YR0UmBhDq27nQh7jAYFU8laviMHzoLHGeTZgaRCwropDSmxQr1LaesZ5eFEKPMzqnCpw0bckeI67ad1zX4nOCVm8So5rXDeuXQlLofczeChPGMFDhi23SbG7lTw3AMs1QQSm3HkdNTQS2uEYHhZZvvMCD2/dyeNYvR7gTBIUpjNj/Dn8OstzyvT09M65a7lHm6uKEQ2CDCQ4l3nYuuVQ3Dvy9KyRE0NDlI5PeK0t8dSSUAwIZGgciAhjfWWBJDjMTn9ZG1nGZT/Otrl76WgUAm2Julw+Dks0W0ess8q4E2IUjPQcaG3YOc1YL6NRmiHt8HmXnguJIj7oRfiygOOj7w5g5zOtKvbj70b2D+tL3PNowjhMm0tAFi+qZtEcDwaVv7bXGi5nTOCVcFRuMleeR0sgzD2AnbKN3nWjYMU9w2/pZAKItfGQ3Av0DA1emVHEhw78fTNd3G/lK37GDG1m3gYBWnqKSOMEH+QwA1MtJUvzZxqktumreuy8tzP0Uug2TJXUin/H3mWDr8hBTcvbJQzG3ObLX9pxs3jDpTxv2bF3uUnGx9qh+gqctd2vm/CVTGWUt4SjfELDe36ZxthtuVjQcBBtu+FMmIVuynfVkvacghGnWKrY2ZxTRL22muUpqQwmaFT+BgASHDinp5HImH04MWRRgLcVwpacu3PLoaQGethzZFw2kfZk70Ao5lVkkdGinRPMiHsBri+BSoRHfLYthrcL3u/kV00Mbj79f/0ML871XNUA6tioNwwksd98DnWayHUOantJUHOus+2igE+L0vDQcK2JQj+GKcmGoQa0Dz84Paucdej6tTssGYDPoucYdQFFWrpP/VWwJRjheNq0M2YytuC/Nq/sYM1oj1N5TOU2xjsEqEZyF+y3qpIJblrTj0FJXy9dJcvguFpT73mYcGy3wCbFkx7OFvxfrLPv9wSCImiWHRh0phvp4OsZPElfHmRWlmt5Cpi2rARVKu+uPx2GU4UPH5xu6KnwOCqPpFmCcbsj3z2UQ8ZB1n3KR/ssoQgS+RGkz/IG9SdZI1/DeSHlSUb/JyOCcVXjD8ObccK3i03cMIpzoM5h3N13O/LcZSjM1xLOMehNJH8w3SZYOM4AItD3C1tUMu9d+JTTmLx8j8LnQSLA8Hbp01T4HSC5M+fwvb8U9isUVzSK5Xim6xjpbBacYq4OTMk1JDPfvcPc+NmxNbeAveH2wscyNKwiNKyl5gt5qZoNepoy19+cdNZXbjeZHGhkzeReWDf3HTQWpS29TR05qm7gStWJ1pDDV8UHGDIPIr3fgSYX/+UJZmK0dfi0rlhsT1HRlSgvSqJXudgNO549eZfqiBxbqYPVeYWr65Np/Af4BKXASx9BfuwZlEGdeva2D2oMJ/Ja8dZWLgQS45X3W7Z0gxHwQfmWTCrC1VfsWyNrWxcbtkWeRuYMJLd0PjNw3TLS8YmHKN/PrjsTjQu1kTOA3XOEH8kuXdNFLqaYe+Q9BojzF0/NUJ381aUrMlfFJx1PUO23Dmwaw9DmRFMwfmLMp0Az9hbVRGVCHGVa4npo4bgRY/cAUtoOCPfhIvqJgn/VSwJoCmov/Xlxs79Vj/q5hWXcAOw2M3LioLdD2W0NgmqXd4x27vQ8+laJmArWqBoirkCsD//IRCzWP9rom/gHtMdeoEHpFbgU0PsFHgbYqdBU62hrJF1QKJwOY4OpBsObrF11KdSU54LL5v60kA1VymAXb9cVlqIJvedttHGyvkymn4OP3MX158pNgGYlKSRlCeQIHsE56Kjuo+2xGltEiIbJZXRD/bmDjSeN2FaXNnOyHX2vD4QXVh3wX8/ucFJ8yRwko5aTxY6CpJFcX4aJYU6ms1UosAD/KiNYKcnRYkiyF6g1jGD4iQk2hqEfvyqAWavtVHkzfdG+vCzWuLNkwFIL4dKhjiTjmpbmNQ1zWj3T9o3834kIMTtLuKARobKIMYznyfNx/8C7zjeLhWywb3VdnQXAzbWyYQshOWhs6LHrf5xQ0VDSdIEpIy1JJs96k4GmaCDCHPGa1xOfyznSwcKlGUWkV4jFniOVodZKOUwtceGXMFGOt2TkdkV1ou9YiHOB+/tKrQrbdVb8zc9E7c0xr89DtSF1cFQUvcsWRj0BG+RNOO4zlCqakpyOYpyB6JNha3+wiIvsYDyNHw3aT55iYzv6IZcyjo+tfhQS3pKciaAw8dSoeA8/ztkDV8+3lR1CVI8qRFKlF0Be/Go8EJAEwOCaLv/OLNB4Z0UJUKTDAc50aYQ4CUYdi2GzJfNTPNKFZtavjwVYJ/3wEgKGLqy5+n3JYE3W62pQzI/8CZuEwJ8NSyFearq7u9g5GrdZSKFEt84BSGev2yqVswar6eBDtKeASn1Zey7z0s6uASH74PPl6iBt/SxG8PnwSr8L749l+o3VhrUTkqBzl7owr+RtjpnAv6GS3sojJA+I7GyrklFhLrSnpFXAFUHNqPbtQPRuNoJBzc5kmAUg6S1dXgeTdtYrgniOphF87h59BZy+NwunOwf+1x7S2YPYCvRvAeMLpb08w0+CrlEGMq/T05HTifPAFAQplL7+pJiSZp/bpsOrWBVxvEeCwaI0Q0o+1LW+wMc1xKeTdI0UD5OcIQ9QiQMqRrS8V0Obtiy/drM5VZmaVgfOYw5zPgwsb7EYJ4d2GS6SVGLNQwUhy+8j2rzGtoSwjPrlm2xFBjJE66KZj8beiTgytGVfrMulECMaiuTuxygRjeNIu/xtmA7LobLCLyHZ74Ka2FduBmXUIm/LfoA5jPstvz6xQAyx+L8TyoOdSADVlG9C+oobdnWAsjEfsqZcbefspBCz+yk7Htj21aJr6HOe1VAc5uLxCzEBUag2w0b4jJyDJ9XRmC5SCVuIHJp6ov+U/4uqcjeLDpKMiK/2/MMLAqTWJ0PJH2ta3juRUgKCNLQVdxgRJbqmRlta52NNcnVPMfnaC1ijOexQNngasNrXQEG/7lnmQvGCQe6gVALEuCfza4ZiUOQjWjVEw4ATzH2qOmfuW2Oq6LnjDEy2rBaaKIMDg57eCGRaq4vjp4AqqWYmaB0fRS9yTvHPqztARV39haOvV4hWJiwDCiLqxFRYHbYrxfEN78qfoZxo5qdxk2tq9M9bUVz8Xo6gpak9sBcTxBwK54gnQHHQx3PHMPFvyApEWkUrTImeihxtcWgfGgkSp8bzS5BxbCwyBQ4Cx2WUo75TZqHt7LF1zKvan7ajaICYe+Q9PxqI2Pye1vIN7yMcJUdIHktZaRpu1Y+hxabZwI4WhmWPi2dVq4a0XW/N1FIDBNh0xZtgaZ++2YBjCo/85T/+d90O8QZUWShnVdI8LOFHjisQCqevZL5ID7WkGR2dbMQo015Sf6BukwxfDV0VEnLXSE1sMFUCWmr+tJlgPYUwdh5hjJAr15Q/pxyBKa7bh2r6As2fS2ZW9/VYSPdQ9HQonXJ2cOyvcKNNPzdSvQ2Trblh5gBSABplr4TuGBaUEbT37vqy31gOWlJOyu1g70Z29ic2SBPbLO5Uto9kyemJp7SFF5KvyvVZHVyeYC5nmTNYWJwlT+U20SWpIEtfPRMjfNVBTV3+1TqxypFR4lTuMb9pfPSFYyea9GTm/pM6mBsXgjf58lLMcSfs9AqTEbhEOFEnrjjetB1msXX0jufzCcOEHzyLF3j96CcrqwclUhX/kFocND28sDaAaQbAqeu8CiGGH4DKJ4eDVAbNYOLPCxi3ifaWANSao/zE3fdTu5j7q1wCOtsJnSsfaceGn9c5pXOXE9a3D+kZwb83fXrpw6fTZRYX8rFdBjF8J9veV+d95v1oRDCNwnPK/2xUavzTM4HXvkKtdc2BoFJ9Dx8P+fqYe1j73th5q4j8WIpOtmjc4lYUIIggz1a7oXkiBbtx/wySXUgMPOMNj5WVlCatjAqmRb71oVw4dwJr9AtbOgOPioV/fB+G59ctTjzMWr09WIqGikcqKBPJE8bWpdOfD4HIK5TUYdcexTxCxoErm25XCIRe3095CeHkEDrBRKJFEb/VOSfrtZ1Wyng4JScypJPxHBXAGmuVfW8f5M2prVlFzQ1cjYKsB+uyvC2qZNPwCkJhgy8Dd98Jv6dkhuIOjQjOHhx7mQXW+KdLukfqCubT2azRFaK7f0U3TktzPRLOrmNQu3qqHmfir4AZg5P17/oCI4xXy3ujpDyqPsU/kVFp/7gDdHMIPEs/Nu6BJ+wi6wU+AvKNJEr7XlV6mVXZa/UxfCw3UgJT7r8Q2lbVqcr2hQTG+p8LSy+mDQZqCyTDC8ef+4H/whS5fvfJIQ/4vIUWOGzLgjhZqS+ehB2jhhMT2hwkN3Bb1eZy+DM9EYzMMXfeXtgrNpOekTIqjXLCo2U8OZ1SGe4ze/y5H7m/PNW2wpLolQv35ZLRYrZ86Z1mub01FJHJjnV38p3xndmS5H++nHqbjPlfEVzFE+aMkUkMOP5146HoGWGBPG/hSAMvV/PYkHR54tZqrBYiio58vo9cu5D5zQFAxZosQGjheoHs6pXWWOcicLKi+bBiRyPvq+UuMRPKMSnvCuhfDSXjPZrn745atdYEO8UuDNFhY3CYLB6rNGdrSRwD0PobAYbsFMq9qVxtZ+1Nq6nmD/J3/UjOiaYWVSmTUu27IQS+DDSZmO50Dfz8aOvrXsBA4RCkMfHk1+lM4ZKxAX7bafvSUzwXPXMRtSjMbN6sdY7VLxn1fGo6N5zTqsXGkamwSwaWhaiphZhPdMr05fGx0wnhpVxjiKwTCCUjblrxn9KBgcan6yUzkGHQwhoaDN2b3k1IT4ubWSPSdzpOYwTmjdroD/8fwxCsgq8iSLqVCWKFRTHcaK21bjHaYuV6pebYkT0KfefOMUPnqx3QCOV3X2O0ZnO0nFSi2ymifaK/ajXcrE5iXkN9UcRrGe1xp6mv5JHC2hoGnZfVyIMbOw0a9NtHyIO8pV3G9u+DkvJpHqGl9k6UYKMVABnl9fPBjv3vkffgb+O0KChhOPvjP+sbvNYdGe20uwuUquJrcyBJiVg4sTeKSJxFPqgaJzLXMw9gckhwktB2KDm46ITcsi5Rd23D6EgspAF9WS+/e5bMNKjCos8e7lG/cSFAWAj1l+2AtbMjQ2APSE7JMzev8vIZrWIXFwSLArr5b61eetmW9LXGGleNFekFBM4N4x7T4fSBBWb6aS518v4Fb4Gqutx7PKM1ifnHfGONbrBmgfZhD6yzvvgQGY0Pf6e/ZA5+DYTO5np2CmZjDma5RFhlBuxgz+Kle/8IfEelxaby8ZlJwxtfjcRw6q2utDxpZB0B1vOvK25uBpetMiPqysPLoyMENr7jeeoqJtVP2xJIsUL4aeabxFSf+xapQQxYuDo4odGeWms1R340+2lQsSPktWsPFbz2SOB9s8UhU+cIdUwGPyCFnlZyraDNBSZ+zj1Q6kekQIJuXWg9f62UOV4FiyP1aH/teSa7bQgsF9DVN5M+WTZtba/bbc/IKZATb2fbL/f8RaqzlifVih2ZBvoftUoWssnLcAh39g0cv6TSdRAqn/tnTUYOtRFv7D+N08XA+It+cR+51by07BxM+03OFse7dc08mHBYFi+NlVuV68wTh3wlq7cn8UrxxiXHWXpJt9PbhNXIAkKpP/95pEWyeQy1+WYIPZzqDkNm0KWo/R0xSuhCPdhvRtvbIpI87esg0oyBWjI0dNgKk7J0nXR5Ri6il5m5JlegzBdS8jUqw65EZ2jgROms2llX7GZhnRgWyoYqLrHW2t9tRzjGjM5JAinwMqi+ZxjKn/1XqUZ2f2V1shXHxdeH3M250cBO/IRGoLlPes3dkmp4lj4/MBrgNiCOttGb7CF2uyYsbUOO0h2aQ8aVXfb3/vpd7juojLnVmHXILF+2pyodTS/7HX30MlzEaHTc5z0OBR9hf9+Sse8QX4WX287UUTnyg2n29ZyVeF9oD9l6Swfev+el4W9pEQN8cBsq6UZXlOgMEUlrcjdAP06ZrKgiHHtnNd2L2/XH2xNaTOOdLjd/JUa19KYgOnVPUUknSwouQyxogZCB5lJ019Qbv1fX1s4SyLPTpR4TjtY43M1s6naX/9P6yteakVppcjBLn3ASQaR+C/JtwkAPeblLElVE5jEjSk1WgfbimAMqP1oZeZy1uo5alnMP1FclqHMYGItuQJ88NAn/XtgOSSotLroH1vgmNGSL6GLJW6/RsS+LFSeLUDBRAX2Nzvy38WsUSjXodla/Y6wvShRya6HCy0uXCKGkzdVw55YratfJ6IHEo1HZjQgp1dA+6GvBYtUqy1NkAPaqX7JFpU9qFvjOg0POUoAFT2fZTzKRU5KEWVjsL+xVtZGA6gt4asz/3FFJhetPjgfQuJomAYubrYUcWVvdJ1NFzRvUKyfU1QEMXfScEsH58C6HUOhEaG/6UxwR0HyvUCo3OHLYNfMG9VgLDE14MPOIYDgXtxwBJESpOUbQb9IIA9SDSy7FY2A/ZD+2V8dB8dG9wf/oKT4s7HAwYDRrl0Hfsy0Wc1GcC3yvrhOw8JV0NgT5MhbcAjTKLb4v+d+uOrDDMN/yykNqNTL99ss8w3shVzTEJHIZgqM7X9fCthfySP2LyyMdzf6E1UbUwIG76xLZZUdihWWv2pZXOkZKogjbT+krpeX50mBpuYkL3q/QXdXxzrhbRpzqanIYZdu4zOP1FiEFlm2qeC9N7YDGfz/e9RFoEHHbryOejzSq5PYBgCCkN2IVuOsMv/c8DG0uVwxhQ1bLyPIUdT5g4WFpv0JYgCbwBH+TO36cgu40Kehd1d1f3u5Nx+obwe1GGQiFY9Mqgrzkl6km3lPFtdEE3Y7H6XypxASlz54up2N+lLozaNSczQbkYzoq3Bf3ZPTVXnH5iQ3eIKynlVhHba+oqBfG4tdIGGDpvnpygLTghqR3gq9MlUDkV0UrdxmRxCpQchh0ihneU1jVBi5/6+JBxcMxkA8OD/tcm3rE/nssGUvcugzmpQgDSUwfmuWRH7XApc3skYFm3SNs37IWGdMUm6NqAaGkw7+kw4/jEKHvHNliVMBqfnfp1cg4qqjBQI7OH/T0Ydwi7AXFon/qeqoj1MBhBj8d2pP9hTkfxQdfjmpyMJ1L8IKZ1A7ejnBMX36g3BEgxirn2cE84uCz18DdgeysCScKuWJCxpNQx4S4Kv2V8KUXYZWTddMUxd4R2EHn/koMd1i0bLohU+IfvTMuX4MVESqwp4fy6fdb3lP/8QCOofNtmRwxnPZIziU0YwueF1+J2kTV5Gvk65l+w+mTuL024litYyWd0gyy98zvXp0JBZc6Vrtp9DvAuFmHUljkbBNtf4GnQrC9fOX6LUGFeZeBb7HQ83VyNfnp58bYwWGCub6LZrNkOGycc8Y7Ij+PWAWZPH9ArlYAbMiXKtRcWvc7eM+z0Z5Nah0arYu2G22Ca3frSJwpmnK/NLhu7FLgi2jHF4VAOdUZ7xH/5rPtaYOPaJlr80nWAkWqHwueKJbmIkZLtkLaqR+Z/+YIbj8ul4/LT/dVqM11lWxs+MH9ex2wSNvQqXeGXX6dwKcxd000PX4DUjMp8aIFT0QFEx7EOQYK94WSOt2gtY40clbKQxZAg5ZzovoAz8XGLgFmim4STMCeYLDJUdnoDjL8UipnlL1jobjrloROwAd6DVtKPMLVGxlkD7RCyFVJyFKjovrK3zf7Jkhgknkkt0o7Y+1JIWRUdoo1JP8dI8EsPal/tqP25flGoINr2s4wO3gBKb9joQBPyLdNBaUAHGBUp6upbd+mPrnEloPc4z8ioIjAm61GivHtQ5g71quwyFSYYO8vTA0FM5g8EeuPeu/W9ko2lhCTEB5wMvTX6QKkGbTqembBf8IT6KCQD4g3UO8DB5swZvnnQcwPDORvahZ7wmxqJIcdcMqxyT3/KPxn1UeHK6x62b1y35nXWG7U+9+SZ/XF5fbu7wpFM52b3E5dfTRKaXYlk4k+pXbTmJqynR/CGvHxPy3eejAKAin0Gzfnc6wsHkftRpvEh/ozzUa6F8mhRryWWXBDyS1TGMzDVCxq2FZckhj+Al6qDhv2U2xf/ejXqB3K/ZIhCV3zRuJJpeWgQT2zw1m887ydaYsRI/ubnu9+XcwW/ctDljsuR7rQPRaxJxC9Bzm/332TzCkSD3UmrkB8ypw+d8L9Hy4ihP8OzWK9mEY1fAWWGuw+XcInLPAjr6xz5B7wWxtUeY3aMOKfOjckAiytM2ZRtkoJih29c2cJbJK8q9nKE3W0PvGdS1DpBH57NRFJXc/i7s5xRe9gt+hdtLNGLtdl+GksKzRxQt8uv56tPzT0oyY4OmEYV90Q1Bg20SuE2eb+IcYT9xWHnos32I1GHeDaWCzQ1FYCXLbnWVozbw3JM9nvZ8Gn1RPbp0Gc2jKL4EEwMnDMjCLtFDZYSRaa1m9FAU8dzlZLMsP80dYDl2NjC6/QHW3U9E2D+eDXgHA0hhUmV+twAdEMeebmNaE5cx5BhiSQUUlxXibqms2toyJvhRzXnr93JAvoe/Bs0pOWmNt20qc8i7Sw6qIPA6iXXsBmYNpETgzSpInKzUc7nLANxF+L2CBVBK+z1K9vEeRY1Nxlv865oNfiqXIavUgl/oqqXj+HMQ1hF9d4jS/O8eG8eLXPcP784lPNVSOZH2q2ri77dvGKUirn9gzWKB4mdc6JgUUYwZ7ARMyq1nsodigmAXa6bNdLAyLsf7Qu6DUrE4TZWZ+TCRm4B/lcfKj0c62upnNmNTiPi6RXNh5jGNiD4eptgnCGtc7jbHd0Poy87rPWIEMT4zqSi7ryHW1DwgRqpRNLl2H/qCzNJPkx3o72bIhPZuvW9A8F4/d/q/VEXVCxs+Le+TK4NJNAV84IF6Cs/8b6VsDwcv9kz0C0Tb7j+sfAKgBEtNcJzIqGjShccci0F+R56eZJ1SEl/w2okNQ6gx99ue4G127DCnoe7LQHdipEnAOF+0A3Xx5bxAbVLbPELN7TYwKCcXJkx0L6HcDPHYV7Jicd7ZcJY4uMA1GF/NiXnAq3v62NaZwwPQrL1oGjkvDe0Geav6WkdRrXK2U331rzElhslZ80H3ydrJcUcYU/osTQXKqpyR5HBXlz/Nlqz4fIHXSoaYM3XU1kGBvOSyiLJIhzqeENhcWPEf3QGOVBLaWX6o+O4KjU0ZHTvyR+UW7vMaqy3DIF2y7ERbHsnFax8LVq2ak6DHwZrCi9bhBEZ074gQm3Oy/Ss/YqcmOr5jt+H0xGtkLZ5NQVKcwrIvUtbh2TPU5bkuWvln8znRhE3MT6G8rZinAoCKcJvbBG4cYKY6QHyVhFCqllmzUXK+Ma/6WJSnQ4zRs9mNK8Wzuv8f/xqjiDCqXN3wNcGoGc0WGMk/+kVTb5IwIDMQ0l2/ozbb/2WePDH2x0oc72cIxIECT8SAekzlgu/o/umkjXAHRj07NRpSlJz3gUA1myYdTYiDKJ4FcAHSMpDTVmGiKQLzuLBQ9FbDyYF7XzX4itJmxI2BXOiFeb07F8cOuSRueuAiLmcZV6a0UwaNU3YGlAey+ZRuAGBraWJHrvXXfCAiQLlc+uviTf93XWa/WW1nREe26YhkR0UP0ft3Av6b4etLKaEwON9PTF0mZIJizAjmVBrJJt3mme+tAJkZ7grGQeNa7sSEpwDg7/mrgihADZAHuYoloSApWb4AkU7muO9/gZhbwjYsz5qFtPb0flFijSHD7HVCi3g7N10ynF+il1ZsQVZMz8UYM/AbbYzvTxKuqIqFvWCuIlSAY0pRLShbP57FyLtCh3bFc4dcxWC9XXwvQ9S1OzS27Vv3xEA37wkYkGOJv31XtgG2cCf29jeY3MxEXEWToK54usZE861zUYdoxgkGsN6ALgI2McDqKZPmSIzfHeYwvv3uvMIZLO/szN8vHwDppsWkgYKPfEv6Zrl9FkdxIRewnQvJqG5BAErgkg/KHNT2BeUjWZKZA0/+OGsSXtCMSQoQJ50PESz3/vIua58qHggFdp394ch8+GmK2U/aeehf+6MmWsVm2KAok0L1qYCnwXGyEqoMuJUYGJKdHnBakeI3s3Fu4xkq6CXNrOcFg/B89qPPQz0QyscV3GmxvnDA81ZhqbBTVpNvBqJ8A1yaPD/aJnvx5mxUy9I0LOopCTykOnBm8QidY1bx14f4RcMHWg9Ca8VHZaqgBXq/fNh2f9Y8PVlZNCEfATZvTRHtUc9iygnQANmAwyzoZOgmeWX2dfymuZMo6L6h/PWM4R89R2yzW9kBNO511MANSDiS30SZThYaT0zVjvYl894ajujnwexgmN5SMtKXeJQslqmx+5W4C2NJYMiyWpgsXyCg4xEGBFy5JwseBLiFerB5x7Yg3ikxlj9xusp+3lw6fdN04TfhkZA7SICE8Obz3cd9L3bEEp3BVBJm66EDPf1J0Vs3HtrGJR9kWJx+KaKufb/E7CLO8b1zDCd9i1zVpYhGM2BSuw7f/0WeJhrZKW/dyihgvUCGIkW1VEtSXaRy6kmyYsaPGhiBBJk+i2Lyn1nLAs+b1XUK929oX9XRHYM8LBBAmk8gOA9P9MilXLZjxS8J8bc/qZODmzt+g3SmYuIx4zfXgeuRHOxq9WJeknk4J8Rp73t5LMYldmGUY1NaL4SXzW7r/Js5JHkeKktB0l5HrnRhD6Cds0m2dCaZHQYREGw4R5/aUe2KJp43W0Ldsh0v67ASQWShnLSMl9MQFDZZYcBz8waa35WRN6+i148G+xwx7bvFaQsED5R2WNq7jfXlYUQV3/atRocuPFTVXqM6TI/rPwIjW2KXJewKlVNgvZmzecx15HvrG0g6dJyf5ZNqU8QExwT97ryW0fB6Ov4JnPyouzTLE3sSGVKqG1P5Kxsrck+mdEaSFZSxUmVdEjvPzQgYNPn2Oo4VfmEi/VeWb3oyYu8Dpd+xjM3vBixHJd27ADqqAA8ePfdiBeYjJs0Q2xyOGeyFoeABelm/xCY4UjGCUXjmkt4/uszYWpgYFDw+ffQIRrhbvqynOxrP8/GOAL4JjEmN6BDNluj6G1L1fH8jW8fDt15UnCmFkQWS9yPg5uZW8RjOUSubmdNUCSVzW7J/2tU1kJ92OEt2k6bKbkluriWf6Y0+pUKKz3cGnUyOeSa3ezgWa1YfKsrEFTHzzccclccvaRelCjItucF0xJHGdvqOu/+G8+anJqu5+3r6/Z1MGR7eqAbnhm3XWJ/1/zY8VsxYLzDv3JQYACaLIl77Lxv6+IDIkbIR8+YM/myGCA+4S2zynrL+KjdLSn/ZsvPG6jDpodIIhuB5npk79jTEUOkZqfRCSbbzWmmyMOETO2vEtuvJLAFN9MQKQdh5Vyd/f1BEyiHAZl1qIdMbcFf6C2xtK1I73rQygpFTGqqBufugD2mVWWlboQLozQHqyKNftrXF/IYSnWbEDS1g1a6jHV1xPmxVELgPb0SciLlh1FYueAlABXCcODgUMqAEgdnJMLzVDCS4t2uOEKXbxMigzYqLjeUdH0WSlJBeL7O26LT8SWdJ05MkRq7qysoPhRp0trskCu33d8x3oz0e7JezR6Zre8mW6no2Nsxy8HTl5YIc8sAKDKVs8JHYmwEszEyBpC1W1RviYkZBfN397gYUsUUpespK9EjQg1P0uto6O1xxDhSNPmUlTzEsOk1544nHw9uphYtLpj9WrqR0563e+kzlyOFr5mFnAuwHv9a+A+s32dapb2sTJMBr+TR4ClyiiHSqzEUnY4rt0wJ0+72oxJNT7HArNI0AGZ23JYyTFskmoyvYAas+C9bLX74HuW148JmbEcDvfJ9phyWXLmNtTWq9BGiqBtiuc64NLsmQjyMaI2Krgd4iOsJB5M4WKXV9oFZnTs7wtacclKKNLUIJVHyGZP/nNiRTmgfzqDcKt5svU7FAw/0mcZ3F+AuHL48S1APE0D/z6qam50f5eU1tqnvEOmnXD5ijbvtdvgn2kpIW4kiZKRrOikG30Ln8yxSMZ2xkqStlbMUmLZ61yWIwPsMILGu5Q4LcToBxiLdeHQKMkzQMGqG55CR4R6IEbRNzGoR+5t2hWXAaUuVCV3hI/ZmTcXiJ/uwISYbaHOE3+oufki5HzZaqHxl/1drMR6Xqo71JU0m3/2HS79ghvKB0yNEVHs0mYmp8j2sfKePFW0oFk627I0hRpmP70e7cOsQqb7DsBwyBoiVvj8ykWWWahGAZOLLzNXB5zOnjD1JUndyyjgdc74hTTx41icdfbRX4IV6nkxLaxuCfxSCN2/lRvqwBt1Z5PKKjkv8ZcUJgu/uFM+rN1ATNYm6fAuMoCkNSnaFmCY5es65lNy3QcXVnL0iAIjQNf9BQCAJyoYAWiTsjqL1gR2VbyUhrXh7vnDQYfIYOqWtq8BSd6+UUx3gPG2ij/SDAlHreomhsvZnrsXJ4XZFXzezHMhm79AyyMdfTY4ml/Q7lRs0rkzgGLZPQyRJJUgkdb4ZOobLObwt7vgd3DLyXUNYwbs+TdNLXFZHJ4YHWHDZ1lfwsBQ3OdOgtPdynF5Jo8y6tf9FG4IOx06PhiugZXhQLn+JZRLZ9IWGU2yAYwJWhuZK/b7xuIc2WDc4g2oYoQneS181EAMqrlAQmJVxF/Uv0alBKmaeGIljwgRdm23zrlVoOSossD4QAMA0FbkQq59SpOwHJyY0Fz6DEKvlAdIgAka/Yx8ViwPcZ5S2cIMahow8Lp2ag5lIJtcPvFQfGmzDHZuLCQLCJydaZUZh2yBH5D6/+FBKE8Eq0H4Ewj7w/lsd8//MfuVZ+RrgokGuAzCKonI1rR7y3Zq44QpGsKncCCmHgeCBk3dxev0b2aznOYQNSTCQxhPQxBtxVcK5BLQWzdSH3sv/eZ/cRSsiPJEcpJJcAR6xI4IRAweN87kZHEjYJTYzLnWklTReus1JtWje+trlfEFh+L81+hm39mNr0+kdXMLcPkh8VmDTYz03J4FocW2cEQfPnnrHTjUUcPLus01bGtyHKeGdgpgM6aaO5N/1DTVF0mdjAtERDJ1dnZl4A0T2FEHQ6DYE4Q4+ZcT40mhF6K2xOp176b8VTTSVf9s3IfIZ273nJadJqrkVqVfkmUgFyLbd3z7bfdQ76z1GFHuslgqYtnTlRe8HuhmopTndxCMnH82BN3fja0K2TFJ0+BY4K5lAFL56q82x61dulF9/S1XCI4E3J68dQeoncLjjpJN5ZMzc87ykkaP/o8Up5F/dUa+AM/B0kQ0G/RXwktrKjt8QFA5Rl0WMzzn51gyIYFDfo3j9n27Kuo+IbZAr/Yd/lsW+2J/3kA+taJAbxeIxDove8Wah/Zy0Zg2I3j7owo7vNrd+olGEHYzKdaPCh042PqQNLnooKBnwYciFPLl/dAFT/j8yQ0gurcDDIMi52WSWfxPMC+8znycBfyreUk1YJphrYJGASdEwje7VqzMy1NmZekalt+6l1Z52u5ESiyL0OsY2r96Av3UpZjeVNGUCl5Ie6v8COxWM+G+VLQJ+otdW+U82CcJRRVBn/OPqz0mTiNwjm2d2JWbW0M0qxEnbi9oGEBOf3AsuQ2Br0n0VLdiepQnGsCNf51sbt7acxRtM1/UWmcB7m14PfdWeEbyFeZ6kZl7dc1oXOuD62Y4WzTXcAQIMYxzA4iFfhPQYV8Lo0u36UrhsHg9pHTNYnfCHhk9KNR0FfbxXhUUN4JqLYYwyQJ0UguVE6BHKunIyg+VUqmFV4dJaa8uvKL/b1UZLlojrtyfYoo4OkB4Acyxal0bhkQNkC4YA/3uexBI2xo2MQUNcKLg3yd26C04DpZiApqmY615ywnWqVBiP4Jbb6WpiwK4OWvVvpYN2rY3ZjbhKz0nXdeacpQIV5QBtqCpNh88FG0k/VOD78F7JGeI085iJTnNAl2C4qzaVZH5ZYvvbZTBbrqVR3tteGc96wkzm7j6Zz0fE27zXDFep04A9cOja9sD/JB20Iw0VPVVhQDQ7OWVbc+XWh4RRDkmeXW0aYJYrvNn1XzDJTX/tKAi++O8fOBaS+G2sAZXH2mG8sAXD46ln1nBmjKyEOATGCsJBWrsXIUwuYFn5IHMSkxIVRjSqYrfeR6Q8vGtg4UEBCvNxYc/qDDrBwt7eSofEZJ0UTtn4HpuIThnBz280ApiiBky9EFmTHKYArFTRyxSUoF3dHVkiRsNpP1R/Hi6OLB1ndp08h9AXVF/keKc12Ly/2z5eeplrLKdCqC/HS/y+foPfhscj+UZK/zrzanKYtIQVwxWIsk3eS+f3jfbcZ5KGIRgq2hjMqEhT5NNLoy7OoKoXvNfSgntDpL9Pht+nB41aXuYz0pw53qqpgRdydpRh5STvjYTNXqSNT9+8qQKzM0QUzj40n+h2Cd1qb7g1oONRg4RZ6AgMseciFkblFNkO26DtabDl1k902aJYA9LmRpcwS1aCR5c+4lRNuYyzgBQJ5BhID5BU0mnaRx/Tf0GE42XKvm8z6MLR+VMTAvVV16ReffMMwCbtRx/jCxhExAHmvP799V1krPOdu2gzO/KB6ba7RfZ7022ApIJCNrpfIq5AGK9kR70q/xWNw6aDhGjgcqnervT7YriWRkEk63JXFWongqYcMR953bXnZ1zk8ILLwYMCJTwSm+2ul+QGZ+o22lZfRaC0mzgyisurr1D2M5KeMuos4cdlWFvQUeiAeQceknvH+rsTstFZNiqgUy+wYNRNdj7NEViG+83b0oXRAUiOi4DSniP6uw9Vlh/oin4/FzsZrKtVDZbC2vT4a3yI2l5OIOPsgOgTpnpZ4t3gb4Dven7X95wFxziIA8zAjXM7DTepKKVtTI5W7EpcEenjhDD8Zb2BvziOYdyn5nR4x50SEpPBwuS9qU58SCAeyIQFX5zqD6u2pjW2/lEuKw1dHTjULLF9mW1V/zYU/PBavSuIs5QN1b7dSpnLkTDNL8UzP0aOE/vJkCLLsxFs9thzGOJrZnhXtAFQOgr6C3+w7gt4/+ZXudDN1cQ5SxWreIofAVb3ve2a6HvL0wPsHpzRRs6YT7mpF4vtG7s1XyHe0jrr2tVqGPCrLunbKUk5Q9l8mkCNN89GtZK6e3BMTT30ahMJRk/9P8+5PjMXYA+PB+GW/V3pCzk/YB/Ae2dseYTx5PaxV5zwIf+K7lpc9iZo0kNXfOITgP5aIfuxLzQSRP834vQCb6h3Z5Uu+IuuNQ0GP2uqBEH19bdre5+e4129QBMsIW4z1B13pCJvb9slGf2W/6eL2edtxrqtE7EN+o/D+8Z/70Dhcot5vugiIY4jDIJp+pzKjKnXs4T5aR4hyE6mF7ZqYCLYnd0HojvMRoAsGm3HoTXJiSV0/gCn03IAZLuGVRrnMvStTc6vMch+hFvFLtoLYZj3SzJkUXpBtTrU36xkZf8m3ype+3hNYFhFd4z6PAVhhZ/sznwdMiArQg7gGmo+GFBmhJtX1/CZv5jcvoH9FiYyN1Z1eUReN7XCwRBgKEwg0UNk380XyLkDVveDNcBaXT3YCaf//I3/U/LTJI2OWTeqah0ho1jBFWVr/99MRCq8o7SlYDs+BcH+HhCLfLG0FPOwTL4D5iIUY6fj8zhkRrarYCT1h1QDSCJ7WEbewgrJFICAuEXIEzB5FO674SbjIpzsjb7IB0LmoC1h7N9XnIT74TUu7vQC56Ae2KwNkvahh9co1vADT6aESwfzT5WwCSI0Ih1KMG2E9/TrZANZM4NEQUNKDYR8f3S9yiShiwpFg8jaaV5IZXWVO9KJukNOXE8HQD6cqTZXkX9eZ+0XVP6/eKMVgimWxDmMioiPlrN9ba7TNrULepCJ7or5EKsFEqeuGLNyYYVmzI540YczWMRymbcwH1cJv8TrdbOmZdJ6TP6tXozoW9gVsrXsFT7K3nSlH8cG62VGetsRhHGtLrPiDqady+tCXtuQozY4aklLx490SLvu+hn4493hJB8QRAiVcWmkvGlzLQx217dwlbpzA1T2Wpd1WgOwOijvcSGO5gGIB7asxuCjR3Yr3AWQnK6Da686sNU91aDgtDbwZ+/hqPvpFbI5nZHbiaUZDKgCaPu0Q1ADSO74iib9c3FJCDBsusKzmvQ6kGKo9wMi6b6qACE6LrawiwZEVF4WNhQ5DnJP5n9GT0QUO/YQHtlzM/eYuzWDbhH3JUN0Ze3vhbNYMp9XAR+1M7zFf9JgCHpshlPeW3GcozxPrpItoeaFSKUb6LLUPSQka3qnQKcV4N2/nTP+sxRLyGBHwbUY8VCiHNiP1SFj2KrvGrif6YI84dEkwD/PJolAYvxLOhhBGE68Ia8HuayiZeDi2vUvw1doTLReKx8IJnuq5U+Y9gS1EhHGRykhVFDlESV1qaS2Ud+RFRVkddDsj+a1WUVbLHOs/35Y+KIH6njyVhEa8z0rUdvkJpXO+ZBJ3vuuxHlZEluHMle3EQOd0Dpms+TvtCHkTtLqzsqeMIxuK9McXbYPgjcupqCMo4vO+UJCSXdJWASFPr+JWXGQq35lunrENDDa8UcgkiWTpMUqnT6Xu/SdGvbVi0JhTZLqMlnBKaqxMx4RWqKapMcAOvXlEXCOHd9q0hrspQ6zDLA41jrUlxCSKaw2CcciPNh5CYWERYR3ojLRwKO8F7IkQTr+tIpiKw2KrPZbooZbR5u9agCEI0FLBA29cLExZQlr2IGJj1tOR/L+cuUSRigBZW7VhJXaSyES1xhbza4a43RCaT5846za19uac4uXWHN4RUio1C3+S6ChfGtmrTLbbd8+25Q0Ag9WHj0ec3v9Lj165WNQNkGu9SPeVxSOvUz1bq5Fg9oZQI52dDhbl1C8dl4CNkAw2WhlgRN97cLry9VOL/f2mcRgLd3HISuwZc2b+8GLnKxEXTQhZqMjQF5RosyFqT8K0ZCStT62sG9ESbUAC6g7/Xv39l/YRxUUoBwVSObMXXM24L37/qLdyWIN7R8xOU7RaqAlHRZba1WgPAWX1ft5pSszdyE2W2mQ0iSlfjaFNK6YBopqh/8cbrGmkti8kk6upwnk97b1/NaUVD0HEDlAnAryptZ0igANIjCM5u+qOk4aAllZqPEJIlfOd+Is2VQEejzCeJI29pn+8wmmx9hjyRsoudkrGfIc+olXV2MyfO5n5Kz7fXrzB4L5R9BwIX0lnjTxjNkDuvVOWfiOu80p4b4jvp1pPybRerS/XqkoCgXmHmasfyXMw+WTQiEcXZxdTerz2qGiNWwDA+Kjy3e7IZ8eDkiU1u7U9dKpaX/BSl2diDj7bkMXtcdfta+3LKd80uzawFWZLQ+clA+8yXsILvlY6tlR9pwWv7GpZYmvQmzXZ26eaF9xErwTV1J8mXOcS+xHcxsuGsaBAPGFiCllngubWDa0+WQKseUPkQTMV7AvMe8CoNls9/ba7pfYUu5utzLXbZ2p+my9KwjrltW2UqgKWgfRxU0Usn3maYqDBOiPRsV9cOhP3xfAxQawwfM/ZDBqtzgG/0HiMyPwgum+qa9h2pJrzbyEGtTYE2V3agh8PmaT//TTObrL2of99TXxVKWUBoo2nZl+yC1IzIFHOHWLGZRC48HALE/zSynBqmSSNZ1AJ2ShsW9VKXm9M11+8i3xIRB0YAPwbUMHLV1yU3EsCJ9ukKFNuh9J7ENkgUecC8aBBHhq2/c3oOmifnrsxR8vySq7+TS5D21NTFAMn0sQHzucG3m8yHIVjGhyHapvdRXUa8iyYp+srqkX7rZYhdQQEYHAhD0/NCylznclGuOnbRc8qHh+M7hyvB8Kw/P/gqhbH3qnBpCNCXzwYoZuvNGWpi1A6dmNI8lSL5x/+ohxd9CF5msTKHadbE/Mp/uFf6jMkGB+5y0OYveVtV4ciQYeRULb/ksGpvPLdNzYaq6PMxlCwL5eUaJEaG3TMcHYhv9N7sEsgorh4hFHU3sor7t0E7HQSudfLffY4xKMZkb7/+jKVXBNER/zROrzzPS6paRaEj09VuWotpyeEYlE2Hh/CZF/5LAIPP6L15Il4cc7ibaRzJoom28oslSrMZVwXu0to2LN4/5gO8+vi8II0RNeOGgDFor9hSsbl1y3jgPZaUHN8zyOE2/QyNFjKp5p4rvZn39uWXVdtWHSV1YQn7i5jlKKgdHrRGSpNRcP8ud+7T2oAqPuQGcw5n+NGg85pGGjzgEOVTzRnXYLYlN6uKE+kO3iItzbmFXISx3jciJFwh9V233J8hZQoTF0EERjKl43SZqSUlr7bxWLSoMjZQdCZzZKmnhTJw1krN1SzZESofrpmNhOxh/4DriYaeaJRtM7s2cIYoAlbFlBq1ePZ3tZv3UFHktiEB9B72UoIDRpU1Yq4gU7gOHQGC/D5YxtP8cLFezD9ai3Tek5DGB/E87XVdhXC+gMafiYLgQWTx6jZgOHdo2ho+q/S8H5pN56v4WkvsRL30dfI90ERK5eS4HrFytlMSaCqoGbX2xTY7AgP3i8Y/FvDqn+QDqza7VVExkWBUIF25ZpTUWLGgNbAcCfNcE9Hjf5AyDB904CkDjNnr5lfpS1tluuKIWv/zNhzugpoVq5pBChSvJtcYEBJa1+bB08xiLn2a2B+m14y/rJuUYYXfgjuP5v8UkmR8MQSakB9qs7B1BehzBrZ9HSCIExA8jMcSvxONMXFCo/ij+KvuXap+au+tV4Ae2KJqtWlXB/F0+mGw3cACyzSzG2X2LhACt9ruCbF3Z/r3AC4cOcqavks/KTV+/J8TLgBn0yN01QoS3dhMlA3EHD6S7iVxIPDp/ALtDCD+kusLaQrLEkxi+a0D5GCpzuzEs3y3MbldI/E1ozhbYEeruMtyI1xb1RBWbqsZyDqgEJCkNGZyMGJyCwCYMZrcI+sjhDomLntkPp40hOd/lG1YcOz4xjLFzUBsSWZfOTbncwyZX768jj8rav6nHM+NvU5ZfuVf28ramJInyvV7vIDh44TDhFPaXQ70pMFm8PLDca5vIAgnLClYPOPRrDUNqGfxQBJi9uO+jnJyvH3e0YWAF7raUkVahWG1g88P/Qk3Jpz9qGBEUWWBAgScCNg1THjdAYJ7zTH6DGljldm4MzEJ3zd5ug5bMRfSjA2vpb+ykUM85phvLzpTuT1SSUo9aw5x9QN/MxyLiRDPMVR9k8p0pbdZ60B5PpNaNOVU6qV/gFOUj1Py3wUPwRV5OLLYWItLVvRmoaYNFvckt97SnNra8y4IKySgBQ+cz6QRLGofRIsKo5h8PX2LnYI6wpXXhsVar2x68F65nSi11X7xHyc5hF/XUV1VES2FHc5ajxptsibFcOygfMvCn4XMU8Bn8uPTX8XMf5SNM/zWVSleUROzIvIY05t9j/HjkAZ8nCiINDoik4L9V7Id9MlUUNXin9f9zOF/MCrrKUOGWEg+2NFqquclH+j9oKJO4vZSSF5Ev+aLXNj71Ha8caQIsBfO37EodGVcCaKTIbAgrJJ1XNn3wGGF6XcANk3MFzub6DoFLb/4nYIoTxDDEREX7aJwGgpruSBxvmfnZdmj1uOMrt82gstNtPE5emJ94LaBJYk5TBWoDdFix1Y2QDvGmCCBxWImLqKZ+BunLB2O6TpmnzigO3hX5T99lvWBzcdu0Ng/H65c9iVvmTgelolcSySs8idage8vIewl5l7uNvLcawokjlr/RCjHLCSaY2kAssL55hN4/+ADwRZcnAiao1hty0qr6ZNUXggrYXpND3DieIsy+1CPyerma/NFR0EMGZFVCTCBeabTQfERQNZOmEunXdN9hSXFK2V42N+6UZX3A/lZRPEZ0UKBEqg57RnRUSrBABZYbLx8zN28syD6liCSoZuHgkRzyzXHcEQXPx68P0PmIyIyA0qA8kvmhSFLfhQTcbkmU9mKCsNiNjNkJ9M0s3KVA2b1PepZPKSJK6dRtBov9nUkyzp1YslphCpP4vFTI88M0bEEmVDjQ5+6IGxMISFLdaIEEh08gZn4CS040c9uk0j8IkIiWZsKHXKCvH/kb2hEumx/9ShM4WSzlRk1ICpNvZ7u7syhRNdaFB2NDR6MahbksPLyCRbbPXhv+Ve3MrsaJBXYpMc/DXCXVWOEY+wdd6h+iGMnEQvhoFr8K5G95V1ukwLGHAuEtzoBMtvOQTzTGrBH31yru8cUvxlOartLNyw5R3VAbGPr5iAHvquyth4OI8BmwZtNPw80+YOiAoWrUpfZ30O7FuW4Yk3DubR2+0t9Bh1zIhV/ijowheZJocUGFrInrR3L8wgDRiXf7+v+t8W1/gU96rmnm7mMgh0aDZuyGU3Ihg+5Vp3if8zfdGi2eqrI1hDj7rGT/bk4rH6el36oBGRxv/T+Yq40ix9M+LbvWjuz+LprWimUnWqSUc3X1tlVSOVCnXqMvnXyymJOXfsTDOaPDYHaa7fA16fMEWIgCn/HBnvQW9TMXIlYNUetxfHjNsGTy7mIip3x7dZ+vdWDnqT2Tit1+wOAoIXxwY6EJjNE0hBjPm3C0mN56z/13rYJteYRFzY1ZmViUiEBmm6gNzwXh9+9M50KHV3vdoRVbVBdXxKojhhqy4M4+7m2gGmtgIbzk9FiTZkUoZ4zhVegUZY8C5nH84MA+rfLD88Un/dlUzuwz9bqTGan3StmVOlEPs5h5Evh3AfCDMIoiBJSIRIbcBj2l3D1yn1hMsjvgUnPV3cNGoGSKsKAynGTO7tw+qkXUCTuLJ8DEg3wSF5D1Z5ois8C8DXgyCwPtgzz44gilgiYWof0nQoMdsXS6VAOgHmsy8oNh+piSipoqFrUwDzLFTsH58hBEwmN5my/2E0GKUB5iNKULH/KLztq0BmPXOTouJ4WF3Dqt/DnNzQ4Exa0JfI455ObG+NboK2hzjBAaFuO8QGolrceynb7AuHra3/h4Q/OZY/ElGT22U2yhW9FrCBbNgTWAEYGUx2jVxNvjoBZSbOL+fhOImKHRC/+fskn7YQj/QLD6qSc+OWQPjCP9d1YcGbnDwPQMswTJslXZSdZO2tgkVQSashaCO7JBTgIthX8aaqJiC5bycTdQYApFO7DGF8qbNS2Bm1KvPlMHBEpeCoxTkvfyMczMMH6EmL9cyB5UAlAjE7GBeoMWW6BDeDFuehEdbWdcwkhbXN+HYYp5OQNCBpRXRVjWASPjLL9Yf+doR8w/pZQFNrfsRARwLY3EtKRD47F+x9wRGFu2uf0drrmeJh5IdCXnca6WfKv0RJ8Fa+WFcm2RXIXRNiHjedrxjauOckBW8Ngbo55oGOuXsp2wiTXgJeLpk/qqlTRGjL8bvh4T8nTfGHTV3HWMFy5a9NiARmzvsACEglG+ea93vLXdH4i5oLVJxISPVPSjpz6K2Dwpz0ybRhbjAnXhi6uCN4WRNYOhqaoxgDJ8Q0WpwcD48P26N/UbfQytitjPAbYyuhOwBKOUqpHgHvBxev3hoyKgsgWet0ObVMrKTr0PbgI7LWLMfxAIDXEJrhFo3hu0PxtD7Tx/WqbEBpfDOMMowBKL5uSHPbdm2rC9C0asZdxtEfXyt1JgoRuM9zYW2ZnIffQiiviS1Jq6pe0uCxqE85tLGL9DjiaKP11GwHe9mclvg0ws+ppqHKFfxgk/avqvmYm8tzxs2uCxs9y41b8EH8XaMlk2xAEBELCo/Mwt1si1mk/Zd74dgwxYkxRkQe7AZb70+1JeekQMmBgii7TT8ryP/s/jU3f/586Nk/LQC2nIeTkl0JHaVRbDQYQL00pQpK0+027h/CJ3aE5eQGlHMjbQpz0UVI1qrskdtb53UgeOVfZ9ItOcPCyWOKjkYIPLSd7HNZtfdbKwvkVz1vNIM9VedsH0Ja1bm2iZTIBU35SmCyili03cX6jkiZO3dLMWl5ZyIP5AWKehk4nymy6hXf4Qim9Kfdm5y5gv6Z7ds3ZqOB21IOkIVKiN+MHMpWoO/MSaxNbRUp3h/7YM7Uo5liO4OBZV5nYRSmZ7p3pLzgyZWdStVB3VEYu2iL+PctTTNAczrs1gIalFlInxny/1Yqyz3k0jia9eFn+ZCdzBhYk1alaR7eNRx29oovv4Q8zpNjeX0md7dW0xrtViS1e4kXH/xKQ638WjvdU1VpkmeJPPB7iJiqxEYHKhdghN7b4aIJe+8LHnqPWChT2Y4T5fyo/TZVrXdHMYOYh4HxotAnQHktT+9bG35EbbO3bdbsxoPwZi9LeN7IxkZAkCRCasWY3qimW/CaDGkRuNeDMKVpK2ke0K7wYMKAxQrx6ep2PYPqSGTpV/kn0/AAxB//siwBr/hE3FdbJnx2HQGC8/nBIhA+fRNTtUvKXVt5tA+OtKQkTt366v4ZYiDx3obbr9KO9Jz/TEDPFsIrXZwiH/85/1deCYU+aiRZvCz4bsWEFozk92hZt7Vh2bI+HYWtwsQTxG9/cX1QOjZMgpt2Kg39uYLsQC/n+PguYes/YUOlyRDx0jf1/mrlQZcHZKFpno0qFCxy4MthXIz8MWL7HUwYIlquP1ePnz81iWA+yrp7wftJ/up1IJk/LcJwjPkT1z1nm+PxY+3ceeSzPJXPER0GIr9RTw9SlNNH2L5W/grrWii9PWe2pQ8BlFbfuXMjwzfz23IYX+1RsGX96DHxjlnMU7LRLOS21GQva2VfJ5aAxpmA9Yg8aHlywMZX7RJRlb5E/iYru2DKhKbXOZJXaOgP9k1TDhaQ8xpibPy8CAF4OOZjRhMDDkmE21bLk3gACCr97b+GWBHX1Q79AQhsDjllxTVwlfOxT+Esg4njJDu3H1rZ+lvJMQrea7FG6jbE7In5nDxKetFwSDrePbooWYD1ZQdaZ2BQEDRvD345HM+K1x+a1L9+rgMT8SFVwlx9JMMMBva2qOQbWz91TZ/1tA0cAEiPNsW5qW47pIujROavVmx2kAUMLVCUvLdTdn5snwFP6hFC88NRiyj1vuT9l5kuggvByiu4RxUvsLrCNlFEMLTozMY+xNUdW47yaEtuXEMdYAVZIuSyFY4w4z2A82oC+VonSKJOQt+gsWIS5Kt1JQ0EMMSaLw6qf0LwnNsxKzmnVpqX/rrFs3cclQ+jOQvxQ+Pbx1ViTuqtYs8L4bPzFEVp8m7omkndSUgMQR8y5oRrigGa/hcVaR5YcfCEZIKlLJUkKoDVi1QKn074LkySrBI4Yh4DWISnjCvyL7XnN4zyqIAe2OkGn2P1tDdTwPMAsnxSBDhUolVN8tHWjHiwAiyABDHSF0WlZBLtJ4q4HgGpfX9y6gSWigKhkMgkxCpgcQx7/aoEYPSPNy6hFN6yBRBxLC8XqryTxEmUWOvwQYYn1TTDcKq3tUZGCq5OuA1lOsyOmt4NUJ55v/0AYFWNwyIFLZtHtaD655dw11bj4pIS+IyJR/VrHdMVtlqP2I1xdohFfwWprUk7uBzNiBSLkGLmqkPw6BU7ON6CwOpNh8sLYhEnZ1HOAEZgJUyYdOglAcrTLYpVvIcYB6/GAira65Qr0zcip020Lxo63Q1oodMDdixuV61lsQkmG/2qWzNkoHNtAVVbiyCePkCNgMwlfrmz0WxbG9z2oE5xLnqLmioo6IjRKRDed1mLcqFwKuCiYmBWqloE5Rxum3iJMA3///uSJSWo5QYvyMtzc/GJlChgopQjQkvBswO2KaQ3BnQCWXh/gbtDTMc1cQ1e979DNvVM7RdRrKXIqQKOjXmeNBn+IjbVd7LoUYSNNsZYCmvmI4tFZ3dglaUpm6DbBLwfhl/+ejtN2FL1dk92CCOh5nZj1OOBTbSvniTmsmxrSk5HV9eyQF2F2uBlc4BnE3dkStfoGxzkGlcropqI9mi3rD2R1B1bHr+99K5lyeo79f6uFquyNW0Fr1t8fWHlHdee9esCaUCwgferq9TE6n87LUBXgSRBuR6LZWZF3GUK+mcPI1umtEiM7rbA/fYa61yemvwGEt84aPgTDW2LLE54dkLhk4bDfxY7NnrVgdBw3zhOiwZI/u8ST/jBH3MYAy5Wt3rWwBkZ6vRKpHZA+FqCNEwtC2bx732SKajGQO3+rDYEFmkdx+DsWxgNz7b3fNAnmM8HoeTDiI/K1jA+7r4bOlHB58VSQoDUGwWGN9drLPlfNsQ3KzVvqXsuKx4DY08uXOy5kb4yXlibtuqO4AAfQTTqeSjdp7E57yPh1kpnDvNS0S0gcjUTeWLoeQQPsfbxo/MSK4o8wmef4jWIr55aPrgXiT9sEjrntGNuw+/GaxUIXLDi7TCToDWJC3mPu9C9NaZEcNxT+jYsoVlCG61DahZ2FUwZWnNTFeG8VknKHk0haqqXylaPr2mM+t1eSO0Qj8WKFh4VbzxYqEW63QOkMNBNzuTBJ1ojfyKsiUr26BTFsejp434p45Hpct5FRP5DLuS6zL1Stg78jO9XzR1CvtSW/VDkVGmCFRrNlpBkEvtBawCmde8f5D1aP+BpyzJr2ySarpAx8x/qO8/jhgRycTZ83xDgk7onzlyNUb+Y8+07c4kws7QDJMVXIG8gLuy03ujupEXTlH+4T11R2885AHvc9s8qwV8nAG9ebBqAfZCFPze/obGTcdTQeaHoWgH8q53obQot24Hiu9x0u+hRJ+8BufIPko9S9GHI9xv+ZMHn2MkJ9XBzyRq4ac3GAGULv1GVApD91yFw9s0pxf8Y92uEAuAueW2mUAcYcArFt9szAEORtyx6iF62uweTk2Ng0teEGlxoMAlW+tzkLQoj4uwGkskOaS/CX884bBAkRGhooMlw1gevcrFYnw7qnVoR2Qkrz1qEZazNnl6sBcCu9E7w7zA7PYeyR1YLQ3ylXTZVJyjcnMJ6y8mlCaXpOYuA4HVYqotYw2V3AshP9ckc9fecjR48DJ61TKcfPlkB0xVQ2g1u86hw6erhVZeVbQuqgvUrotFQCnPztk1WofM6U7MGUgdO9D6eDT9VDzr1H9+8CeZiILiTB2bo+6qSE7u7xb4k4Ab6U7yGNJPfOM8kirRY8kGSUfGR97ldYCgyApNCePv4lruPOW42zlHmCU9nBj4qw8F3esUfURGJH3RynWAiOIVDY+MK0b2oowDYJRcVnnBLDFi6zU9xi+Kl5xcmWuV+FYAjbvomUtCF90RL5Iq/RflZWPTFI35gEKKZUuDAmV6xtnzUWoxsdsTyy6BwkpNhk3aYp+KSkm4wD1ktQTGXVHj46OnJZhesKwB5VY/KPKd/t7tP8WR6wtpxgVOG5PPCS1L/hkItLgQZs5oxKzjOan5RL2rBnseKK9bXba8btMvhJoYcBhK6FoBxAWzgCD8hm321BlzIgPbH1xYAWJWOyJNfhy+ivXI9ZHT+lPdVStwSQ6IP21xNUJ3kOQRaMTAQLxasUB/2r+qvt+4g+9Rl5wkQ5DdUSR63SReNFYlF7VZNdXVYrxQCLoVkuOTEYjvJQ4K+zs1sIwSk3ZkUoIwIKyjjgq/+dPgnEaXmtJVmGIhDfqz3vxs3J117wg6Ozt0L9kE7GAa+FJ+wkWu5yQ/Er6sGoIXTJ9/dUcNJ9v+50SJOJ+gf4BzyCMh00y8rRp3k8UPCwwcHFz7YzafCidRqCpkHmuF3NzZs9dgxFeMSerGuiP2f7uETv07LZOy4toM4tgxZpJL28BBpRqNHr2qnrzGyS0dYQd4o7XmmeLi1GZA6PbAFJDyc6l5RnalZjZjOEnMwQidIxxHwJbHbkX3jTetYCNDpS4GpOLak5P3p/4KcK3bdjzl8qsB4LXfu+p/Ib0NJumt0YoUehwXfC93khN2Uy2dwiX5pgjmXQtRj3fSmMBGxEt/nUjDXAqopCpa5dWil2T2VVWbMGZI4NRUh3mT4uuBOTJe3IwwG7fKGktqtZb6HShswprOzLWLzsMoV78A2ho+q/3SFhd22wqYt5YLOHehV0XvuhDJOrl36ZT1s0LRgv+kjqZ/ki3FCkxcFpAM5qgmrVzFksFHtMHlJ7L2y/oF4/K1FKlnpSJF8tY6TZ2KMqRdNeUTw51q2cTstrg6gYlvi9V7kbAo9CbGMyt3S6zAf5NDka15R1Am/6mjrQpUNVRFRatrp2Es2kTu/oTQMdPARx4SZf/+rrCMKa/6O/2ZWnDJb9WaKgNCZO2dYyqD8dft7E/tC5UKFhPvVXA2N12YEekRvFXvNUM+Lul6P+yEsIE+48KZPEfki4p6SGOuOK3ZFwKiAb3lE0Pk6+Itif35XppllSx/2qSZwFEDNSZeN4tXDUyQ/SkpMYHQ02tZljDeS1hpfCGHfIyoHG4cJaocqzQXlHBMoI3OyvNG5aKiw4f7n8Zz8uoj2lF0yAd86Nf08kE7Z9TPcTxglsR1SNLRdsETugV2oszkmS/fxGhYhbliFuDnnRj7GS8Mf5OtqTYrO1gA0d1ue8jyQ0fNI0OQErQRzlwiR7uCYx1YMOdXEoLJfzxjE3lk8lN+SWuJABc2dgHU5Zre1VNcFXqqWYBHdWF+rCGOT+RcTUe85zx72jmdHaXIt/a3kp5uX6GLGqIh78rmG4KeZomOIixi+20utQELUBoeAnpbATEJpStm7FPQ4pUto6LWeETM54OSBFbBM3MES3XgZECPCQtBFTp1uEi0uFvFGgW3sCMOJyDSHZaEEQdxuZnyk1+X9+rhoc1Zlg0C6kodKiNAYQxIHSoy/Gz3aV7Zop8E/M4YY1/L1mAzzuIChMm4bkRPhLvhhXei5IA3fBgbMqI+OD8vuHqtev2Ai631mi/SEpgUygxefCs6r8Y5rhxVwrQEB/DZd7LZ2raUvQWw+1peOFOP6pCoqTQRYjS35LnOs5cpOLktYLbPEO6ZRw8sSHwMEL0i6To2sF8dHZPGjgWLsdd9zDotY2LzYPTAnV21ckjhihTrxMnXXZDdQ3iO0L7s6Ry5zkWIUNjuWUGiVyThK5zRk/G/JVTLMDgdod4jMXZW+CNbJgDJsKgzz8TFUPxP4K0gGn6OtdThfdpb3fkAn71XxvKh6suWkd/sL9wWhdKRPWn3pFlbUDnfMXLeuMUeFeePdOBQEmCCa99Utp2s9HjHEQmyvw1J14zzncVrIfLZdegd43SCVXsWvPsCpxDk/y3u2ApgAtGH0cabZwAO+SX8atcpymnz87bEgg6APA5ICLC5DvVHXRj7kUzQC9LWS9YQO9IFTGB8LCzSQVQiJ/kry0kkbdPXWnx76gjs0x/cTjFs0EhhmnQP6qWWz2YWBsvlAAl9WNGVKzoK2U4gCgC7dwo/702192TD9DVV1mwK0uQvv4tHrBTa35881sjMS6g96IRf4KeAn0jrMa10J47sP1gk0EKaKFLA1sbR0phDJZsDDh0mORjsLzXzbMmMqWt4DuJckHHZ4uClepNnbSdPjVU9U5c8Zf5zMlO14oB+EwZwRKrYUUnUQFYyFx28Tv0nCmCKh3OFWiH/uj9fD/KDWlXTXQw+gO+36E2yNxBMmT6RUn8/Vhuh7cdJaKyHotX40NBMjnS6Y/Na91z9wA3B65AIHMXvrhJK8Nd0FvUEhqu9vjtzUvJ0O9bFE3urQtkmmHIh3L9XV57Gizw60oHReSKgWcN5LhSYd8ztnRj5Nf2YBcP2yd1kLQNlawMAJCPpVlVs0h9AH5HbGJhIggbUXKuIQwvUQRaRjXLMG3VGxjhIdoyTNBOsl/PtPlrrYFHWRHzO8b5zHdtXDoe/iMHi4NMtEk7rdM75JnZ/AE3Xqy5E2xPJAI7I8U216z4Xg0M7EsKzkHl1Rmz6hayzgYTO7cHFe+aTNEUCO2GkpqSrDPfUOmRCGn35/8MgHUY72menTBcLEKWbcfEtKJil4laNp1A53rknDCLgqFcYjwcvRVcYafYmQX2e4HOKf/vbUmnccn4MktjG5U7ArxVFoPoheosVJp8H9n2eQO1moMIO3EM5C5Gk+Op1DBxmAVTNGBqrJ6fULyAXGi1cyFoX8qwNPNub8Q4BByQoTxeaIIsqrpWBKNitDsyTvPYw+JSlmpZE5kbaQyFjl8cNt9wyxVWuQNWiqaIZPMD1zbohWBEtdiD/B638A2V3eDVMwdTakRGMgPQO5UhqJ7rI1DfcXlf2GYKbEQtWRljomcEiGn+OU7/lB0mUPfgdaQWTEiJN0ss6HNhSokLwHF3yOpJvCZ9KvbLDKCVL9Aj//xK3PzwSaUG4wslFXSYQxsZsTu+pNj1A+dzSspy7zvbep+mjTgqlRYluRN8415tyHEFW0DzR3MshA06cG20Tbkyt2obzUXDMQgZOCdagt72AltE5152QOU9y/kt+WA1vnAFeOCw98mfgNaXNZfinoaJDQxwnrpeT8XqHWLL9a9UVMfEMrXIwuWUh7bw5cdNdNgAB47QRtjjKc2KWCcRFxi4cbt3D1FVSEoXFHwt5Jsigu8XbteIVa0G4aYe27+bctqTfhsSy0yxYgBaLS+fo1aNIgv5fWqRgi6HOxqgFnKZsNF1/DNCfSKbgN4+uEWEO51Sep1TDbcgSxAmP1JkbUkG2KXbwUUfVu76olCpGkvxRJ4Ldyj0Hxbnq6Ce6u3d/M1eOGn9osAPMGu52KzaMzY+vWsC1e8kgmcsn8gitdTHE+Ubqhw8Ogs2YeWwNsu5HyLEyCJOsiHCPv9AZdTWDyIAq5DQ1ths5WpsGEwsn8hvvHMpI0Pi1sUsMW5l1af5JGyuHWkA8m/JSlGAYLx2Ch8l/aKMcKDpgkymP7D+ZJLJyG0ByMv/ejYkunIr8k8g9kHEkpOh+hrsrsjxI+qxIOLabMwDSBQPVdj6SdP2RUIic/cCFPnxzqrDB4d0BtfrZQKP5YCQSDpoYF4xY0IC2lalcToqkdd/5zM9UW4SbwT0yWMgvDGen+Ow9l4wYc0kIrCxmnmAOZ0l2RuM9MWkwJwr9gpXP1gDbIGzahGf0i8d4bVndgh/WxywhGxJ/v0/jdxJqRUDyRP93+gv9ylBzaCmKFuYzpQMzNQrNJf/u3TfBr57xcQBOFCvLLC9ZBwxfz00FlaFkNoKw6w70+eGcsVSwq9OtBrCHebbUUCDa9kP8fjEqF69uVkOwBFX7MMkdlQ8s9gODFPSHrZYp0OXfpbCmK6ZWZKLq2WSrtNjpwHMiRJnwAPCULZy5z+mXTjdpQOQQv2rt+T7Jdq6qtt2s1BkIiOdmD3AodRyTNnKosV8lJcHkwYe0iUL1OiWmZboxxPGLmw0M3xOA4L8f2fE+TBXRSBANTJrGUMqhD98iAPy4tU0TJbq+XKVzy/zHJ5m6HydWrsFtNNB5SPRfUhNW1X5EVMxYnKQrkFo+yPPEvraMY2NXqAYkJ1WOZ8r8iDrvY+0Ahw9M2SXdWLKi/Qj2dAj9FCtYcrBp9rdwNQkjLxUm6IIarFXdC92a+QMPdcJFAVNZAL68YAyHvyhiG6ef00Ifi15s4LpNfKJgAwSsAH1jgujotbyfdMkYwXiM8jm+6LZ+PXwAT+bxjB88kDFDWefa6ds4XpHGgzHuAtSqSBt/jn2zXL9HrOtwA45c4G1wOaPow+ff7mbrRZNqBVRIZbKNyX8ueIEg/YdiMgfnj4HQ9L/xfrlRvNoE2JWdhcN/5v5JFnUGtiRwQ9vDoopD6mS2PxoMLwwTO/jpxhe12VoA3p/30cN2+qsM5r6EUEKB0B5prSwFPNxRaau065lwi4K5F+6et1SNZdxge8SAJvjdBEXW2qiZcvt1+9E2YJFgMjLiHoXLY02DsVTTKc1+/Z0aJqmJwgvXlC2Sbdzf2+QrEjRKnaWgpYe/toF1ncI7rzCVI6sYuhmtYJWSsy7C9CEj23itx7sYzKTM/wU07EmYuZO2CJ8rqGMPQU21lwwrU5IqJ4aMcJDXnWaL8K6Ldhr1txuRiXm0OVtA+2wi4KL9+yeuubt6fVbKX8y497Ko2v8oODbgeVyhXrPOpvuViRhsHyKdZPTi19qfIEkO12Ye0uZt6RaHbDKRvYro/G8bfrdBA0ueqpu2emfeZoWjTXoTY35jo5wWeZZHWR7s2lHiJrPGJ5QTfh/imF3ePOPpXCQltxxUV2TiFvPqhpCjQdMYdPHsTgAYJw6U5LKaSTTcSdXwJ74ABXD15Ss7n5ipZKnHeyxM0yh0cKK7YpEdDylWfmRArliarauq4DwcsS2k0FVab1kZ2z0NojhC7HyulU3Pp1TJPRexP/O9tC209R2SkvKQ8NBU1JbEZ+scZZyOaSc5ru8jtrR/1oeBqwpkuH7C062htFBikXC1s9GTQv2wNHFVT331zS0iPJkQFT6Zxlzp+fgxpJiBjuubjQbZuq7MnT5leBXTy+Zu3zi1QTXM7A/eEYneWSQvcOyr03kxdSsa+3hrdMk7+Wk5HQWy32yJLRfrqDiw6F8RQaMhPoP0Q=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XMLTAGS" val="1"/>
  <p:tag name="MEKKOEXCEL8" val="False"/>
  <p:tag name="MEKKOEXCEL7" val="False"/>
  <p:tag name="MEKKOEXCEL6" val="False"/>
  <p:tag name="MEKKOSAVED" val="1"/>
  <p:tag name="MEKKO" val="MekkoChart"/>
  <p:tag name="MEKKOCHARTIMAGE" val="FILL"/>
  <p:tag name="MEKKOXML1" val="4HooU0THZk28POP9trq+pbTvvzd/gcV8t56cq85kb3NDTsUhojRA0EsgEHHMH7oYP1SYpn09ysXVivguJdhTvfyVMsBLTGvcX7WPTor/CmWiWcfk2RmY+GE6Q6T90sFUr0lg9IPP9y8umrse/9AoLT5R0GKq+XM9pr/aTyOTf0wptcuHbHxeyqBm9svU01qeeEM1v0hpSHUgirOnAK/wusIis/Dw562/ylZarflkzpXsotLVJSCrZYtF7RsGG1e5iqe9MG7z60qZK3vpZqzyZtFVBi094pZscNmYtOyJ+gEByA1xH7Bj2c36EiWyuokqXstVhKAMzqEl3qnbW21iw6HU3tn9ZxBpH4S8SEaZhu0QvZFzEZXIgJrA6kzdz3gNSncoJE/L52VYKaKFV4mp/9oA6bISWP+1mS85QsPrOJND+rsTsHH3+7slVdxGvf3GMwTXlTPSPRcG7+87yoOrmULjv+CVsAXyV6wo6m+2vx48IUjehHx7OA5QoHuQL5/vxIXCU+fi5VUJoSyKvqO1ZB4s5RpOBH0pcFM1FeInKvhB1GlWRPzKZ8F/5DLkwFBPM82wmeqIGiwpD/HlNExKvyWkg5/PW+yGC8GPgPiFY3NtIggS5TbWAPvZP8CMzTUFdtRcjxKxArMbicbfbXjVO7aH6jmYdPMtiW6D6HYBxMYQiev4mywX0cBl9QOjUZBsX6fTGQnfG3Dbd9rQ8t/mUfKiqdFm61W8OIg2bh/bhsFf/r4S5BELSRk0ykjWtIUtuHLOk8qSV+jeYfsSO1505Ddm0CnAvsAFLTgAEKnPZvR38j6Bk4Zsok3TEbGFpuGpu3gRjTnkv34XMk8xkWanxTrsl2sm6QXaFYrXtZXMCvCKDV/bQNe64OdHpIt8gDY+9L7xv9pZRexu1KbLhRW7Avi2hkZrW3BPCxhIooRKyKzT9Zo6O4Ue8p+P2XdE14KtQnZXAYFHmCij9eWD11ArxH29gpTu4IxbiDZrJKgSeuf21C3Yo1/IyQSMePO2AhArDfP4laqJYtxegw8faeFvyhRL56wrso0od3KxxcxXxnbT7EAjhHuyJkKwNde1kqY6aewOJsa87QqPDCHwfF+4gbMzt7tKd0whZK4OVTp5q6HsUSYRnOJiH7X4guFGzf/66RfVr3oISNA/1z5rbOBQJuWGQSg+u0hinH3ZADYBPARJIsLGfk0i6n8vNsKX+jVt1JAmfDnVOsqnyZCxw8Ce+jTf+b0AdYA9rRJKq1mkWSZT/Cq883/gPYH5LnpcnRFlw32AADEY40Iroje3mHA3SOiHJwJfkQ3KMlnJqgSbKPQu5ASAZFM6tjwcGQyuBJD1Cd6q0yUKefGMvujvtAIWVyjJ3AF/2lWKePYoRf/qVCPKfV21Wxo0zaOjM+J6TDSm2WFbvVb+hIR+LRoHbJLH4w1KRMJ1RESGHRAqOVZYTS1CC+hlInskGlAMVJX/KbMh9dVdcBqwGZzhLcrBSps1/2zJZKxpI2bIJGFqz9AwfgsP45H30Oj9NRrShyf9IKKOLbZ5nPBk0mqUzd7GGoFaby9fFtZBlQMJfObt3I7EqzK+XAv4EFdzb8RsavI7UvCoOKxxIUxdnfEsSuVUftG4hIhY6hUMdlBfi+CIvM0kSoDnSDVy6TP1IsqXbyN/BEOGcwwq5o7KqQfRTFssJVufUl6TDdwGTXVT95VhbmZCioGMT+5kqZh1cs6SsN23Et9/VW2MYrO7S8bTtLZa1JT8lJEwuJ9Sf7l6wzJS7kPXe+zJrGwkMko35jqWHazn4CbP9uSYXWcjkiuBAFFyx667bdGDG78DaW1gSKdSzbdQfYrmhLDFuXFzOdTlM7OMQcVg6N2G8vFi6R+yOxJPf/MHzTHhS01mAZ/fYm6RgRGJ6fe9xvaARpeNQqSAHVXTf65NoPd0vHaMRuSf1Q+UYEwYic4mYI+kxo3u5bWGve8RNfsU9i54ujG2MQef9ImpWIwgCJ73rzmXvbv4y8/UQcKB5Hikn+6LRpO90SxaLZGDIvjK1SNsT4pFVHUUpFPO7sWLekHo7npROx3BP44GvPvRpwnnJ69KdrjlbcbE1avvJQtKSSCgFS+gG41ZEj1JFwEZXIwApv3O138eByZ5TCbd6rlEPAy9u8wOwjiesbAILiD0vqqJprjHo2594zon5Vel5JSEm0ix1WsKodmOcYiOXQBm5tE4c+rYdsTiB6iZzyfDqJG/oMtssE+gggiFfLX3YvAA+PzJlNug1MDMLCZG7sUO3DT5K6YuiwYfrpZDgbCcxlMyvsnASGN9MBJE6YKE6zSXxP3kDDMVPNywRSOv5sJGukdw80T8n/5g+gFY6yXit3IM7D4MmpfIy/NwqUSy9m28uCG77CReice/48txlzC42psHTR/w6E7dJuZ+VFykR+nFIKa3eJYzpyue2m6pqM5GWx246HcE4KCAuWHzyugBiaRcRJhr4OYx9T3jyR9aGEaNevNdkBlwXSoaHcGY171lXVZq1uoMQQ8GefHteAeYpBS4uMy4nhGzUduf13V2hgYJIyjiKvc5LEk/ZpOJU3TWmekwBwW/ioYYMzxjJW5iIbGj0rSlM/E1gpqRzgJDKHbm5nsrvUNVOrc55Y1ybTZhnryczBhVzLjZpbnTKVBAnxCbYjfCUukLq+39d46PQFBz8pDJttqwFrvr9CYst9MmJ8gRN29mTI+o0Nwcf0KjZcOOC6Vjp7hV7Mvw3wXGzDce6b7uONb+69vry51+18uzg1UQfzRGwNmCenuGvW/BccaY/3EQwzP79uxxuJj//vX+s0rYf8C3hj4kEtmJCZ6WUnDIslAvpLpbVHSwvDZijbxGJum6lSBP0baolufkNsJmiDb85GzlGdeDeBftYrXL0AHyMfFBz5esG1cthSdM7jMP7rs3Imog2K3GiHoNcPFT29/+BibtppwD+h3Zv5D9y+Ei/mbv0F/fSbB3tcGfZXNqB3nnQdTFlEsYZm2Zej5te8EaNPdM8Zw74T2D67jXWo0E3AO1xZkCGctjmCV6uEIF8fyofKEIVAmtHW9ASkkOZ7ZPoCejRg1gCsCCLY1l9fzwhTxbK0+D+pMX6dVNTZhciTsqX1/Wo1fRRB3H+Y0vgavHs4nzmii32WYeJOL74FmFMLx/ZHUxU+njbIJG+FXGW3W6axEElY/LOn4ZDW8jbBZXIgNfHAHQOAOhcvLOJE++MF61lMtkLldF1YLOYlzSOJxbVhdjoPIZ/kMK4QmKR/wThQibFUvx+ZDA7PRCwKC0Zuf5zNAbVXvJUr41xYKr8E465PCQ0wUJnCor3ZanA/mkrtY113QIyeTsT41s9490Jsg2d4uNT4mPT9jiebivUVuraUj4vJk/YPo5+9bR6W8MMdr2CfoXkiH5DFveVUkCOPR+gD441eSi6FizOakY6m9y5EWmtMbQhUrEtJZintZUN0Fs2tylYJesEUX0kcuwd7PQWPJT9wN+hB1U4S9MqykmBnsEI+hMVREtAQWUuu2c2/ybhzUq0Tl2hWZMupV6xdv9oLZ28efCTjlSn9FZzfYVpVd07rMRLt6kynI4+/G8lD5Wyf2W0EgJdMOSV96oXIk88yzx8MbsPQCMhrnuyFEVDrYWhhh3eb99fZWJoOXIl9QKG9G62JE37JlFN3fpbiYNffYlhJlrC2DvAL89niOgwDvq7yF7FCMrKpnQqz+a52lVO+/8j21TvY4oGOERl+6ZUyQa3FjsHdiGIReSNakWswlpq9bIPdttheYqDQp+MsnOqIgD1spW9cOknUfGNtEL23aoLAK+znjOWdW5DNmDbuSI+xL3V6sG5ONnr6rFmW6WVvEo9qSlBCOWtz2m7Ey3oQlGBNq653rdQ7rkxB4vPCqKFf04EG75WTxKCLiTwhcTLinXt6yMy5lzzbKAG3sZWFGUgrPzlPgWBPp4Y5i5mn2FC5iX8kKq2cz4kqVZPuzUTYG+AxNfOFuD8DNyNreh7a3ZK0KFz4ql5oqC/CX39oz+puNots/5/6GOTHZ5WRMabtHCOdbe4K1BuoIdHR9EEJADQ9arr+RGagPY/A4WABgwYkXSyrtyaRW17k6Wb9lSKqk2ujRMK99uZjGHSuEyjw38yVXd1b1+tfCT2Ii4o/rK+LDW/+iofttFaB9W/97Zv72KKPTGrtubfL41kZWPED+zaY+x9ZYe62/XJJfAA7Or+MRkkZukXH7Q+iJcUeZxVOgHL0AY5fvSVdUgvrwYWzwOMJgrMowXmOR/tWecEEm2BC/8yivFGfvar5uLDptnb/b9GdzZTaPgEDhkXBZ4uhjpm+nxYx+7cuCVWpHQWwYESwR60HiFkCAKHsS/e6WJb/jYCRFn/ExZpXHhrYXp99yMHbwtCpsDKYvU+Hr0nFAmdL/FljT5hXvz+R9C6URA2Ce8jCVNX8RcwsoF+kn7wRQkadQQfVEk4LIFQvlteK8RJ1HpeOj/9V+8mMze9YcyvkDOYbLCT96Qzp0rEjac1FLeWXHHur8xdAj5KMqQ+OmfFVxuyn8Lys6zqhOca1iPlYjemdVgKk5JO3yb7gAh8Digb5p227qeP+dgDlJSUV916bghXywMUgd3pVU5qgDlop3WtYylxZPA4r90KE6M2jqyYqCPF7Yhh3BndXH1gEDWUMW/h++/1OnPeLllw/qUV4hMJdO6hbTkNMmYPHos4iDxvoeBFytKMd+gltNgwNLKgqyZ/fCucpr8x3ICKvzepjE1qhCnKwB9eNCfNKF2J1tjeBv2H9CEcmWD+WE7jC8F0xnlYSlYMikiBVIB0pGHaV74MKfSAfKiKbI+jC8khI08cBOkK/ihyHMgjjKZaSKcTGXCuWvi1OgGp0TP+s2iIgTJowRLyF6Lgdq4Hz2LlB5j4pPTUuuQTqG3gBfmvftx+Jsg43mw01kEpFwqmW9U2YkSXw3C9R8Zqq/xd9RJ0mxkmlZIr5AZ/D/hkJhs7JQx+mryfF7mmwWNV5brg4uWU1CfG4rCKYxx461oJwy6CxXf3dGcujUqbNWXKVUcDFPBfJJb8N9M1TbsQeuY5fPKVcB+JbkF8onfwrmvrmS8s1pv97PO/s9ZvyRStbC8hogVFbaHGUcSHidEDeGtkSsh5lKfhCOzAtWX3x57TgWDVeOkr5oetgB+H2Hg6rOq7D8EdNG1UEgvC1J07jIXDrNK4DBJzTFy4paVZQU+qCy42tXAaTvMTGmBvcuvFFRqP0Np+5Uw8ejqzcS69IquU3qmDcVL0W8WmwOYXIPciTwrcfjxrWe0byAVf3+4wBb5zXtpc56dGjiskI6bwSIgx0CYumJTNfSaAdFbDipF3xUUeNlufp7M4+N0/vqp+4zbgq4AbTmx+Flyl8WJc7SIff/O0gHNWE8rTAo4yypvtbpuU/9C0pZoDTcN7mKPlyIWQUUMtsBywY03Rvawc3jpSSjKfDmMG6xDqaPVtBATS2KouXDQ9EiHBS5dHqGLUvC/vmMBMJetmN40157iU+CaIaYxC3o8rBzVFIo0KfyR82ykdDuyQDdWCJH6fVENiQPQ5JS0Fczsd+kuG6A84x+GQhfmBoUX6512LXqn6CmdoiH8NHpxQc2dEeyXsBc3vpUZr9AyDS3Zb2ps+EO62iuWh/PRaZ7FqlbKFVFnHWXsujoQLAMKXyWClMOPHl3hjDIClEntllrU0hMsX1PrkQEzOEqUug6ZXhT2JsR7xQL7NLg/mn5+C2Pv0F/VbRRdHAaTvHPtDSjzVww7pula6098zoQT4HC88TKyDH/53c6yFWVkcGj+CSUjImWp98vBI6tEShcIwv40sanKzcIqnW9dl/cEwqeXIjUBPuKB7x6tTwAlbrHrQSRjK5YtOX0FH/DU9APnVwzkxE3jz5/GLL68zT9vOST0dsETAoB7BVhG+sXaDRtTsEGTiZGTxOTkryWWmLYR6LXpQ5OlPylMu4ILzPJAEt5xbe6kY12yedciCOjZPIgTajv5tWpS2oSIm4vVtnzolfUw7vChit83rpqjU9kkEIiGf1AH1yaovfAnuactUGCAbqaCzIPYpAZJylki204WSlLJvcIJfQC8/XXZPcMtMypcnNcPyhpcvlRnrXD3sdRMtsOALWdssVM+uJ3DR/WplmOVgCju4O8Qu+L9m3/Lsk8WDr0TSAZgjcLxopGEsP5Z7MvEfUDrKDY52T9x5zGfMxuFG6uIaWBOBmBHmvCgEW5vUw3o4FSaj6GNX3dT3mR4XK9ApSRr4VLAhDMvUm82xoI028EsPrMj2cY6vnke6t6BNaYdIaq7QFlczSgyoxISfcJO0s2ijm6H2l2ptQwyelhPImSVDDzbZJBTdlM5Qzse6PHGj8e3EnQmVoMedmii+7PuV6wELhIbTWWv9utpIOHs5cZGCtoJQPq6p1+eghJJb8Z9C3oXvA6kFFYqbImMeJFh0CpoUE7cNZFtlsi4iWbx9AuI2J1WIDaZ548b6RDsIXyC9QwrwhjRD4UDUA0MMM+OKGYy5NKfHJSvP2pAnhppiUlwT4sH+C6YENw7LwhryDmFR/Xl/5enD7k3iJcgrWtLtkyxJ/5sUyOj9rF9bDoekKxbwwJ/Xbc+7wj92+B2iwayCX5nSazm0cSdKppqwBRP3Mb1WT/HjRlr/4qGDH6gJCiDwoNHpIQDEtELCTKF/oPAYxXqqmDNsAagxS6zUuRrYMuim6L+R3tcf7f1SXd4l3kxQ/us6ibL9Axn2wVB4BDXJVySyX7r3u9+Zs1c7sQQLJGhO0HqLHB+MjZcyelq4AKHOVja0BQGIbgJjDy/BeDzte/gI5B74zQY71ZIPAq39BkgNeWSR7LgRsvB32TFBUFC2ylfkGOT/8kMQ9RsTYjTc0mNQFRdEy8N3lihom59EUvbb9ngMmsL1iHZ8ZPk5Azi04z585md79KgcDXavd8OWtXAngaeN/2AqLjSngwiqayQik3yK1G/jW1R3GqQ+fxre7k2M7+UULTfO0qEpLHSHsyUSGA4nxCYg5NIz32d9ZZMr6o1Oh8xDi7hh9XbBoymf9rOyxBpF98w2fNeNdkfC0kPBCXVGS3a1yCcFSelyDn1gcEjYwu4OJn/AwOW8VwAbbN5rHRc39DPN1hcwYPcut7eKoORi29Wqn2KaHNVt9lq996QkdKpAXYv4BawX6ZPorCiFchXlLgYzNNH292cXzdrLk5UWAodjaWhLsY9taBlc3hAgwrjCWyhScYKXfNeB//D4HrDYbEVv4z8SaIMPSqi8uCcXtqr8r7i7khQTek2Cne55dPgvpgbH5VX7H4YvpPkx8uGhvrsFEF0jufQSVSoUOpxMlESIsx6jtt0hRSlt2ic43a4a14vC+PTNUsZN7saabJwcd/8KTAc6+DECqcGTngjUvLnX1IRq7E3IyNqh/8hp5wiB87MHqYLh7a0M8Cu8+acg86Q0aaOSVrpqqGy20KRcXmTykm3rvHq7RUZR5n2cHaoFduSPG/R0fu0Af3OjW55bL2uoZ36Jo6ZfxjEsZ0h+Tnw9NQfTqkmBumu5wXcXpf/nnJc6Yud/nJDSvL5bxLrljLIwBuPhhC7X/8CVu/w4ZrNv6RCLOjyBM4xSHYFWf3OV5x1ghUD3D1h8F8o7Gp/OxC1pJvJ77liqOmIGiBeFL55Nj4dV+6XnRoxZQzL745XCViTvU2Ffo1EayOlHb3IHifq9VYIwj5pipgHXpGEL/KkuiiY/oezJgA98133lLFtdOYZ+9xI16mZYdaQeHo0txLFwa+gCbt+gG4QqM+sM8y2YCOoIDJ5FOteg1/zciqv5gZ68N/0EBghhVljFSYH1s9G2IvYoAxelbwhZnT8kLS/M+LZ1W/saVfYrHlyvZ4OoCBVS78aeCPp2HpAVlWynjSOzSyuDyk+/TFldI1BSo4rS+MG0Pzr7Hsy2Vyqqt3Onzw+gykXK3kv732iu5d5J8HRxVL53Z4esDhG1EzTPtxtuXRiEBru5rRcwbIccy4HanIDEw+QGwWIPRovWyHBMdVN8i8x4x9/QTf82uGjq+H6EY5/t6rXdS3rbhnRp9ybmv/HedvIA5J1lkxVWS6nIZZ0XjQimAjkAsq+MJk/QUn7k+yVrjd65fHIZ6coRvPp5pwBKbnm+2TBaFNEykViwgU5AGiw9vR5OuLl+LaFeEH5CDuPmbQb2w46Xo7OUUXULW9VbOEHJn22t/2z7nP/SCchX72naubC7++3JmdwPiUt2BIlhWS2FqDV5fWmQh0+tX9c1sLKes/vTniL/MjfHhmNiFfmG/gE5goCn0ZPmGIjE0hhDxULaNyDsftiLeV14tP9EaIJvjmQMIAFi64kPltPzW/qapg8DmbE/lIk7tT038xeQdrkAhaaKlnWl1VAszpNQxusFLypaFBf2lwfRuiAkAvoGI+2mr1abik1sEQq4tTj4hb4REf4jKRMyP3gmI8iuNkf4O3dThTMuRQOpYcWp9BDOWrMhXvDdTvPAV8TIHhSg4Qo5OEZ+oBKfGnOU2XUaFXlbisBGcvzQnRLaJd2mhdOYyS0T4igofACv469zeOLNEfRsC/5BTxH0huSLJEWDxl/ugoFJhMt6if/g8FXpAKPvinBH/3E07YzJyRMbRscnJ304wpYxAsdDk3K2jmBvWSocI8VADKgC3KvjTe527Y3mC4AAllwJoYmIEqG0sCSMWKopW1n2VPX5rkXv3VqfogBDv5Pgps/c4NgRnpYPJQKxQ37ZSSZK5zXbZasNVvyZGsLezPSSv875MOpj+Q6A1KXTuGy4A2kq9EKauGJMZi49VliTtsTVhmyCvuR7slSp3k0C3YZa09jY5J7IBmBA71VSrjBdyj32Lih59sJL+VaA9OFqL/umWyoj02n2//dDSRqaaNz2/XYTpJ0k4IjoGNA6+MPd/fZHMxmtSZziQu/z4yR33OnRYsc2sZKWuAZVS9HDMy5g2erswK13YYyIou4qfwpmX5UCAy3vWUfgDa3l9KQ+AEay0TdoMZmBMVxD6wK+ZoYcCb4+TFzbnzkNaLGUqqIYHjtXz39/FWj10zdkxxwadKWESImgDthfMVNOe+gLNE5kvw2+SPa5WrolN0N7cUm0QMNzlo6Jew5lVmKolat09WD5oSWDKo4b2iGjvzR2V9Xgamh6wZZKGEjQMUE3arYTk6F47key2GuMAJLALD/27+/UvxSIxSsgZouj7YIvYn5XUWNDIKiGnfi7NRZggY2sBtXFPRayyfu5mDTuQ7akGvgu3AmOFjlaCMW4M64avRixi1ob7vMpEUm5qALZhjesdT2GJFxLJILQRu2on2fRHcWS0dXjSJACKnbUQjQtkeNd7NwgIS4U//NMefKSLriuGUYgaI9vPwCIjvTTjtho6hUJ9RqQay8kngxk9rZriCn33e6kDlw9IwE0SDayjK6TfVweMg1KOSIvWfay3BbMZCAUCycwPCf7i3jp2rthbtjJskh4NzZThajirR7hAoDJX+3O5nM/YGesr8zgCmXJg22Oyt/5Yzz7gpfABcGftrgzKRO1Llpi8eAIy8/f+24+doYkT4Udi9eGDnegnFxOmtAnoDMtoMrBKU0xQGXdtSBDbbEch0FlKTj9VvB0IC/5iVBlbdCZtdAfukakna6Jb70cDoaFudpH3TBKf2aC3/iVxORZtC3FXq9PXlkBgo+iO/gG+9n+gzI1IqBzVEyXzHl9pml9VggXUKuIoZgfflSAGAomAZ32hxDr432g0if84HK/1r5Bwd3bWGR8/ZIaHgpKo/lwDS0f8pzrmRUeOl6tvo7pFfVuF1Ux9y7U1OMzHWfJNRT6uUJJNgLdCvUGeWmmPeiZbMFmC9/OoByBkl6bQUqMWX2kF/kcAKv8DQOKhQlBigfyBSQAe0Ngma417Bwhq+NXVz6l6QNqspwxT7BSW/eaf213lVXO5ZQecDWVXhPPIuGrGT9UBDbZehnVq0Y/Db358NWb7ahUdRVu1t+Gf+YwsHs/ufrHfDqZyjvOCRQigJhsP2GLu5aWJFkQhFT+4+Ne/eTkLWCKSkFQzqbyE7lK8LuzNibruEkzX5v5X8dO6ocIx2iVeg3VuHYuc3vB+Ur14Ix2I9YI+0vyOW2n8Ikp3EuceLg4vJFfmMvPDZsQXNIj1COx9MHRRAhmxUpZY0ngu6nREDye+a+NzswTVG/7UrcVAhjr3E0iIVe6aXwB0r2ygIqGg/bI5O/qOgvMV+2FL6DTSPnlHJlrGc8AA5P9CX/4xhdKa2Xt3mwWPMA5kpFaLG+UfCEliEffYF997aZS9UsgtJfrmOcvdLoz0vbEiPaCvHVzsE/FvCDhgeEsFVR73XjSQGJTsU+qtDe2bXYoLbU2LFenoNI/Dn/4wS36BmLFCvyT0CckltwaIqzGVNFKq6OFQad3KjfC3ZhyM47OIXUhvpC+6by7AqcnukA8+clQKKkt73QK9kbgXEq7XbfTYT9VNmQ+HbbIFuKcFKiVYFHwFl+CZ3AZOD+GKOnq3npIMpoMF7OYo5rSaVce7hdSiVFB+4u6bazvFDePOhdCHikrP/nwFwJPDes26ntzFtmNwJd7FlVVKuWI1Jscv+mtwM6EIvsZg+UjGhTMXflp5zndCMGn2ktaeQOiS1G4qv68DbvbKO93Mf5ytSfyQ/H+M6vhMgAVlYwb9q4ZEWSz0mJgEb2uINg6qEXVgtsdYl6LR80bY1ChwEVa+pHCfna5aNkYW71wX5mFkS+D6/ds/7gIIBtGXPCVvrL+E3+dlVhgENuWFnzNHu/Mvs2v7YbsFfJ39IZ9gb+M3pDZt/MnwxQoVAFxYAjnMcTvm9vlEwSB5DKD8oN7NHPMPJzQXpromt9A2WfhnJ4alOl+xH72P7/2HBKrM/Y3Wrb09+GqrFjrU9QloTJaVdhIe3NbbXAOFz75w9TFVUDGnIn1hHUtbddziK0BdbLsCplSUdrvBRnnNsnlzralf+2xSstglzvRSf7y665NQ/twz/2g8zLeew7ICkaKjy3jxqQ6gOWN2Im8iGGbDeCuLjB82/oteDLNWvlddwmzr+/RLrCyCKbZxb1DN1PbGRveBHTJraChHlnfJPiRaLQTtX6sYLeKidvlPcLR89rqpt2FUIS7Ns610RnZUeOxE46C3FAs1DO7CCzjWbMyMnot6nsjmNZY+m8HY6UNI/LBuLunr02sUtjwscyp/e/kUJhZ4wkPNExMuXu+Lm8Snbq0IAFyDC8MDuJTR5M/UZEigf0o8gR7R9OWBtSF9qffl30jwhN0Rjo1w3pFOaKXbyhvp9TmX+qAK3qMjLJigIRPerAco0iERK9+qBmXzITND3rpaWcxAIIixcgfuSMZyh1Kfk1+hLbaLypECa4+1D+OtWIlGku0Tjis1sG6M5+QUTP2juVhVQcELYmWvqkDQM4cMzJS+zTqtaWGEuXMAu3pQPXKokVrGDvzHk/7YmMcI5Zv6od1ZiQhIQPEeJwfKieC1Mj8p5Nqvvhb6kVitRYT9BbsO48QtCdiXLhmNC8lVUzoJVIe3hPXZ+N2QqI83K6dRaVmGgFoHsyOChc9fIQUNIlbJa9qJ1GTYhZLdnshS6Dn0uCDFbQ2tYr+NCved97SK2xFQPBKAUY2oAfXS8vUszv/0Iv5qdAT1BTe7xutXC0sglnG7iV7PPWkHDZUOjMiXq/M/LI8c/BivXp35zR9kie11RAP8+bqviUTPUOqGXAZoRTYFC+x3FUP6+FpBNnIITCzNS8MpITo9OXqMF64Or5YWYw/xNWdPwZIw8efFkRag+r9vZ3Z9iLZdX6rGvrMxddYedzvtiCmm8ecU9oVthPlKkB2kjbyzWnOXGOkvcnZZQrfTdMUQUYGK61H9wIyw372JDc603NqMXU7dQM2ZlZaBf8QoaJMkEq+EQQJZ//AVh7Bzv5MwKWzzdLn5gJvYAZsdpP+Z6/dNjAt6Wm6+ad2N6dZEpLQuIinGJl+FuF2hKWjUSMci9/qtQpzkJrecwx+Bd2ShE9tpBxbCZvUnr1vyJVK0dNcx6xnwOe+N3YJrKXs2RYC3DiGnN0xRl67jiYyse679JjgFlSr0ivVPDwDhGd80+QqnyWkme7/YsWH3FRi1uShRtVPVLFfJJALy43EQvloEUdFyFU4AopWZu32PnL3/2tYZNhjzFP76cDXhVq0VWSj7LoyFVFoYeVqJ/6Mt+MDF8h6C2Zko2qmmqMnKqRRhUzyW8oI6orx0C+ARLjS4Soep03IXyZDKv20W1T1CshMDdzLTxZKEW9v32Wkmabs8fOtPoEgfjM2SPyXSKhu0BfJcgkNHnXCP7E/txXJeaGzznPXvw4fOXoF9aNVnYbxtmsZqIbhyZdxtsZ6PTau4MBVwjjNKszpgPwuJDDq5QBJUjQqu5gJRF1io3R1CLwv9DxToAnYeNjQQmiztPuzls5xeoOMSuG3kboCYbBe3Wedps45ojMe45PMBNhJsBUoiZ6nu7TCTqpUXStkFxuKa8vZmGVr5HfYW9Au349c3LBP5Ix/I01ZbhafGVMd0iEKhAY7I7t63dJf5IBm175sFKFKh+ZRTebOCvizoZJ0B6UQ6miIvfE3tRiiOuX/RZiJsZ6y/4mY3Kyh8XAkaVJCLgUU5EmHCX2jz/KuH8hyCU9kiiUIR8bRTJODmUV4vDJcPwHR0YSwnnvJzcY2EaI08BZTuPRM6LdmyaOieJQe6gDOdt69Nm+VExmfAJReum8bF9b+D1PPsjX9GlQrPSmGIffDfG97HBRHo69YSsosYQuSHy6UffeZSWZhc0jEt8NV8z2rP2EshPoBQ3ooW57DAwVndqh2ifmxVmdlLHrOMwczZqSkO2llKPJ12waaaJ2k9hhXTufA0dzI+wH7vIQglLO9KqqLHFKENJQtaY1Flp109eHGBPX35B2sbi2pwT0Fu9YeE/bXpseLhqZDJtbAF41YqPLBnNE6kCnKc6zUDv5ArRYB9a+LWqSSHIyncV3kPrXzeZjAOBxq1lQZ6vuADqpp3Zzzt8uaDzZYEquPyzWOD3rAvByJJMnnOTGlNu8dLauIW9Agwao0GnZdGgA+tmqm24bJjMamyvqtCy7Dw2bONl7FCfSoK3RYDT+c06NojyXCZJpC71fTIraL39I7uwwbK3gTNQp4igOFHpEYGt5Ozag2MxdVX33BDfXc90spZ+lbabSOsMDoLIqzLGRXgVZl3YRxoK8y9Z1UVltvfH7g5m8ljevf7SCj8MN1eNt2qpwyIzGedCImwzx2ZCSzCsk7fwDxOD1d4W3NtvvVRFg3mx+/asP3DjOu9wZehaUAVEq0wWpEvMEg1QTPEvnNMc+GIsqBqfDyvDm1QSZ+ijjuId8ytrxx9x7CkXqyny7xwDfy91+ju6URFocEPTE/NjVTGBX54+UNPu8oout4jhLmtYCmiZD8abQCmRX03zfxfsN/9Z/gshPhD414npBq9/s02DjpaS+8yRjFrApYaUBY0SMY3lhSwNjVbDe6s6trAmVE10B/j3rzKgI8f98/FHxLBk25fAznk1C0dZzVNEt+jGI8rLpWOOEkqhQ7AQqFKEDeFt284794vQSJ6NnwevNb5efPgKM/YPgJZ+xvkCoIs0vQXwF1WP/rgiffEtPRPOsjzOYcgtIjPThs7tkeaf5o0QTRhK9+4k8EJyNTqd87w1dilcUeR5PNQ84nN2ZgzM0CzyduI2uLfkSK8Rj1hKqzXW/Ky2RqdgBRwY0lAvYqldlmw0A2OwgMG46aGYiV6wFzAwQ+A7vFgDWI4tY9khgHi/TIPXL5xeVgNWxjU7yTT/sqnjCNIyoEpHFmfuHg4G+m8+g0KruTQ+OX9RA/3Wc4GsxPvlguSH9fZmTqjlyP4ife56MIwDxDpGK6kMJF3FDMx3qQarmyp7Q3ZZpwZgTWJ66ahzyfmgVHIE20I3Jvo+M++i4xqtpvxSOESCTPBw+XNk+CqWJzXVoIoTaAXvmoLjo4+DShi5BnO/p7dkJErisZYKkOjZP5wsDt0N740pAts7NPWUMslijCWZGLThFHdSPp4J40Ib+nNmCdGIBfTyluH86j0xd472xehx0puEZ+z90M+cqZY+/6RJ+94nvgkrneWqswwShvU9Sb8fzoeuTdc+6gAywQc5uvFUOJXIQrlsJsxeRebuhwy6KIpmGBAx8RGOXfnCzPCqqh9Rm+Fu73vxHGckgMexmAtgfN/Dby0HO7iQErhenmVQMBh23q/vv4EJgw2cxcDJC/k1iZLmlHjr8DeX6iBJII223zB3Tw6fyJpWDqNIwLiDNkje1PzWwtDrtBiHmY0CvwEGx57vbSl6tSvj3cmcTgOpNWd8sYh1Ujv2mDN4I41edyRMmoPfN6t6etCVJjHLwtxZtasEd9AP5aSn83GyQZ2vHWWjfruozCAd83RHuNpbdrIod4qkfdMEmxrDiwNxTKLyHS1VM+5y0cazzuGi8cVdsBNlYbYqYmRYCI6jU8WmNFNdvwtRmnOah6qQFuDb9zTedWSUN65i/cGXin4cszb9Y6Skq8xxNkp2C2KjISecndJqiGLBmN9BVRQ2xlHmRpq2wu1S03RzyEHtxFDyvATTJzf8DrOB0SSb+5bBszCiUKgLK4lgogAQWuHVozjUQvmOw9/BjzIPfD4DulyYL5hA9tR9axPm7t4erjuCHeoKhGSn6FHSyR8CLMasjc7Ilm4egd7SP6WH1FA53fqjOdt6YAjSBJUVH/0lH0PEuRPPq7MZgAPINkB775kTpcaz/q8Ttj1ExkDoKhXWXI2PdcB2GuWa/WU7a+GrLTXh6eCcFd6544vFRq4CdpDvkMkFGzZKriA1MGRuz7mMPF3DttCuqj56H/IeeMxl2mU4NTyI0Kq0KVQpN28Ts6pKgwqowyp/EGWzwwffS+4ki30szyGtS/YGquhYv3YdkF/4Hmr+1cdxDRK3hjkuv+MBzL+277Ug8FpwKKDf5h0zKbwnDfTzv/+RWSkpH0/sFBjGl1q5zL7Ix8iJPoidM8/9a8bQd3OxvPy+5n9hHXrorteccnxu2HjWNvkRM4Kzs2N/Pn+b4osKgCpp0ax3n3gAkrKfS7BjeKNVdJ9Occna+t0jSBpo2owvqzyD5A6fRApA8dw1lux8Nj2vD8VZFvEjdtMfc9BKgbeWX3rWqQw6Jl5WlAsdvBS5NEQG3JRtb0NeK+/+hvljTP2iBgsH//zCcEJs74Ye/Ul2Qa23o5gYVhFRZ+PJN0T3SLMcpd6o0y0+jKVK/niVNhPiafuVLa2vPZ4UJNp/Ahz9NyvFOLz4ipCiaDu/Gf9epFI5y2YJ8g+bg9gHYoF3wkovk7VfqFIPq1uNFSl/3TA7gGqp0T7SqkS+7tYYDkNN1pWf/Vj6Vh7r/WsXsWN9qUTfycS0yH0A1aaz/Z1jh9xQZ/9dX0I4zwGPLv0QvfJ0D/jDPb8SQzx/+xj2HOdM5Tql3TUxfhsaw3GV/Ib4yWcJouXG+a0r8elf3NTg4E74JcKUcdUwHtbywasC7CKyJ+PrtlDJGr4aGvh/dPMOs/4T+jdorxzEynj7eoYtMQwnu/pP6byhS2OSD67JUtuctvfhasVFxu7Kf/SyLB/u/a6bFDb6yYRhqR1HlZo63OpsZwmOprcbFvZstLCvxG4Pz/WbpMGQg0xP/RnSffiKzUUsmbgdteP87nxJFfa48fVRa32dxqqiRnnegLwltEHO8qBEeQjZ0GoEAHjr2/HAotDuJFjW61VKR9D4BhQ2eI1lLh7sT7MwUUcx9Gi88WpyJTR8xYVQFfYQ+Cr05uH0QFYVIOuhO4NMbQsKM/0Yy6nhBSIb0wMPuUZoSrw6e9sfmLxw0DryxE2pLILR8mHHtCMmxIX6b5T0ZjCENd/JGm/JjuRtl82v5TAZTT6LIuDxMMTi5MjFe/Ob4WLvVQqM6CAEqFXZybhCI1VzrFaj9wMPhF4nlOP0dc6hXIBWa85ownGcGgyFV6USIMhOzmYNggzRTI2RfjVPdlYTsYxC8pvIbK0JyIu5Ta2ZhmCvRY1QOmFCpnaYQXL3os8rrzlEDJTrG06kjyVg6szdyYSnHdDbSqdiWIF9Inap84nokLW9VuVrBmbLQO+T5tJXq7FrT7aLvBK5VcM3MYjYNNEMjolS72TH5cg1y7F6oOaop60VQt/Ye4N0+rjKBd7kpSQ/Flo1aNt6tDMJ+h29cHStLxrrvL5aEAATTlQBNgvnY4NCQZEOnQaypDbrZP4WNZAWLzjtYpAxvfDdlfUiKbvbFG1fOyR43LK2sK6Ej8Ak3jJVzWl7MCaF8hS1K6NWW7Oyjrq4yqLhz5woeFoKzCjBljU7THWQAkzZNrKiI81ipy2FqLUpSQ2LR8TFp0kWIPP8v11dfNwbU0Mo946f5cXn1R6mqO2WszZhUsq72A/3hN2B6y7RCTq9VMwxaRvMzvehfzwjvEiT2PU+whQmVqvYFwYx/ezuJeZd87dqVFi/uUPKABzc5J3DZMUoItGnP4MxmHy5GB/h87jgi6AYsBpmOpHvma9dmRhWn9xq01syEfSgf9YiwNNZK5UiV1jBxN04i66RZ3IoaqjiRcYDnzQQVHDt5JzkuP1wvRrgdIKvz4ZzFh9pUXCCEVo1+5O89ITwrlp7JGRCQSur1XNeBmYgczymHqGQ7894GPMHgELyl6Z/nfwsbpfyqe0jR2I0CVmwsCfjI6l8M0g8Ta77dq3/Hw2ZoHzXf0AM7cP9Tus08uXrhoYAwxWJ98TyiPS0vLpqOSdwPS/R8ZM0fBu8pWxHWOPwtA/SzJzM9tmXw1pO8S9yNX89WOp2chn7K62vWn2/F4aq1yWbxxL5HbD6rDABjWz2AnTBQgL7qftgOuj0Znd+XUtaX8gCSEryZfW8bIvf8WTJV6EPpz+vwO3AMV73Anx7QLNIg7yrcAKov+fdQ8kMtqaOsKJUhjth6lxqSbcIbO2LU96M44gn/impegPf5SKR4S2/5tK56ZsBuS2Kxv6Xq4XMTAdaUJnN3Z2e5Oo5Ckl8C6ONtX4B5dTJPsCX5w8tWE+Yqil0RtUDuprb1/rsydSfsJIvdh7xzCqMWLv5trzfgtjp4YbQKlMsvUiCxmv3ux8tECluWqF1d238rf7vESNfXiIbaSDt4UClU5S30IHAFXeUuxSaZs2xbCAQGXfrb7Vfuway9M30CMaoa22yVcB5e+o0d+qrvgz2n3AalqT3Q7LXwVRYVA6+U6NVn85MgEDz5y8e6P3wE+65fm9foUGvfCTUxECfIXARF7FqmGgRgrHHt7sPK+I/TRH2CyGrIqO+Mc16yRGDONWiTUXrNx8wKxptbl+aHaquDkj/qbc9tTvR1FpFY3zGpnD25sMgFaDUiQUViWBjCXxMSGr1rbImOY1nRN4VgE/KnGoh/VtLePnNTIlRPCnGW7yDvBbOimS6UmkNyj4O5Php6jUNi2fKaQW1IIlsaxdEgkKsba40QgA2oAjgcdULFkcDP+/lMzrFPm0JAz50A0xcBKM9jnRcf6WxgPy98RoId6HKi8M77WcY26HpN2pQA5ctAWL5HmaXFv36bW1RIPTxvwNVpI0BevrkVOTxoadsKWvaYEAvzQtDXYMgZjQVtezzeLfH3W9DMRKAcgg9MIs6x3vZlu8HUYhp+FU65oLB6uSxmyIR8GIIaS8E89BWG7JuuxYHyD0peZZXjeYzjfa7XPb0BsP+m4/cMyZ+hoMwQ7PxUgTvx5FC82dUic/wxxxykcVfQaCO0d+mDCt814z46OxMuFOePPdQON9o4c2Lz+u43lHJsdf6ENvOFxTiK+1TZ5jACLNGbF25vULyNdS7sVuPe82DYtk3kTSaXFN2F3byDKINSKHinN5fLPP2cZU3le5T5IcFt8ewckZ8vyDGGSscSaUZnlqW8SUht6Y26Lw9kBoq7SvkeQExxV+jCFtw43u4CKVNB9UGV6a/W9FluXxtWpyUIhpq84T5DnBi2Yo0h+gIBfLOCCogjQ8Lt/+8GiSSkt21/sQV1iuOUraj8DoYkZNTsbpAc3Zoc/nVb+LMzAosZxP3QAxjn+2uhXWFe+m/LXBVNMBUHrkEvvt7k4RmrTgNu0XFlv09FWHjiAFhUKnZWGqaI1E4uePath5HR5YJmd9fqsGhEaYUvxu2DNV4AZ4LDah9C77UG04f7WOI7OtRY8ukIlU6p4H/M39DJ9Itd+auk1UZTuecOn+ndM1qTMszZU53CMP6SDOjAp+aga7MZwaW0a3Kx6pUorGtoEEEtLM3JDw7Pdi5COMCVgbvM1f73CM1rRXAL5wbic6jl3gkuAfs2u3un0q2YqDtQb93HZ6s+ea5Z6WxkHcsGrW71F6Xfmg89Ia8hMBleZ/S/R+ATITF0hW/f4G928OZW9U0CyL59FC2J140KiK/syQ5/5umwQXNt7ycX2RwyC4JB0BXZkWtKfeFaZHXf/WsSTzOls09DhJK/25gwRjCAVnqHsfglUejq8gkrDIGRDQ4fI79pi1/zcqfENRFhMYn+ilvP0gj5N6/uLKSpH8qF58cpPl1VGd5fFBPeSjFts0rVsxbC9nwHWbS+Uq8eTj0cTqPF4WNWna2RehWDKa7nXarTa2rHgWDk3WOI/aPgWSaHqHmg8UBEjOJ0q2YFFmNf4dOnxJmkavx1zYkfrIzr20aIyVHJhuvBOn/vtsWmp2RUHQsjcRU/v4nMYvKJ7z2vqIut+lC8PRNA7mWoBqRHLp1IcXGVv0aq0SILbk21aGN7Z/Pf+MRzFc3R+7TTuP8MMdXmQDDwm1SHcF49vjHVD2cfaS1yabAIY82P3u4i/+6yfkShjNfrb7llyEmIffvYRcvLkqhEl7v9M9i6jgCIyRWrBFa8jbn5aDGy1fsZWqgm/R4Scx1ljxMMO08oIrJt9f7G8gGM8tDGlQF9YXCVQwNyCq5iSUEYjUYoogRvwM+NrGYUEgBKwJvUUgjO0DtKVTK9HMoUM9LtiKfkTe3hxQT09kq8oyRe28XKbcJAlRXIBvyoJlRWjh7deJE4EkYeA3szFArI7pO7OOwjyUBzNO4KRDxTrRq5ueLWsvrdF4OJoSKX2NZzRN8I5zV3s9KTlSzlxt36lpuLlzKQyiBgpO6P56SXljr7LrOM6AbKPAazUdRVVKEKGf+xU4AiEuyqvDyCoIomjLToNMV935L9GAbQZb0Yylr60lMYXtBM2NZ4JBsWtfmS14DhOuEpQ4B8SsmM9VDSWkXe762LpnB5qsTPhuIVIltzrKKrLBrQGK8QbhUgVMYvIgDLHuHRPiiwb+58kxwhxBwMXstJ2gTIryqiEz+F4jDkzwCHbL99jN/aof/jGACbSwI6QfnStFBIv2ADwljVxNlpAlDYL9RBesdFZ6P7eqoUFeSJhNgiJ23ALkpkhzSB20xAkejs7nmvJuH5wBRaOjjUDDG1N4eIS+u1aZD9BoWbrMxh9ARjSfhues7s/nMYEoQbtIJ4IpvDEq51/V1cIaML3+bJrg6vv84CWt9qCnzAN/vQ4djGT8Jj792V8/wGrDjtFVVDSOvQQV8XkAmoNL1un2FoiYTKHIERJQst0eRVhSTydo35tgHvyGKxT3Z/D2f0xdO/FTaycj9pX5Wz9Bb+zhetpdWKMzDH41afoLc9ygtCTrkl6Mz49/Pq95dJsSFZG5DAhrMiDYTv/CI58DEecaU7oYf9WC/sAMcp7JV6sucTVi9HRjvixRPyF/hotxhl38Yy9hdIS2/m8a8kc27hGvX+R2BEnKOtitfr/6mHPSrLiTyQjQeiNZgvU/BACYcTXLFoYmWRtzMm4O9kN36FrBjJAp85oORQ2skbSkwaD1FdqiHePD8VAlG3IS1X5SWSZkNjOzWN5TGJX1jSGRDPRJMWUUqaiVZeyr9OW0QlV5vUEz512fw6FFbcBkrbR5c0CGdfeLTiwwBmN0CbS+vXE8EC9+nNRxiYlAh27dAQyfcDkks+jFpUMrFD3wP0Cm5WVAouezUwEVugSVNUlzLooaiZBH38BUD7PULE9NwQ1xl3AJBJJgubpk2DIW5BcG9Afm4QhWPyCodgnx54A7JEGBVey2Ynm23Ne/RG4UNo0e7YgXUG3VvBHpNWKEtUGomXpGfe+6NLGjAToJmaVqfDkw7QUQprLJQL2Rgqp7kPbBLOh9tU0xH+Sc68X2cM2CZGmyjg/FpVYiAKO36tne4sOeS52BHGrJ1CrOQJf3dmYFfWfkxilqDcQY4T3TalFCvg8YBhIx3KgVTDlrXQIC4PP5HIWmTJnYVPJSoVLYTquoDDmlpuht7WX8ajMvvthAQqHU6Pt9z4qkMC840RaOcKBZwMboxtQmqxXWBdYBaemGvWCRrRAqPa4qwLS1NnJB5FkSmhExQf+6nXI4rLprsiyi5S/YJExNSNtmd8OHAfJJP92BjCg7PHawYk+mDYQrDgFyxFKWjLUdF+hoItXSh4jcI3rkKL2tMplemibRcE6BxnbX5BBDQ6tS60T6HrI43c1pN2WcnDQV8fb2oZm1j1WgwoarLLaGt3qd8Pa9JJbtUmhyLJ+NoezQrT7QpFegNDSU5xtzBKXXH3OmLv4rvDzRK2FTkofjbWW4cIUYL/pJdlwoXSxFlBMsAznRo/wlMNrHP2D37Ud/rHfB2Tny2u/xlIfSz5qWVbeQ+MmldtG8PUdnEgVQTeUF6E6DozfiPrse1Ak5ko251151DmXqfrwnWtzk9InU9ThJRDFMqDHLZ60yZvfqT3mjJ7zuCXgMysjQXz3OnqZQAN/fCnV+G9yskKdMy31jWf/pyvH0QV3AU+3I+k+/yGLhDdGf2utClBKllBQba/fy+HXl5q/4QDCJscFyiu0XfI8VD6NUpAp53vWO7e4ubBbVfnKEnDs6AY1aZGVKp7fNRGLLafESV7DDMvxNPSFyWNRgBZnvJJt3bAoIgBK3zaX/bqKVJjCOWPUEjzZAlDABy+LOhDzQUVivvcOby04R9kVIojQVGqaSqLiy8FnqyEcXw2txRjE0mnPsSK/nvAZZ7GRI7iiwy7eAA4cvdJJVnteumWu76Of172pH0nuQIF0G8lo6NukCuZrLfjkNbBRGY1G6Rw6PipA2BSA1DClo0ZSY0MHBmjlprkea+/q63dTf/qrYpbJcK4R7iIM4YO/G9VFMEHHfR7um0Ipv7eCbbVnT9iu76hcQCSuiaEtFpgZoV0eIE2a5VxSETZ83CtBr8zorcRDlKr3nEjq0ww2xEBSwCcEMiBZMaLf8dDCf9Eai97/8+2tqG+b9Bxk/H43EOUTr5M869mlO8rN4h6s7lX6/ynDtljexhsmU1lhFJzBE9Ho6VGMWDcj1/TbxFCzrzpb1sIRmgyRgmXYhosfvJzwGHOG48AzZ79rRpxaQ1byd++rrxtop58mpbTe9gYrhPlFg1u8TJyoxxEzcQt695hd9jlZmn8N5O3O08AGdWYOHff7mnPjZbgAZAzA7ooqn1th88teO1cGrZVJRooDRyz/ai+DR2e/rloQM7hS5NKJ9Ns3FpzCBh7afVsN17bCHdXY3tg/WTjb9yIRh+IciV/D+FElF/x44A8O4k+HYgMR+wSxvDy1PtxeAVlp3MEpCHfIsJ0q3zX4G4Zfgihpn9z7LwIvG7gzx9gjIQ5tVDWyL5ULYdFwQRiZkZNOX0xsOaAZJVwIGOKRz2OOzOcrhQ8rf5eD+CPFjf8vBtkP/GULaS7u88l9NqAoeXHKyyDMq15rgtKbV4P14DzNTZNWYORR5GOHqkb9fh0ePqTZOPX4ituZv57iTb4MmtLPBVM8gxKUEnU1SX8xzciw13avdnsLxEiedLqBqv4MTBLqWkctEL3iS4Fso6FgrxG1lU85tuKJVKKb+0xl9B7ykgpPJWP0ghCu29JY0eJ2SeNjYLqzOjFu9s45mxse3yu+YLsnLwL6TGokL6RTSZhBj8SiO5816E3cVmxriwIbmhrC5B941UR/E9hX22vmbuWHnmOwi4FJGuKUi8Y//cUIA0cJv8030B+2rtWRXOUJEmxvCyEvo3DIAu102d7g7/vkLvE3Bq5hNOOMZOjfOAaT9B139Yv86nrwBJfE6ve5Zrkl+eKLmx/gBVp2OInHg2IYWyOL/ylyhG0v5tD1UFELXOqZxJ3GA3nHXzF4Ryj58RSQNg4W26wpqNgyjiIyVdOCyEfJWqCJMpI2ljBRWQ/Oy6P4YNP5D5PmyJXt5oj+7NCpyanSAod6sVkA85q6ODKoorrOWEgDlDfyFy/A55bKF0ZNoYp0xuyXeGuRKuOpa/MxyH30xIcvFZg4Hw1jRb9eG7VE7qiNbRZmJZevWXg3/HO81P6Wdr/1ymB3knGdMZ59suAwaDizXeFZ4kn2jVEOQ2wtkpIWDopKBlTZKbY4oJ5JMqFDFneEWifW52fQi44sGoTterOiutJm/hU26NQLE5obeyS/XHQB5aQmJ1iusscoFGXZnCF+yYdyeksgs9Aa5Hjfe/hfBeQXQRaMhHpi2u54uIJAl2/8Ip9jTz1vW1vih1ghW8/bUG9znGg3N3MfDsykKe2+3Rsj1zTdmjt3Yy90lOg/d1jw9AGklvqH1Z9fM7+iOdJV0AN8BOSDHQ+25A9DnEzxdegr0q1plUOvDdBNUR8eR0Cg8SbZS3Voc151KEQr/gFmCojGBg517k0/7Boy9xLOFYhFEUnP9Lmk3S+fVPSO3izRm6Jcncy7iLjDXgHolgcsL/EYe/WainYV2wDqWLsCmlfqTWP23vJ8o6N8n27miFNuAcJDZno4Yd9a4STVY9Fr2r7gq/leo5GPHvJ+5QXL+CmcN8CM3UOesk7wOcxzzEdANXLMFlccCi8sCXb+j+HXTo1jQC0/W8COSaGZUBkDPwlCO7Pn4tdPDXAZYO1aWTPIAzSDPG4aZiknaX5KlWgpfGRSNQfYKt6FMdfXZYv/keMK77/T9ZV42kH3Wx663IMCps3qSLuxozev6XVa/JRwShZ306dxaneyJZMChYy9spIFbZhR4WqTdUv49QhXY54j2hOuOrsBCOwMQXyTxFUl2lMR6ud7gnFForRdRMgEQLLxfcBPhRB5EtUBEHb5mfcdmII8FG0e5A10Um2mkoGg8x+na1j0Z+AdbAR2MrAF/pGrfdG597GxJu73ZY4mTvyXmS6qcCMEzTQfJF6PRB5rJdjZWymcN+kKgxGbO/d+EEpPskvMfNVqyHkgF98Mqz4qA53rKnPuLSjkkhiWCRPJH7+axCFRCalsWCCioYK/kcEnqw56qdLnd2ph2bz5QIvc+woypRagcey/4o46vhtMYgDc6sOU+WeJJYv2YECsvU4RC2mqjcKkraHviebbi1T8XshtC6cv7o7hFsByv5/6dew56nLNyE/VGytkmjZhOBwZQdC1lCUWNosIeWzcrk1bRe+Ii6wJyLUjnLA/EeuDlR552U2+3HgJR1qPT6AYyEuPoiGTomSzQbe4FeDG72+UGiWbLWOagL3kqiewDSIAwlbCaZiznQ2YedJP1GHAqRNIbvVKMpWXzc+Wkm1e+PSIajwXRwEcw2j7GUGs2bVZkLsBUb21lOH9aSAxNy4UQAjsA5QRwrkLmbFzQsaQ7tIK4PX18t92Gam9Ki24S3TT4rPpVO3mkaeWbNBS474rYgJ9EnNN5Xlbgidxyr55ivrWuksoM0O+EjmJAkS9n2OTigDhvJfqRHvgdjcr2vjQp8j6B6ELFfa/QPpwXD0RsZfHp7igKHwuY33Hhw7Y0qfY6ZPHkVMnIb5WID1jMTQishmbZwIB8gUzTd3cnRCZm1uioVQHtotwA46ImrVCdOw5Ns8fmLQA22QLVaOIEYJR4IAeGpT7RWeCc56bhOA+XmZRqwf5zdn3iev5WTEOf/SUaVfJwgb+7iea24NZq8qwLTrYt5yHTcIDpLOj9otHlCnXDox5SITwwbvgzrlngpBuCqdYtD5g1PZaKl05vrlvOGCFfiw8lGv5Q3nr0XCQFnNq3I1ql66fzCy5ZHqCUrX8Rs2QG0DywMKQznnYwH4ruXMIc3rMqVPWhgCOcPdSiMhq88h8TOFULz857UYzIsHHPby772XDnFAjX1+cWLyqt8Uliybf6RYHn+SU88NHsNpHTOKK6XtB0//mfpbtei57WkfFBTHKQoU6sqHkRgb9J43+gpyVk8UFGj/qETIvQ+f4ly8kM/QwcWj+MsH5kcO9O/9KeEF4AWc7Jgs8i3G9eKrBUQucBfAIHVxANJdLYGOXQfqP5blV4yHN6NbZ7CNS2XJYDlwv+l4gHwU9WF1+WhDJI6TE+XqNFzzJoRlBmMXFgf0QxCkEPLCe38yIjYMKSGhB7V0luB3BB/a4br7/sjKH8g+mmH+sJYOG//z1iq7gBbHqGRlQB9ZPgD7FAjdfaWK7SCqfS40dZ5t2zC/y+3pypbL8diDuOseQw8Mr5x+vo28PnUvo57V96TNTdFPyYHi7ceKktIP4+GOTymNZho5TaI8g+9p8fP5qRFybsfcbLp0KoD7j35j3rY1T2LlJJ+0R0eAQu0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vl5jf/09ap99kD5plAaxXVCNjEk7eSh8qzNCHVzDwg4tv+lTGG6Db5+KUUavBPoiliMC3X9War5X/WM20nA0a3ZyBuReIaqDHFemqWco9yxEFZc5RhIYFDxCCtaF63Gjz0TeNrdhkGnSSf+qIi1ltlKka5lPyi/+tQs1vBvS/Xu6/hNUjNR00hkI4NsjaUa+TFQ0+14gmi2A5DxQCRK74MauCsLncRDGt7qg2hk2F2935u5nvQTb/WciSuEZ4KRgYU3eIlvrvaz+A4qoRs/99jRiMYbUxnJGyfILRdmRvPzsTxXv+jTCr/Jh+BaDI8wKJ6i+yKFgmF09zY+JE36IVV3F2EAZSWhudLPKAMAmbxKNcvWyCuR83n4utfYivHI/x+p2A+/H8zelj46bV9fF4oKCme/kwJxk7x3A+CRadsfHqD4TZAY1JmIOUtTsrhToFi93y8xRv36yS5fpDwcBbxhI/JOJjQDe4ulRyPmAmBNxgdFB3cc8GGfq15G6zXc918NmRSSmqTALU+0HwPxnScQEYtFQl2xQeUQd0FeUy9F3PVkn9bBbewBzpTLrjZ3Yh81TNf12xM30HZRoinKnbh4EhMp4qb+a90Xcv3XJgMv2Pod2pOit9vZ3sOURvjctQe8ywfKsV7FDTTdbTm20WT68+BVku2lR3a0gkTRA9dnQJgS2pCLGmxB0P50GQ6H9QKFhzDW3s7he8ct1XVLiI2LyrBf1lMiN5Ex94Hwkb6wB4Kxt8E1NhRjRQ71860OyhFoNAO/CdnuIyJapdP7eC9sPLKW5cj50VIgwgvxXS6uGvsSnRbRON7aLljKbRE4aaSds64BVBQnpO+iusQVRCSPaNyA5ziN9Kqo15wojzhDrcQYbBqOD+LV4yqPudr/n4cpb2M9ap9kJMR4sb9Zv1PXocd84Sdze/WPN3T18v6AaDPrpGFRA0Wj9ilIeDfWrbVs2eUMNBWwslo1COFA7+NZZqnE6CbhJjfb/ymMUL6UCjSqHRrkb3JsG7qSr5vJUW0dCtAxcRZVn3a4ME/1E0rzAlfngQFvoG0OtkQz49TIUMhy0Ikp8dwtBuN55tykO7cYHOfYiKCyaqX2FBasurQEfep5L0Pe9SS9NLao17biO5pzhWjwVmtMCSDxF+hNqo2OpF/ZtnLWHpl+E/kdlOeIIZGv9X631FzEtGrpAMvbSKgQnbt2zpU5yDilNsuKa1VGjlnFVHxgXZczSNaHonFF9iBLsD0TscXkneLkV3W4iXzASYkJwhLbfTfnGvOJN50g6MJusGcNAatMBJQQnEiMML0yQHVph3t3SXeLAwXFyoQyIm3ps6bSpKrwtlSUEokV0kK77v8vNRj3/wv11Dol4Kf+LwO4yXZfIc/ScHbET5fmFTvWMOJMyeNK4bopMEKyK+ogRkZBdTtMdEZrup+HxeN/KMIAGI63XMvjhPP9v52eXcWUdTUc12Cvhuwb4Z+FJfEbTM357hHKxlIQF/FJtcxRqpu6mCQXvllUID4PpWhrbcfXJpqtafHC8hH2PdgFQaGKmyZbZ4DFII30uMNtMi+FuvdBtZ6aaPmiXfWyIwJfWbhKZOWXioj86Mq+VWyL1utFq5W2BqXcyvKJ9CJrmsVC96wz0jF0QvPfJExcJ0DTI+lvGUYOAtjdO/CRd0qHB8yQllr2JGwc/jM4Inev10+ZDRxjaIlbcy/jEgc9UFjSiQHTwnBDUNY7nReRKfsLVH7LrIpYNXxYJ/nM5HhFOs1AUU39fHF4Of/tKCo7lHNXwAQ9uVixz1abPHurZVb3tnIFNJcnG0q85VeQ9PN2c8nhvory2TzdAP1F01s7pdEHqbGond0KffU5ZPzMJGtEPiGYGAO9fs2MDn4OTzGB3hj2eVMNRCcL/+Lv4wyHXszUk/Y76ldgePXv09CzaGyyOw7pBKiz7jV8QYp+Lo6gYuShEIxX9urBn/MvLPuhz9+Ke17zyn2n1CYeBeBvEXYPpdlx8loQ1bZtmLuJxXEMc7ckecaS3T9Cf6dU+6dcaKo9VJwb/OOGxceGqDLoC+UxR+Y0I8TacWp3NsmzG0u8BOGAQ98Kj/NOhU/vfs34t3L+Hw6YX5yzB4jtZ3WKe+ohqwM7GbF7rU7O4ctLbMwLtr87q5PvB/+aGbRUQnLohB/dYHtNHuxkeLj0q3RMI7aO5GtsyBj4ZPhzh2ndU0e3lRfrqlQd1+v6LfzVzMP0ycDrr9U9ArCr5Hc0/QVT9V0QQ5X2GrsOCQHtpn5QWJwOHRDqh0z9eMbSI9HxBAsd8ioNFAzchStV4oKoDE1HBH9NYSiv/6yuROUCQau22KIH4KYY4F1anE6yi2gPMiq+Gx/OZ5SWautj8c1xC+3u1MNLU0j/Vi3Z+kr4kQ+kszM6izVFVW+WPQwZyX2oUKOqA7KTFaF/tzzMgr5NFWqTzMpOGpoj1mK84UFC6LsPmZneGQZmqsROdVtFhKSsorlKdPuP5vkjbKeZmCRW8+R1zUtgWd3XJPvMIQtRmdiUidYQz5DJorkL1iVFI0WwgGnODTaIkNzloasiNBEJy5E8XT2S6PjUYQ1XFqJwpAFq3A0Y87f/q2gBkfyvOIkIwmmgEnTNu/U8zCoBTieIXg1tnzT8HGb/4AUaYfmPlLIjICXP+Rz2K6tbBboGYUJNypuV0H58uc60qhM2t7nMMd7PGuxym4yCUKLfEGuZ3fDe+DztAl5VFsUXqx53IUvTwZfapTSPJNn2JVbZ5wqtvBQSxe2Nxvf82b8ue5QourevMOE/ikrC3U/Myj6TWLLDlwWmGxDBv5LokCTSnASeVSLi+o1e3M3gQRCYvfHXN+AOS23gzwwtDHBXbGFCW9unK/h1+v2bGWaZ1cfMZNwLUD7T3Lx7ehX5A/pliA1cDB/b19zBrUo4Nuub5An3CAjbTvhAlyo6G2GfPqE4PzFxhi+1Ww/Y/xhqGjiMGtt8yjdNHITmeyYdxFrDMTGfr8NgoJrh+0dh/mXwHJ3FGotzu5fp34PIYE23zSSi9MoHRH45EV383disWUDD40tkGBkkouF7qiJd4t8pQgDYRcHeSGLcuvV2y80w4eQ3h1NdjExDfDDPyaJ7rIPSkMUGH2ddFwBdNZPREGnscZW+wHfyMa3Nr5Pp2T6wKGTqWbGnZbH4bw/fMFEu6tvkVLWPOSo97rOMgYaRUP9sPaXNMYl4H5TbXc43e3zX4UythBQfG6zK3dulnXK2VmORxXelZsoG7+VE8IdrLdext9M2r2Sogrf4XY5mq/48sCQKS5k0nz3cnJRpxXsapRRJSbkNlyRgrrWB4CigGDItipIjUOG3CyKT7bOw11gRHP+8jk2IE6a7jgg88DFwbP1ds36+8MIqqzPfaszwxzkvpqSg+PEAoYLY+4Tv6u7AXZwut0icciVfAhBFyyNs6KMELN6b11WoWIVo5wTW6zwlIEqlg/VnUcVB3QVuR3J0Z0lUWpQSE5HsRacIsRAiSwvPyQYH+X2r+7qxlU6ixi9+J07m1e2JInC8zpRqRm7eygyyDfWpCQUNXpaEyRm8AgzHkb/Z5WoJswhcuRfQhwQq194nxXFOZ7RmujsDZ0FblLuTFDw7/TWdERxTPo3SIv+CmtrTvkt0McNg9wwSvs7StDVVdLYHBbyk4VL72sYc/TkjO6xnlsHwze2mk+i7JUv76tpB1cUDcld+nkCpCtRtBSEwK77oWxlHQQ3xh52XRYuqIy05uvT5s8fKAS19NzjQ2wwRiG0f8sV5tPELDGYJvOMbhgGIluxYznAuyfR/SaOiwbF55GrnxmJVQwTijd5A3JZEJ5J6u0or4Sfs5nT/h97d+lTxNvbBzhcLNI2/heyWe0L5wouf4NgUiUKQmjaXveiWYaLBXtTHVUS6CCoglulz49Q8MKrQUrBIRcZGWQiov1XJgmytlyp1/vIHBNSK/sXt8Wp01T24LlUU1nRBKnRaIUeRy+ciyuEMnEywpO3DXK2PZFng4Ag6vQ2sSQigefcNja9ORSXJKfuvCzwJitKuamKWojJp7LVnIqW1DjwDpJoFhBXH7niYdUIlcL643Hsas2A+PetQVfwxYpITq457xRzGy6ngXtYYJKOVQ6PUq4Mowz959IFBYnLrEHTKgkfwHsagCQ/kPlwwXD6yGRQ5qim7rXJ6uf3TsZDL48Sqjoa/yBYCuivBRSYCKSQXeb03ey5cFE8uiOPwQudLtZjywLt61XQDuU72KVwo933ZM4xY0XpRlsu7/he2sG1BH5atcwgSbjftl66vT3T/xyxRU1+SBCH4bf7bGu4bKb6suQH8X9taTk6d4FTEUZ5+PiYCZQmJhCm9gSzHsiNRfSDh4HcQKvpi0dN+pmbTb33dc6mTCyy43A6b4x0qPMVCqUP3IFj8OBJvD41qhTa3xMC2z75yPZkHb/jZvx2eKy/yOfa+d3PAI44UGSqfC3R0MhwIgoADxUvMKYF4SUPbUr4P1EOy4G0x8XrTfuSfl0OKD6tYEtrP2qOZiORNBV2fxtzF+fFwhKt+uTUXI7h3RXI2EfGojp69DnwgtI8ovruy1gsu7ASZxDemNS45HgllTcAYxSaKLPDEAIS32jDtvLqJbaJbB/IWlZdX1zZjFYW+xS4aE8kjHIM9g8fT7+BNx8Pg+S1unqSO5K5m3TngOiVnWXAKT9aC+73/5lrB9VtQ4I7i7Sx8hhBbx1QXZ3WhqQTIfTjIvlbUHizx7ecJcPrdMBiK212nU306RUDtaK4GsSOeh7N7GiCfLCIBgHMGfBnkApVrWGvInC5TEG4DaYqSKc/SQ0FaH+lQIicZyXnBPU/Sz3FklRmOvf0cjbtadMvuK9TofuAcBtY5sf1D8SYW4ifsZxgL0MBTgwXOpnCTCQABRMy0AeGyj3ya31ZVvwFaFYDdk2WTGjB6aftNmytuGs4pNIN733unzO50xO8h7HvRVl+PHn+2phsfjERGluD8zNES/kPDnkGZnZnBHL4P21Bji6V64/Bqd5yl2Xa2uobT9dIFX+vKZATi9QRg4Ky+eHVR4VaCGmA+j7zWIZusYXSQgWRL6u+NyQ5Se3XmfgGiknkv/f4gQ47KL+hieC0raMDsaPYsPFuUujMU28YB19eJm4dgepsUvocMyKP5AF+u+LOMaJJoZYDDhYslqWnDxeM6TksD21SXfsXUcG/RXaaF1Y87fPXxsu/u+Fqi9XGMjigOPwpkaSrtn0Y+hfjrdoLj4dO8ewPxRW08oit9j3UsmeGBlRemlXFRZiDfJb43PGIG5csbn9I9K4dP2TA7fBJpCYo6xOdzIJaPU0KkaFPA51/cSnb+tVsZbIuYpaJ7yWR40aT5hPuvpZuJMyCurBRe+Xsd1ktHCNYeL4inaLwTEGvYjM9TMybb+doW51eUQmiD6WP7VNXqdc52UPqPpnUtNeg4T4O3QcHO8YvgKPQFdDkkKcUOip4El+1FzKA5Kppa4wOWK7VebUCWGe0wAMt1YP+9HiEvd0M6UyiR9/MdmMw7ROWhl9LD0zarkjfRot/3DZir69YsQ8jHvns4yuQJVmss351Fbnlcz43kpEXdDTsNtgtBvVj0ffasRMo3m9mSKnzUzt7ci0OU+M4qXAN7P3YoUG3qd5woCf61In7QsOPrbVHt3lIajwdueNa6U0QVRi/4lakuUKqQcd1btL0NW3koOHwDqDWJ0y+Jz0XUJ046InLdEX/N5wqIpJX5ysxu2Vsrd9gVC8GqIzs11p6pZM3KcBuAXkXdFPqRhFOb/C/RgT7bBYnl+InFSk39GlwMhYotu2Yab8gLTJZapQPx4t5J4oIgOEO/82G5cCn+N9MYiY6NbJ1kSa1Cpx+jpqPtXfMm0W3CwiKXS2q38mvbv8aplUJqvvEXdst/S4BNHgC3hCg3uYda5ZO41W2JpG3+IqvxGiJJPBAujt/8Jn8lL6TAoIDYFKYgS+h1KwsiUFGyRkJhfdfoOTwbLzLyG8yr9dme1ykpGqUMxR6tRxCHdLrS6AdiQTsgjvR/Gw4INAWpIV18fiwL99IR84wHE/OZBNkNORwRWnyCCjKYXXe/lIt1QhZV5RvfWri9YUwu+Un92Dl9yQCFCa71S15sELcSX49iQwkqeggz2/1UBoASGUgiFoKrb6ndOXGnDxGVBYAhzxwD7CjnJRDYA60w/5SIlPsKK9ZLCUhLaN8sD/+IWa2j2QRoszbi7frZu9jXZV5bq/JKlh9O5ir9XoU2qv8iuc+t+FQPdBifxjUWv1ztE307xrMJmh2xAjzeL+L8J1K9fcoplHSKBRVnlPOkVLC6nLkW63gAegP0V5QqqW7LdUR/jytuPRWKqHMnY2MpQ6XMu3pXjQLhpv2v4loKlHbX1orCRSotfbdkByPI4Fm9awhj1EfVGPKPmQQtjurXwr4wl9i7ILW04nUk5yWY4osa70ydM6oIufm3r7+tMAUcrXiOEflEHTs6TpIRkDWOGPlNGgJ61y6PA57odLHqPjy+6TTaVK4ZqjYHje/JUWWI+YuB5MOoPxXINgehbWJJUZAsPTpY0sV5j6H/pe+rPPSxz9BdfltQYFu1WTWIw/bq+MPM+1Y3hLUi0Xcc9RKCz8KG+5ASSwy88ATeQMHJsw9JhK9dz0bmI6fywARFT26Qz2yqj1NsKmTDN51gff+nQQ5funOFsjpyywwyRAvnb748hUVucFCT9HeSFHe1RFgdEYLNA+NKjMMExzT0AYtKRYA88h5y+GuXSRcQAb3QMzGOtLZGDeCCIVvxRDCQWdUNRYFJ+7jHffwF8NnpyWyrxipNqfCSQWjm67OSYPGYQRvlK00T8D0AhqdhnvGqxW+RRm4AVAebMHxCJWSq0w05HiqbT5bSTS7jIZiB17sPDsGItYfB5AlF7MJlcUB5T88DLOMzlD0riB0dBd6fl/ekJE0u8Tf5PdAmqNJmVeWbgQAaw4ohsvZd/FT4I87icaYFRF+6IM1YhL6DGIpgaUnW0I0mCQ6HAziaVSiOAeIfsbw4RUCVlqSsxpDUa4mU2ftEvcOK9sn8PPnWnPB95I6wHDrGt5IKG3ZS92/T4xKSyvQNRp24QwG4Fxqdqmw73et2RyPLx6soSwdQMtBMMEp+y0nj0fix8Q2A6iUnfBdWG3EXVISE1Mg9hnXB4ga2tqRYPQZmbCTGRwDH/rxngAbRJShZs5ODOntqLd9ALNlyE2rjn9dYwkcpT8U/zCMxvjHONuWnDc/TgOjImuM9n1psyOw5KYNXr5/SdXMZ5bB3ClF+TDyyCPF8YRCQuZSLGy37sEju8wqcW80pxMszDk12LG2TctjwoOlSgmMZE5uOy4NBlvuG6wdzTcIlZZwQE/LP+qV58XkxOuMIyUIVVCz8YvXHceOTjCFMo97W0CjKjnh3eulfU264O8FbmK/8fgeVY5CYOcwvz/8jTYkTjSGpvSiMJU1tRTjXkj19FqSLGLWDVIeeN5L0OXhImmZOr+E7qMQ7RTFadYMgToW5cEp92HGg04H8mF1glne18Ngm5mPFcw9/F9xAO8fgMzBcKMluAodT4fVBQziK/Pe7ihGNfj2zJYWNGoZV8IfJ3Ot+z7xLV3MuUxdl+bMHjVfJarrPwAT2ipEBsZ9xwTa2tOeaakrwvKM8Y9sqBFT0SgU1Fuva3uXv60ZNdHOkGnrzfBftbjSGisNUbECY39HR17D8DxhOknX5mW9yDxiR+BvgnlsMp2YaDecKt9GH7VAOMPwIw1dwQzioFw5B08GTa6I1kXwWPXZMm/7mSqn3lTbnrNYx5eAS+PvFKYdcfYkD0GNgI4q7dCgKqAF8xy6mxCh/Pk4gRiHAymLqppChr84pxlACQoDumgXWsapQRaDdrArocvfgtyfuPM9njntg+VCWuXBvwCghz2AL20OY7YZM7GP27SPHu7mTMGHyBeyx66YSb+vqBdJ0dg22BJhe+Y+nUW7+re+fKwijdv1OMwN4Kc+qYZ/mZQ0tfMCBAMtczjcYbig6jlhyp6LsBYqX4JdqYWtfgotdYE+SGhZapjnGhyo0EkPs7r/PSN8nXEn8hKu9m29PlX4QPqym/165qYu2Ah7gM2AncGHZypNJHMN5uB4IHxcK+s8CE8EhraHmz38lFV/n/KlAdcI6yCR/YDQD1WC1f/cr8yGEY7pvXnNZM3li5NJNQJu9pBzGmR4lwJs1mHXCoKPMZhrAngnKGx5UC5o3B3e4VLOpJCqbituOWzvkvY3F5yemDRFZh8YjpHZUnD+96sDdbjgw9NE/c7dHQ1Lp1IVGir2ESRbsZxoyXjDfLhYjWO8hb2uiJ0Zv+eRbrw2RKfVTWYmjC/XfxJHkBiMLVPch8X0jgw7kEtILOt11cVwtOFVszvRCvcK9Geio2DAeGsltc/2yb68W2ZNFvKWxORv8A3DTEgnI3H5et78NPOf2INsO5wj3zZ96OoK2LSS5xzkD3L6k1JItJKnyBN//9YHpJZu3+Pg/pIzrU4wuVRhdra3GqDPjKrKLmNYeXwjJEcOxTr7/qbSklt1kLXFy9G3gur0Z6gnBtDvKxLQffdQGUAWgrN91tcFNRpbfwiiTguUvoNMdNM+bfAwSQJDEzAYx/8EdQSgjeTNBrqLMvuUwhFwHgkuuOtU2hmj4CMt3QAHhlNAVJ4D+WunHwbZVMy5Ys+bIS4E4P0SvuTZtw3abVwIFoDwwc0IDweIr7EcaAQtm4kfLdVJWRsGZzCmKeuoyLyPnQef+DwM6QpsD1iwQX524NHfXMxovvcCICv49gEYzdjXY+e2wjkiMV6y8iKU93wDl2fPCV13h8/1hfR91cPkea6gHtvtfkhJLcAt5cfevBxZMnMQjeWKqJWzHO9a8DrV+57VyHNbUosKKyvnYNp53lDUk2nHiH1E9OUudQc+YjchT6Ssj4Crfum/fdwffEM4NCOxAF0/hmmHLSkTTgy+Br/49ATKubhevP8FyDVSf18jDImLEAeroged3YyvkdQNSiTHadSFipcTpqrS16Cor9Ltsx/e7eSwZIGKK4NhQ1p52k2pykQcRkgJKOa+LsAWX3ewtsaQia2oKL+ZuMoc130wG38HCmrJoUtokEyN5OfUyo4Nyoo+gumZiFF/ToHJrMlBBbLEwkRqfD4ev4rOITq5P/0mckbTVGuzA/Mw0l1dPeip7HGOO5hAUxa5kG5+WSTostN7mbXhTVVBT9MeKt1PaUBeDbphCgCXd7dgCm2y+VNWwR7j2/w5LXHW59opzyktv664Gw+5UM6zBkDiBDs5T4oK8IxCBAjWbEAL1Sgco4+pI7d78oD6BzbLBXQ9B/2PSsWkd4WgI8gWW+k2bY6Yo8vJRyKrKvtT++Tji1xmeE3Uh9+7G2GSzbUwnzjzacfhUtIvpU42GAHv+AgkTAHKr3yTQ0Wb15pwyyGt19YdgV2ehgFbe6coEKBXg7taQePlvrl6tiw9MMD2O/EmFybF25WbCNWsOr7m2ueet+Z7YW4QByOZaacOWbUi+WyqKx1Hj3KrJkU+rp8qfk3l/Q1ZqQC/D1vRUY/Sjp4kSANWCO8XUg+ihJvhzOYeWX/qKB9sCPu2Y5n4KYkjCDRIsqShSsX0ZCWwNhnSiZgs4GqS+TtIU0nt/VlUWzMIno/CHTt6zdrwxhgy784Fmjts3h4QDamZyKwry68PoUuL6OfelEZK6m5auoaSBVY3NWV8yqnPNhL6OF4qsaoj3THepyoOcVX9hro2q5Sbdxcfwcy7DYIdo/V2hLiumLCrEU+mkOV0mzT5oieetiCnQQRo+2G8+tmIOnL32LCJH+MFGED7KBP7EY0A/kh2Q1sG3LIwtWdmPYqU55Y0A3N0SQFgFhQkNLeteLwiQVuTJK5APKJ7kHCzJnFDh7KQTHzo1PJNI8G2SHIStQ3YuJOYUicnPiVCg5LjYpf2ANevwhRwbZTotcqV1+g6ybyqlgvhaVOMgMmn/CwAkXM3F/o51xe7IvXA6pyLQz9IyyherAkmNbVHQFfBWbAaR2RwXaXHQTuS2+I6yKMKK+9pFvzPbu4+rKu7vXb021hIHYTsgEE3emDh6nicvXJjQ+VIeLuUVXNvTBnLffdDUIclyaPlTPGEHEa0VXnAsSa+HEkN77a9p5q2ykFw/DTG9m79fi0B2QJpG+IQJjSm3lq2nMykl4lTAyIjLOwwmPOpZLZB3Fe5iHwIMKtIDJEB0N5334giuDPM7b4nV5BcT9DMtFUcKmeKuBGhR9sJz+oaXG+B9+TGDtTlv4rfVAuQT2jNj1Y0hAFPL0CI2uQ2kI1aEFB0nq41tzPuOHx/l/agU74nq1r0IWeWjHQoWyuyZ9KTtJBfjLuMiVOK3X2FU6r2wV8PHIdrCUYYdSyalwzIqRZ8IsbLM/YzcFqSdqx8xYvzGLY2vE4FTJttPK7p7N/CBPi2i+cbJh+ZVTDcto/j30WjL0J/ncz5REPwH/FW6yGR/yw6m/sSdThYkLw3zuxlC7Qn5M1M2d3ryi1T6ZtIXbkZVPwPSGYCS/uQEeTEhB/eP/1T2Ut+B/ahGCAZg7FDxjuoThVKA/IODrowdm/BDvLjwNwve1FjcOid9eRgOOW6fvKRYI711I7W0QR/Bq5RxuHlOeeWLD/aUt7elSjKThTOc8HcVG9U94INuDG4q3ymnwWp0OeSCJZQOf1X6yX9KUF3GunGOywSWyzDKFNrMMdI0XbQQDDs1c16gNcLiL7+lV4raLv9oOE3I+AyIGbYh/2mAvuXa8rqgBMqmM1iO8oazXw0z+p92aYBvpJOlbEYteKMp84BgXs8H5EG+f8L/Im7pt841xb4skl2WT3SIwlSK0rCUco8RZ31qWGlgafBGaiMYkmA5+ta4EaSJg/Kh+d71SGNF3DfLOwwp/GlpQsCuokOxX1OuXBOhQf/0Z8bDcmyZGG3tKzS4g8XOunVR3CPgrxbdQAhQFC/4ghklffCrAh/zQmuiaKVT60pWx1jGkwLOuBtMK39aM2F/ageJSdql/0OeXJM4Lwdrew3aBe8WpbjSMmmlRFHukDgzy+jDmlkAP1ijDlGvhw7UTIzfCoqaJG8sodUHrl3AEMWLr09MiZtmfehm8GPfmSYExUf45Ju49l95mG+Se0+iuwxy9v4kgL0Qzxs1g4KeJlwM/i0Qn+6KMBRWY7VJ1+yld1XtBH7pSsknsyDOq8Ypyx4D3NZe/OZIDmPOf3LOiVF2lIJ9Odm6Aukmg27dJVlh07emfRd0d7KPZ96x7zVeFH32dOewNqs+C/lO2Peddv27IKM9JR7SX4+Ps+W+yMz2fc1QrQiSIQSO9xIKSMS8igi5njeVodpGZF4JKAGG4R0hboicDbNEva++FGdDLabR8QtYx5uZWwnlb+G1QPd4Y01AoXaXL9OD39qSnCnupUfI5dgTW4Jl1GPK48NiLjLtjK4Voxxt4U4uXThpLSyYYz0G8lkrWZPyFWYzUVHCO1Z2VhUU/wcSUqVPLBFF+KXXYSPcyD8IpEle92cj4huD/5vxnkvMm4dvh0nOK0ukqvihua/FiRL4E5aLzuVBClKgnU3CuWYpX6G6uzeKcS0Vk8xXed4rbl9BQpcjJfKOUSobcgZ/P3xxNw2pN7SkAWwk5g8OcbwdBEe/7RLp3ZEoKQEgJvfSQvUAmBw/GO7H3rEqDOJjOUMhnnMRVIXfjAFIrjo5WmOEOk44bjM638Ln64adGzMM/hrNW/zfI8fjkfZQWFESG2vo/sChvkxLXEY0eRFc9ieAaf8fuEG+JqW5jDnQ+Yv1HijuRjrC85P4TLd/lMV6UM+dCfYXCW6+CcTB/AgPn5SvTn13K3lOdb3IEL061C9B2p8uM9/EKKaPe3BU76D+vAwz5m8zH/85WYEi0XPO9P2n9AHLq9Ridboq990Cq+KFYlU2a5GuHIxVVrW1vk6IgkskjmcWy75RcT3Vbu/TfzYgNRSGn4QERGFYW8NSVAnx2JhI4a6KKMHfE5VVqgHONodqnxXdJLftZ31cHXMlKgeHyATM14LZ7IqFgWfIC2h+GAY5AU9nhG0r4IRINn3ViZJ4CK6mUTFwjXXzpHJd2P02IxblW43hDlL2uCOKRvlO4+loWnu5ZnTgC7vKkd5qeFdYVn1U+IBurUGuWoZdMcX5dwcUOkS1Oe0pSdNAVicYTnwq2BYxSogPKZhCXt0TAQcp7EF425j9rjz9g2jf66Y9YYmnePC5eOVPJVu9Umxkt5fKw+fN3Ic/h5cVepE70iSL6vLXmg7K70IMSLeCc+jg/8CUf/A3QOhPkcN72UkPPC43C6/GVX7qj3j9FlXQb6VsuyJ0/pFG5R6/xrP1WNN4loAHprBvUdO0cU2kpSoNK5n08FQoi5bNl1Em3pmynVUk9uMul+FWySpf4oapkCMZybuf1hzQaxA42EnIVETSD3qhzCzNTdm7wTDGvALlNchUhFD9bcG9u7ZMDNwemOF4MkzPDmDJY/WRA4HJP1+3rSZGJLbLSWsF3yEZ99bY9zPpsZSx8oU91F1Se1fEeymFx3uY2BiXPWsFwkHRtPzsClMgcA0EDqBNy4nlEkGSwXKPNbCPmSrFTG+TaLy2t6nM8Vx6c4omoslifdKNzqzb6slAm4vdvtR2Asp+5BVe787Ddm79VWGQ9IMLOoQJzGHxwUouJT81j/QwAQP9nqAhuAe2mp37GSDSiuUUA4ebchHuNs80PF4NLv8zIpQVOk205MBemJEyY3ucES0ZdBCLg1tmCyEySD3PQMM3HjuWYKqffixw+mMIMRLJVuHz6C1Q+BGclgP3C7fN2QUHVvZos415lQBSgvCeMMYNdsq4XScAe0DQUzoJBEt5yVbfeCY4E1AzBc+0ogS09su7BMVae4UDAVKR9t+h9cd7+co8CalgmQftx6eORAIkPGdEjpQcw6RVgoCgjbo8luMhEFpR5on8ph9wgWue3KlsQm4NX3IaL/cWSnLQaUsUE0xsJ+GmKlStscXhUpfXKWfV7mr5+NnAIT3dGJujDQ2tSGiz7hczfB9j7x7PvTT6LTaqKBNylu07PM4FHHfYWLQW/pl1Sdwx7YZvpVTtiKdd5qFYLhvZb1sqrubLDuS8Y11YHBYcLZfwH1mmp5pNWC6gNsMVcbL4YBJt6qN+eLKLwY59XDJFP5e/vFgu58lXJVwGfLxojQKuToN3jVbog9xpYdRu3kVFcRssnq5NOmE6wWFbn6p4oQ9ZPKh+gwb0Ywin481hb6bmXD6mwju/2vRMTVh+opmBzAmtja2mqoodtDi68QIdcKYuTIZbtYG1ERvoGyZvDbMSDlKfh4I4oPucyGHSWFKMc0N8dBX8bgdZ8XMB3RpVYZAICHiN7XWzwk4dAZN4nGqhXt99T5nDTIjG9tMF02uckkqFMVLhi7Ji9OIEiyAOmIFZg1Do8U6YDeMv2V357uqF47o9Yd0dV7k/bJGROXLlRGPjcZTPzP4+5EkanD09hV5qoHJYEAsqYSgCydIutBbO369V0HOSQyg+cAiMlymnY9Qu1tBpmRag4XfI+xa3o6FkuhO/A4JGQTAVermiIY4MKY0d7OGKKQvK+UPvxmiecmPumDFajlYRhA2fdiXqUKT3vIFEcBFDNd4OucsSJs21p2JYnqcLKr411q6acv9a8CvYSw5DLp6xAnfhXq9X4L+X2qBFMoOvaTgvZ5OwaqQdOO6f19ira58/QONpmBY5CnwaVkv234NXOd3WCGmS+5Z/Sg4jNWnsG+WJyjCZip9fYxFZJX+I46Myy4ul+49pk7jYZzumn8yfft5lsvFLOxmz1t48Y1cvNWkv9q8KtYJaMF/bi6pKd1ZGtgd3vOPwsMw09tuy5qsAmGj3QV5gNTdg4EnKQMoRRLU1Xcs9wzLyeZtVaY5oUk16lh2/L8JGghkCOwnQ088UNerNre6wu4DDp3GGQSWeCwIU09UhCTzfTPRetzAdTx18bGCk45RpRkY1lRNABkEYqjqf/IAo/V4aTa5ByOkpkwWGtrIImbdyiBlFeL6crec+2us894WjV72alSu4KJBpLMTpcDrPjrfp2xR1BhUSFznNfBprMZnXsDnf9nKuRJ80Act07jC1r5nNCHZJppqy17DPCOBT1qdVch855HLZ8ITKLPO3K9oSdzxRA/TsO7oMQ5q3aPo+TmPA5UXOxORmp0zOGr6VFktEdSoPhcGZoYPtmz21PVzjqAdOJvya23io2wlsZ46BNXXazyFqAjGVIKlBKxqXouoYGeXeW3LZJhuiPjZi8CPW+/cSdLbU+2mY3vsalbjcgqKE8h1dcxtY8r5mRwvochmTcrTv8MpwLWmguo5DdFAK7ipt75UsNLXQQQ4+OxseWOOoiwIaGEpzXwya7RDXMJHFRO7SSD2Tb0mihrw+OPfyAPoGuUTG8qq8C0uaiARi651nVTOtpJ4x/VrYBqOzcoBmV18wHfcvZ6rv1/E0JFrsYijR1imhEuumznzdx2m2gYTJd8ZmaktQG+Ko+aH2NHwoyRF94ERq09N3VasoKT2+6yJBpPOJUAJ6nJL50lZtO+ky5ckgT+sDulNPjONeS+x1EGbwFi9jUFdpblKUwyZ7G4/jcixhmZKpyoz5f7VW5GZ3j64SlJFSRcwOsnBEDv2hLzf4kxJnjNUQvV30mI+vQVXR12eJH/JYqknOCyFunVhOoS7Imiu+M9vu1chUoIV8IBHElQ2/HndXG3zGONuwme4IhppW4qGD/v3ht11jC+kOewxAmLURFrz+a7pKPraILJyBOQ+ZwXkl/TRyeh9xhp0WRYNojzF6KarSr9aEguwQbKn48BWx1kevPO04aLD0rOxqZFirOay9jF+u74a0trymQ4tMima4GzNPeqXsOsVTk9lzOcBgvXVY32EBxEwcT7UWMCxbZsp9LJI/DQMUWh5PmYCzho3rAN+4ZN7fv0nUNVTEo622vw3Sd47KwgqJl0tD8STD1WoewQE79N8T4Nm5OA6eMb/WN4OSUtI2uLDYDlj7DBtuJUkfYiWMlrBFKvL7fNdElDeC1kzMJ59HZeCY+1X438Z/mvbmL+6AlTtLKY8tYpqNAvHtAHmGRqOS1V66qxmhZ6hfKN01IUA9qAbOIc/Xzg+TsgWoJGEKwN+8+4di9JGAZAM2wK2NOfc4Az77i6P1w+mL9wQyn5ZCfndQLVRJJ3Wi7KoGvQLuRfSsQf9J77RnX5rD4Ri6dRuT2cG6Z5ioNdHNU2lcJetWWNEvhBo9CEiiQ5mFM2mcRevsGapZoxIH+kAXeNLBTJg2agVI9kewx4sWKtMse9cUnF8fS6BbW4eYXxOe6DUHqhqwxS4bUg6lwsVeJuXUNeaDOOXPKjeXt+n3GVd8oMTjiHpLBXQK5wONThfEUKySVGdK46+2f3zaEv20DzdrH46HeR1TFI5dfEp+GiIOgPtsBnsiChDWCNClqPWjTkVeJTBbzXIy1OCqXsx7lLkdLnKkExRUzI9YxgKS9Qp1bulsU8Xjq/QPO+rb73cL7PlheJS5/MS3sN/gq+eI6aHGoNObS09vw277u4P1CCOibX1mWpztGR0fbdNTde2U+dikoO0q7DWgVh9i9UQLreTO3QQ/P9wwqDSRKvb6AhSwQ6uscvd7E4YmskxAz+f1LbxZe1RSWJv92Id3cy+i0fq9FS/xd5q715IguUbNDOH9TLuhN8bzF+CptBimPfoiHmZMobiSyEft/YJGdQmG0V3wEr6hhyGdxQzKNCmB4d2mmnBSAQ7D0s3Kxzss6gwoUJoqUgXCUNkqL02nhupzsc/D5tbrsNN1+0nN1beWe7S1pgQYHiHNUGT0WxuiHuWv0oN72p5T4u+lZNyQOlI8mP5QwT5M13gIdAxmd8sTfjTPcTm9v5gAcZjHOudcT/VxXPKduq9Es9nvJFLmdFs/TJDgjlcLq9SiNF7WRVYoaQPFYs6ppHX1YynVCYV6ttpzUiLvJOUxFG74v7cLrndHRs049NRcWqeBIOXQvU70NeEXLOl00obMDcYIjz6UK8jyysTb5NZIesI97uBLslqLk/LAGBmxM3PappmFhXsSGrTepnJBBCFiY5GTtaFc1MNz4kJu2gkmJahRJ7ycfbvei7CY67ACJ/rzo6nzNniuuej1yuUu38C2xfXJsfqFheEpvLEnjFgSTzYjzgnbDVXuzmQNGbpKp7Yc/VASpA1qAwQQFjdoHhFuDosHxUhVotK0LfDnkGhLaudenkdLbHwQgLrJhNiUCijDDDzlZfJfK+d9/CDX02ccmCNXrSaX9FzPWI9Z6UvmBy1NvCkX44Zry/hoTq/dFdRbeEJdErbisCc+9+25/z0yCnTMtdnW25XUg/LEm72W7lCeco1gBReoOXBOaPoR+pVvmgOf+GmuSFXVGF2wyMummw+0dHJMi5xa6QjMJqBEdk9L0i+CBIAmgJcqZvDhrftCjubxDffpmzZoFmVJqfxauvVvBkXyRHBpK3vWQzdr53kuXE/MLbExkStgBQ4I7o/lU2mqmIpCN7Sf6VP/3ybx4E4JCMCHQdb77CcVZx0sQfke/pb2CEfi1OddOUMcpkp1tKv0VaEqxw4xVQM9RFITKqeXcvkHuhG5x6Cv/CB7vQpFtC2ar7lF6ZVl1sb5d+ZcfXVIiw0ctUwLawtef18VVeS3b7/0XGLqcCUQZe1jpqu5xvoa67KRS7LaRdwZP1GfYaqlaj1zSU9ysbvZvXlgFbJtGF5vsAZGa4K4bxLmjWf5agfHTW/Q4YH5TV3imvs1N9dV8XBH5I85tQOuiG+6Nr6VrNRckpi8IqzmeEkgq5IrKsSGyiEk+AlEKSVEdk9yJVOSr/kGD678eJdDbfJd212bW6kJ2uKhulZGbcnlOeOReFmjz31L0kSN87JuTg+Uh1OTWN7DiUwPcXG/kHCyJz1j44/Fd3X0cwW+ebkGuKmuEvta4RS6nEsHH/TVz6chk2j+7Mu65ZWjqhMSJNrcTiZKxE5XoxnG5HWhsRKtU/MT7kbv0KXVcEslnKi2PqaDHC41GQEItoHAISdqphI4WLa25Y3fQ8qdHZDuUeDWG8rKXzyltvjU88IzqBH12a6kmFknTpKp9FAHDnkiu9TtYWSAgJ6Hc/z9B9Y3znalRuZ+nRgUQtc2VW3IWLN+Hw40WGe4VDxhwwiJdFfuhj7VPNw5VdEDgM3rV4Q7SbkMxvjkCIKfQ+FrNNyu3+lZHZUssv8MeZ929q2qS2g4NNKyv6h2nIYsspURwLEdqFgy5Bryh00CTSSUvcrjj04JCPziPGZb0CL3sIFNbOOfOY5lIrshMvjMWbnhM2hIqfT/7zEY3nu9nbCAd5m15o19Fyb1+IIXG4YbtV92yei4qbRQ01+L06i0NZYo7/3M/OGdF+9qknzHwhJ9/eV69HRRaYEYTjsYsAMgVhsflyHrxXyLeZUyWpf7CQlfqNQg5CjD3TIcImyMLg+Md1soGaW329wZMUTyXyNoK8hYD3XFg7L0paRnTXytW1luh7xxK3fwLrxmSner8tofEiiIlIHEJUBn5IRbezWlqSPXFFf+ajzlaD2R4kFLs6M1Jmq+pTK6C2XHoiYsg0KN5OncFmX+2SkOAFn3ngK3gsRkDFgxk+hKyIBS6BNVHZu8J0LTG1hTXSzqEn0cBJ5tybAOycNMHIOK3KPiTzHT8DMsPv2qRrfuiqNqW3k4pnbElwT3qDGd7M9BEvjqkTHbn3VZj4d9pyOtUCx7PgsRzanazx5UnK6NjRXTt1zRTmt1cpvshBp+vKGJn6mWt1kxuoMwiw0tfxSc2QL6ksN/sZ9mZk/z+qdR4IbyWAtTXobRzLxlWDqT2YWiA4qYVuGXnYjuI+XUVfSSNjQD6WTrzFMAFcxCW9IPFhznXOnq0dcGoEsslO1YIGV3vl6ElczTfqG7QfFyRs+DT0cNy3nsvcYlykLrMjgnN+BedQSiRiQo4Ky0sjGllQmJVUjcJvbWf/0xjQVrpxOOmeqzLB/sRegC3MF9DtRADv6i1eZEn3Rcu+Vi+Vf8L14KPcpaudu18Ir9HaIcFnc6tZugOZbfmojJdm6J6UBzgc3SXeVjcR1KJU1LUVfUByCHSgNyKi7J6xWRvs/hAslMfP4gQcP+I3msE59lg1qRVT73yhgn2rtedVYC53l91vzqIKlXcAK8ZG9B4cf0cmVJp7XDSnt8MK1Tw/KJvIJ2w7gt9h+H92vNJB3+kI6JsiwZ7sPED5MMj5A38alYqsZ7kytUG6ThbZVVDGzeWGMPe56hVlIIZgm2j0+Cf6FjUYkIvwo2ad5aOOMCZf4HAiaESilgLqLyWpTv3naq4GbCkgLTOCSjPoV56uUdsvo5aF3Q2PMRGUyK4Hj1GFOeZ+LsDqNPSjPXPnbdiFw9nMJdMke2vfZKBL689RtS/g4F/pBkNXlUEnwb3MsJ5YF7+gRU5M+/T9tSKwurXqN6wjv5MhbceposU2jNP/PwsEWij+dEamfyQ2Z8y4iHB9Ut6CD7cnNKg4h39FeU8VnejeVKH1EI7YLec28VjjuyFBoOwe6rn10iBdogiA8btYai05RVhcI0vpiF227C8bFIl41E3h5VLhBHqIZ51zRjJO1IDornnnZ0vUXfu6rcs9MIEyO70/2aI0BBIXlUJlDmswFGvoHfQ5vLIgYiIFyUV8GXobU0Slaj+HOmO6O7g6qhZyKKJ+BcSjYIEY6Yt4TsXb0dkEP4fxIWwXsAV7D4OT6zkYyQexbvDDAAbUgzY17LYmlLkYMHav13nACMou+Cv5+fU17rT1SjWJ3BHJiqQenPIh7KbOvUgAZbDbrgO/wgWukNjHS+CIHoC5IdpC6xYuTUlQN6psQl6ye+Oyut4MleA6oNu5ki2ZtewodUv6lAGcI4KHRrpNSzVX+UMsfkeGrmUy+1TYwoNjgXA6NiR2SXN0NOuwSanUdfUuZ6lHp9Auk0R5eib++R4IE4FZWwEIJacSMNx7DrON1n+VVf2yZHTOcvWkIIxYsPEycKk22qw4QNBRvjLateXLH9fFyKDq/qH50wV3+mqd6yJAOM6rBp9k1gjo9D1rk6RvKd1wbpOqnhCyQJeZ7eLM79c5M4N7A4NljWX+EFdGs4W8vCc+qzmWAW/nEYbfFVRoDXtoF/d8EknKhTh/ujBJmEWZthyVqWYpIB6Hc6R+rJF5IyYLDme4Jdw9eMJodmiIIFMyXr9CM6OXMsZnQu+agvcpONgl66TuZJDa+MySLNf6TmgP+ICqK7WXs9heJWOu6C3hwdzdYDvizWaKf4u+e29fhqvNvnvbiq+quUZEcl9QDDtA11xUeFdGsIaTZ3vsSy1lm1VHpfeFS2jsvyXPAi1cNf7Q3fRHyu0H1ILvDjxlMeWLicewE70xHudBoEg66aa7WUlZ++d15PUZF0eJJxT+yq9gUC+wSrd5xCGfJJQj98qkaKwURJ2kcvKAMqt78ghHM8fUD1z51xMYHCGY6T54krTjlNvGHJ7SMETrDb6ZsAi+vUaia/d+PmgKSE0QwPTCol1xI0hPDoT4KPMSijlwU216z+sd6U2BE/4sMyMa31L35Mzi1pPyPXVaLukpdQNmHV9j3P7XTDLMjnmODGdOLRJP+9a0rU7V1mzBGnPqhKKYGuiNPmorW8S6SPHv40JsnQMTFnYlyNC/cGAmBwjndHHv0r0IDhr8fzSZa4Yp3DG+uwo1+646sHbB6JbU+3AtQ7vnaQ0eYzzlJ/+hcWmIW9S0HltPdMOKHVVcD8Rxr30blb0O3dAj0ZbaUEijyCbPEIfBOSJLBHOLzBvmLCFnctjEDfAxLl+2TYZlhbNmh0HxWoUIl787FK1gCNepaI2crTpxlp1JHCtbdrXbrF0qzGZTO+gD1ZnXWAvkDsjPt54kt2qxkzwRQR5oezAP50fZWG7FBsnZmCJMLMw3SQOl+iA1k1j4gVTRBknke66n7PyzjW/s7tDY1Fkukm5s4DVkP0wWTOi3Ejhaqplfgx2LzdKlOcby17aIA9Z3GjdZLv8pgoaDiNoNRsGyefE0+pFkKw+vVDMvRpac0SVJPP/Ixu3eLBzJvbuDE9ZjfYUyPHp7HYsbb6q7tAelTObcmFEE6vPpDE2JWtUnzk7bFktV89H/O4yliHl9LV4uLh6T2+mqhS+T5AFV5OeiGMzqlIVXC1Bh39fB3Fg4gU2+cve1Q528hcF60U8k83J0fJ/Iu/GkRyzZNFuulKBUBpO6GYC8qnJ8/8LlnKuWuMC/GX0uA57VsT+tF8xFreHShMG9tdiBPKO8B/FczoGOYWWJJ6UYJSRSDZdT67YTvau76UeTKG0a8EpawJZmEkgA/HQMchrPI8YAaaR/IvqisSxd6IBtcojpgN9IGdqxs2rFhqHV9dhox0zcUDA4SfRBGB/Yhp7iiw5MtfPrrcrzIRIJIpbL9IJpYdLnwidOTXqx0QMSQ63m+IYWMzbyDOoMsMAhOmstjnFggI3Y6hscFAJZVzpb8/5cGGVsDZp+0lICR6yMnS789CqRGBf+2/F3AOBdyMuQ59teGTSO6/0QDH7VmIiVt/Y2Y1VnVHg4N73/G+U3N9Tplo6c/wsa6jpjTP4AgdSYtBZMKgMn3CFcrAMU+r8bEEuhS6tVoQkuHlNkg0Ih3+oG7j/+dVfLqJUEjlS9U6fdZ+uLuAvCw768TWoR8PrWWF9rC6tp/M2X/fy4FBRVWY4goDIvexIquuugTb/fxqJP/AvVUnU2wDq8R1/w336yM4VfbMdIfvwRubVnB0BUCosFOZd6PoNYXkOk3Xqy1gwTs3HaKT4YSK/YxfUJLpzYDvS09R7ZTcdKb/PtUUNM3xKCdbO0L5eJw4XDX77yZgaZ2tuEu+EVScU7BKvnX1/UUKBaxMIvfGWmTbTCORH5tAqDSXKqBJ5M8+tGY9EGaNjZgOsi/K7Fhd4vFSouf9HWZTjWUY0kAhDDbPdCkKj06bTOwXFfLhIdrCNJaHUwtaK07ZWuQ62BxjdczoX/yhKVdy3I4pYbTTNWaJgjOBuC0c/oaq81rpUvg9vVK2YvVaa278st5eFeYJWZ6nhFVmrsXKytBwxMIiPmvtjyYT3339/0TyH4leK6TSlrwU3tUBKbwWGWNzSBh6U91jAWM88Gv8ohy/4XX3GnCB4i7cjygt6vCEhsNx4PR0cinN/m9FqCEHfvCbJUZqtUqum9Vhf57dNHRpmW+cEgn4L8eUA8mDNWEaM1GVa4E2TuNu5gHOXOWh9LIOIt94byXiqeinR3Ua54ox0v0UO4Z1j9l5F6gjU8CTwqiyo4u1B+MtIY4JJNCOenMFydqTX7bcbYrpaVw5B0sv9d7LsMsOC+MKL7LRC3Md7/2idU1coQ0FGNNPrwKfakPimb61io6hSj0rqoaAn/7PQQeCxJio1o2D3Zher/EAhR2kMMsAR0tP1nKT19Qo3ZF8tM0ALikhpgSRL2Aa5h7aloWUs6jopIUx6o5D+PP4N58aOfBtxuH1LPnx7V8xboi2IeW7jBwzXR9xmrVPPBMgpJ3zaysbN/CnpPvewCihrVu9nJ2G2rWSgjJkC5M70k7QabXZThrHYbIYMFnZovoJk281iqPkZpu1X7ja4ICv2yT2u88+KrI0lTwynbfciw6icH6oqlEE9gpcCJXxE5ZvmW5G9ckt5kTPGERISbWSQUbYuuUZ7WwXspUn6y/Mdlwol699TYYuIpOVnSFz8a+7/mT/cLjzCFpcp3aW6X2s5Jj1gw7Mw8lqV6w9sPYIP6AkF1gcBk+70UyGK/oypRUHMoqR/dxEE/SX0/LbuIDrDWVtrbphXTDyd7VT3tZZKmpBI/EMa0OuPZzcE5kn5U6t8ptyl4RuhHHS9I3Ma7/DAo7UUxQcmSb3FhpUzq2OMdosSOGZRP+btvWfu5iCxOCGzjCfP8v0PznD3N//wEEr5hd4SeCs3D7rk6KOScQbo8+MRjT8mFYzs5wCMkv3P2MARCYWtK4ITSY5ecI8x6DqSdz7IMQ2jMXesT6Xj8BzKL/dO2n7HTkZW0WJkv/W9v0zqUhnFO6bAOmQE3DVxGJl8sTmtARzU2FmzkJds91RTIxIu9iZNIyqFWpejI06Cs3NIQfQPNcqtq2+XS13hzA/cEUBNAQNwC2NJKIyWKxOZYhY3e1zrWRLjYJfzOj6bWqHV+hO6kuDl3KmInGAYYvJPrJMtRFSzVMk7V15YGD+7rOkaGiH7CIeOyb5E7Xo8x2/zomP7s89eQn6GIueqN+0kmYV0oyx9oRPQrSC7L8qA80u3IAH2t7ox+I5oAjIPZMKfvW16DR3PuTfwkIIX7m3oVN1Fc8BbfhW2chTRvSUWXi3uPQklFZC7zPWEdnIjIBTewsCCyuq2DztFO8g0Sl8t3MD9zb9CjszM7NIoTdKf8Tq827Edwm0lssVbF4MrUxaO2kHnHPy17xwsQHZN2+aaxZdzrlG46zcZ19oJ8vWB0x+0R82WKItuIjcJ4M4CJNLYcR1NyzBE/VIYwI9qKS3nYli1IeLccJ09VKCnHbtbORyvHpTpSJYxGUgUw/SEAiPlULmIQc/vYLxy/7uXW3KYli5D4bnVMtb9a9WnF1ToB2PHd2DVyrChyQAoLYS7Kh/nkFT6kzunX2DszOvZinZHL+jtwv4ErjDHaOIVfXMILc60D9iEFl7ni3mt7eavKtkreyNiPIUDsVsbsqbXbA4Pp3CigaqpY0dvJTb5aRsRttGpUHULha8ohr3McdD9jideWOPdKjpQlsSU7HjQ6izI33k3YmirhXiQA/RR2Q9/gr3wr7xLULRXLxw1n31NzUpOxd3mMMQvC43seO6MgeZlsZpBMFKlbmICkplIsZClBqkn6DK6BEDIvocdbdJt+jt8cBeRUD8t+/BQKCrw4J3PtoTFBZUSRK2lkD9LAmwL04Bj/0myQSBcKw2/9sLtw+nLx2SYphlXJtXw788AZxfCyNgngk+5uGWlkVEvfn83tdUM1XcJAa9f8KhprmyMuwIBw+HWkjoNlELmfQamlV0ejCdFNjbXp5dQYUIq8NfYIIuLaqSm5PB5mY7ZXjvCBokAv0x2nNqPmiau89scO2QkcbQrqsdp3KoNaP+DMDTeSIBEqDRUSsqeKHH0ZiIbTGiAZREuOchzrwOEsACwFkOB169cgSQr6SnMZbJ4GrtnKv4qC2W0wOFCf/gUPu/Na8Lx/RK5Xwm89xMih+tY6ho1vPJKowHA+h7d13tdEMZWIVMcMedtSzESROmnNjM7eCHSzj6THSMNPJUl60ycqpOPEL8qTDaFT1EU3J917aqAcX3oP/vp6E6kzrwthVH66Gzdx2nXGTHWitxF1ms+ypNTEsViOzbXqA92IxKt4RcTSUGGjQywpRX5lQ8agzcNlipjrXV5ZAb7QuCOQYfPisOKjRBzDicwmTgXF0jfUcOOgyQfm6+q8PJ4HotpzVvEljOVgEFj3i1nnmKCJsKwG8tIbv7J9xHjVhDcDuZ6E024YhW6uVOvv+F2VilZax5S2uQ8J9qYP1Jus1px0WQ2vPlsJkIr1q+J33cDhMwueA9VB4QCrx51fpmlv2kwC4lU9hq7rhDCSPQDSR6Govj4nYTZCgmBixqMG1w+GAhT5YKJ70L4iGOyvZpKYsXJsi/XAvyPlN5p38j+jQ98zivs7Ot1AkHbLAonN3qscr6OSbN24L7x0/AiT5zdry8VbL3vWfGv/+9TXqyfjLj2XUxNkymc6BmaFH5RiJifCVvmVLx5lfEu9N+zxdRN1G8HTJqNig3Dz2T7Dz3D3Cfr/42dtcSXOZhSfmRg5t1zSVCB0wXCoRQZfXOnGukeBVOOiH2SS5enqmKbcrIrAPkMHaa7uMscIXerelZ9h5qIge564Oj8Uv60ZBoPbvIrW+Lf6ur5o6KbRcc2reuMtmAg8pvOgbEJGa9oBG6niyUMzA2yEIijobk2qGZ7BV2gnkRi4f0sBKP7hajyyc6cwH0hox7xXnKckluNHpb8UmNLLe72KkJD7b7OxWxtnbyb6c0VGWStl29UqP7ILDN9t2xoSxQk4BH53gN5sXEmx1hN44T4WDGlZXyQTT2K1unODBO3t3Wi9yOFRRmAsyx1PCu17LI8o+i/ZMxfnHMLlOZFWPaTHNgWTf8FfVKx2FZM1UxtTJthGFpqi1+JKUaU2zKMxzExlZ83jOUE2q9QfCbkYm4Z+rc8G86KGOlwYZ7BRKu3nI3FvtgjGFMI7IxXBJZNeA//Pb2waoHJC1KRRm5BJpztyzRNkioL5zgAtlPxt1rROViuEw4V/j2RFC8sQcl8vUW0vse4FdD913GiKCr9tGBUcfwEYe2b/vxgsOvisYhtqWQvJURav7gxUqoqHafwfEMR1EayH3NzGD3QHb5jEYNzFBju7x7tleEL0batspmgiboygxsz3N19C6OBErOuBEaqWWsoGt1NIocexFORe0+x7Hd9+YG1fkPbPvn+Xk/EnYL8w2Fd1+oAWmoDwNV7AL0Wk2Ia5a7HOmPTr28Hvr6f1rmqVt3kQVm0bjA6K7PDR2RowY91baQN1cNyBQwjWe4/dJQ3StAfU5Hk5qBtgMfvLZMSZfEkTxlNxC86+plZqvyjrzO95Yg3itleHIJKWYkH1kSCGLNcZEUsS0dAVX3nSTupRh5m1RgHpYunQ+fCew2Grq5W/26fDOBV0ap9FLELREwonC5hkPlNzcnDecEcHKAg9rGKt0m2AKxREAqxkc+XzH/hU9m9PWcE6rDJvIUtLYD9T1QqcrOmw+oiJMFSA2cS3XqI8jW8pu7a9G1meElI3Sa2HELZ0gN1QW6Fbx+Sgdd5isJQyelpPIAvjCqtHgmXggtmSWx4/WgMjaR/PdOZwthxTJIaNeio3eSgaenQ2bt55njBvafy3v8oV5Aiz5kgw5im7BpwHH3XuRI1hPJGFF3MG9pvdNFgwGxbdUPAoTfN5NCy366tCrUGPzTJKD1rkMV1NWXwRPBln4dOFjoGuBtt+Im2q8G0VxbI1atPn5eR2mB7X258wwsWL7dcvdeqN4ZIVbmIdSJnPr8pv5vj1gefG5ErqpPYSvsHVXOYtwI3H+FAlsuH2PujAYK8nVJk2j51F9132Jq9Sbqu734a5MzD/Iz6IWOPVypiuMndefe6X3ZzI2Vmc667fBdJLw/HHM9wU/iIJpJd/uD2wKsABvkfNAIOpb3S9XbXfyWhXK9QFtob+Vpvxwoc9UFIFj5i12ORw/tKY4srnubsOHL8vNRiicVKpYmGGmz/r62kNB1uvEAeDKv+mmxTetbmGnlzVzxzDF0xBuwjj0L/BifVWdw8YzP4Yd5P97CgvJeP2Cj0EIpd6RoVGexBrjvopoKJ5KVuqwL3mZc/+H/PFpYzoaHmthlcUYwH3PS7x1rRVUJAil6I1ktgUQaewrwEe+M6Hrb7ergHG31mwQwnVsWAVpHBWm89q2ouaeoJb+y/HGk+J5y1eVmaXQiQHQKXx2WAocOhwWzj3C/bhSollFgMNbptm3Q40Jz4LZDSyoBudR3w2nXdNEn8fVpnjUsf/poN3kUVetIAusPhQY+KlTK+HX5g9EoDuNcLR1F8s9Rj/e61OLNMAVLc0NMS14oB9MJNn9AIkn04sSy/CUThaRj7em7XfdfqiPiYhCpb2vq540nWbL3ANKrzl06rGwiSLugtDA4+xlIeZctVacWay1SoSLhomlafgvlnysKAM49vaX6RI++3K1mNBUEcgt9e1rsafWLvE2CHYQ8MsWsn5n4Gm7LrQit384aObE4wtalGO46mUwvK89aUWeBNlClLD9ew1cz1RaEIBUWoSyXLL/m9DiqVueZ/32fxhUHmdKzX6/cXlcq9yVGL8rFqgc1/H7I3n24BQ8Cq71lir58dvH1huCRS02y9v/zVWqqnhlhUABCaA5SMwCcJFm8zxl6AtVVS0KlhyRv+QkeRDd9bYm9rfC6VBVhZJzXmZEXm2QWriIud+tRNVIVVs4sakLDMJXZBRFk0TwfkTX4J0nqa9NUK0OIE9skUEu42GPRx9EdiRUdh+9lp8S+M98N1uk2s276jhJS0yjqOo2YUrUg485HLRnJfzII2gS+L8U0+ZqtLEjexE8G3ttdWxh8kL3aM5qbQt59zFOndBZ6nTwnod1KoVUIVCN6XZD5x4Aj9TsNA4fa9moun6KpgOarYqmRku1NVDzVfiEMocrhvoga1fwFIXiFVRjOLFv2gM/f4SjpTQh89rwhpey8GJR7LQHrrPWyfxJhJX7GtrGgqWMcWPdly4dXyj+0QE5Hjvp9sNUFwsOzG0ftrLA7eaFu+WsV8oz/QFKVASAkQ3zvDKGXzUT4HQvi2WThg8BxRxo0ODth+ParfmC6cj/x0RL0HXrmU/1wCu/sSuUXMhUSb88w2fONdUSb09nBZ+XpDw0XRKuj1c2kcfGKWdq4xYxPZPK0jv/fYCuQIarxymCiVSJDT5JfPnqtLTpOppympCvXy1d0QZDhjXQ11EUbwkJsNmhd97u3GCdqYFEB9eBTLp0weOunZ0iwW0JyAhqC6GqqoEL3YIVAPuLNYgvH5QfWLeo1n0oakQCKnYg1z8+KYg3JHs+3yzQtQhFmZQ8gCKbBdgK5lzyJJGpDiuO/4v7BxGRq+TGpFh0UUqAoLjYxg30Itw+sdyAwM1th6EYVnT63aXMrEFrjCi6jUTPRxpJ/wUus8f4znpdi1u5QSNXu66qR3+KVEV+Hk8n1vReNt9HPdrihlpDb9Dhxn/G5hN59Cvh6pTDHLzBNMNoA65ixOYs9gpfXQrv43eO5U83ktwq2dTDaALRl0VUDEKOKkzoxOJgf5QdIVQlQYx4bPj8/pOjGx/yUJhpf53r7ha7u0dSMmsNl17csxnrB6Nsx9ipjRaxFrn/0y+VSKFpLYPlDFS0OSoXm30/5E2MtyIKXz8xuH+62p2jXYLUkL9vs+62vHqfrpboiZ1zFXr3Np2/zpoz0gFIWt/fM33lfHz3uuR2WLRWMX5/YBb70P9ncYg2aAZ88s55o0PLKguM28JPDSuOqU1HW7TWr8BOZQPolv1qhe/maCqC9PNo5CYbBQ6SNP8K+Mo0P9AXxHorz9PUmUWoO75h2iB9YYo6aen2QlLHI6QCqX5bShgjWBRApuUU8b1PAjYRuAQjmpgU5Kqw+S7iIDHt+DPnpyHwGoK2c8KN5bNCnkSt9Un7zwoxWJxj0bpQyScdyok13akgqxxQPvDRdbBsd02pzLJ/SFntp/OYw6l8P1m9tBFYjlSNRTd/zxxluczhpSz7rMD2FEEZo6dZyhxg1H9hwyCakheV9pMJlEBGuTTgRIKQHsIKejrkU3zamrZVec20TkE7KWq7SoG5kNialybk3bApfAm4DxAL043Ba8d2e+k/GeFFC+7n+wHCeo1Ttdw7EAL/O1AG++YQv1PexrZ5tFM3oXRZE/H0QHkx4xLsVmkymMx9CW1MJT4GZU11QF7wDNfgCFYWsnFH3zucXsLSV1auYRp5SR8reH+Lxdb+DSEPtsRT7HWxfPVxOB7M8f146g2qi1Lcm4IbJJP14AcpDLCdq+/wxqWux2Bb2RlCo+/DmIcnPR9z6V4Eh9x60cK8rKXHDbtttiz9TtUCScb8PnvB/1cOlSQWJvz+ogZL0KfhY0NLBc+igrQz44jlVIPa8x21cgetbvIJ70itsQYHFLOXfry9gyUaU+D9CNCUhxilccNPGzFbMHoezlDQmNHv39D8gSbmkk3Eh8ImXajClSchAbozwRs+QW3gJX3Pnd224dYIevtOXZwXMgKLKN8tLa/qmR8l4ZyeLZ+8O8b+/O96FVOCLr6MN/dc5xpJVfklo8qCN4UETrd+BcEPyrL++ZO1vXqpQGDJtIEJPQwnmvMtQ1c8rbfOwlujVll+orjUCv/x3MaGnwO/FEiupATTPLdvWViwKEWsT19j6psPE6tfuJXuC/3poqA6kTxKtrpe4h2rG+BmANgBY7zJbyPpTxDUAxyVTLUeM35lTYqbkSEWXZXpSpaABeSOF70P7KsGA/Xi1uOCjyMoYni75dMpXQ80g4jc8chhwt0PRwHEmhnSbOsyyMRnzFodnOepmk/iEPB4Hm8yUOK+nTleie/R8U0h2McIe7ibi2xJzyB8pcm9oQidZBOXqpobtGwH8zidQDUv37ZBVRBf0Wa1Q5jhJRMdWCn/VBLF4D0byOG+hG8uvm+yliHyxGH4rMnd0lkNPS5yRFwpzOfDiCmxm1l9/Y6dme6siSlD8MzsVvJtNLBdzuT7YfUW3pOXsfDADnjXXuaG/y7WO5T8lYaWyyc6tbNPg3l9Db3fqri5ghSwmoXkVl0f3WKxI1R/Z5ZIAlbq9Gos2DqhBbCdnVIsHZfJjJopm4QItvjF27M/46+TXZn1qSb3bfhh+1yS/8N38stELXQyOAWT35Q9Guagb1CfGc9IjVxonV8rdQrC8axYRKiIxS+wUN26FIyeOvQ3/QcT2cM0XrUxbKewN6eARWmSvbFJDDQHgqFWPNgiJTl+3XqjqX/+tNd0Y7U7hLn8aXntEG6LZ0aia5yVEdg2/K5UrafmRKIgzjCh/Aszhnzi7Usxpq/o1Y3QzKzUuSOXD5qFwk96MLfXrw2mKXioqDU6pWpT12/HAyaDqAs4GMbGoyqQuCIm1QG6GrIzSXr6PzEXTx8svJQD4A5sYCxkyQK9/q5rn9DPAjwqPmO8pM8rQJvUdKnzf1DfQb9pIe+ttAelfeyRa/OOmnJWFneZ4g6BykefvJ7i0Q4VrDpyf/814dsSmqkv0Ux9iRzIa0kDhNxsYnQ/pkJPaIn4L5WD7YR3wDiiMW7i3Rfoy87XCxbLraY0+9W8m5IY5XoqoD56EpiVNw0DFdY0QE+aKokyAp0DgIpkIIfCQBskEh+xp8j1ytvDZZMR5JFTggqxIk7GsWYVzmtBeRc3i1QjY72aZwmFnTpJs6c+pvs2BWxQH8zWIwcrYrSIBi+ioUDN9lIpSoGDGzqgxofueUsbCYiVRrJBhkbedfT0ba/NBzaQE3OzaSF3YYgdqOrnDepX32adPagiDK0KDiCrFBxzWwfmGpb4QIsvNmIVXaHW6pCgkZZRBI+qzQO/Eru5kTC5ij9h7unWzDLFqlTSIa4Hnl34czLkRhGaXgQzDsHzqbLZU9uNP15eMXTYwsU3hV9Os/IO/CtwV62nOwGKnfujArYhzcZ3rrhNqOyuY/Dmg3h33OKLdBIkF+s27ecyEoy4e1UFutIEaCyFd9D/yDYUitV2G2Y/5wuY0vKdFjF5OsAvKVTuGd6xl3nK/s1P5h9uzJxhoNlpMtNZuNZsd/SuNBTQusThVlZ5K75MBfkyydXfQAqgu+eVagSogTFbfPKthVvME5UgyFQ+C/nWTP1O+jIbwpzbppp5ZNgv66SpPCj6P+hu6Mh/n/6nt39jEpYq1gu4OWygiiV4PzrsgXiWctjdpPCOmeMamfDX6boxvdetmx9UDw2eENB1GpH6eCgd1Cg/tjn1Hi26GPlOvhWSjtie5Tc4i5EHJ1Jl6cOgCrnL+qFILn/kEGjaP4nMSwovSd3upk33hJ1zFYNeERiS2q+WQtKb/VnVzjO3XKbxmX0fatT3vc6U/KqMjKGHdjPsQQdv+WETWk5UJj3qpcvsoXoPkQB/i/cvlSRl7si7JPKqBz8cBAKj/lbVfv3a27lZ03BsDOQGfWnU+12XPily3EziTgo81ixvPpFpWf1Z2z6wRNJNJHkyX41DkNDbPsZm9HR+/dEXscXMznsHjswjHXMFDLvkQ4zCjcFago+4n0XV0OtU4sMtL05dGWhpun/ApybBktqeKSOHlJBf/BdgyoSWLGF74CA34I2gBSkkzZsJh0Pqyj0+8ScQLzzNeb6fFptdpPjP11IdXAjV1n1SZeYjDgBcPKPbzknqU4J7kpzRYJvyoAKHw3ZN7o8TeSuqmcIQpScnDfy2gU2paaR2yUZHAjQrPSWfJMYv4zuFQcMXYNGcZeRzr5RHP9Zic8RPSji3tVBTbVJNCseXM/vpuFG023vXUjGynmBVgBzDBnNVoRySHzisyhlYyVuqk1X5nb0kZJMd74H2Hqys3mMBVbx4hto9POVwGG2bdgjhsngrVupbGDdmT5YCm8I+00PA/oELoHVBRTvdPXhj2A4f2Of0bzT4G9zX5AUJBC+8xx+ztIKrt82QuAO3JmsUWrgflp3Lbg9lkMgvgYpvdFaW13iPv1SYHX8AfVt7wLBBeqRpgJsugA66Td3SQaxlnTNB00iyjpRq3MKKZViEsSZH1rtFDyX4NpTiqN2DpiBwvZE6jHsw6HvMN9ZgiDbuJ4Il/wOdli5pzVgRWe32uPgVUrJK3F2PXoz3Ay/D+7rRZGCbmlqGl3ggwTto2yesFiFY9Z308KPiCPcGMjjobMYHkb4HtehX/Cm/7Mx5XJ0YgQn4zpicTFg10I6ENLRySR3QPgn9IIWwPhdVV89PJuTEr3GzoBaknRxko45Y86zotqKg2kp+34JWO0X3vWkyFkrZNGmrvk4O+8UKVpBNl3uKyx/EMZkSdAdl13pnfijX0Fuk0+/9/+bQZEnPdLkWfE+xiLCunaUw2/XlpXFv18F8vw83uZ8XjulivbzZchqsSIjqZEv/4PY5LS7t2jcLldoCY7LLIZVVvFXDNABTApPTkdVifnNj3ftC3iJdqrKaTBya9n5NPr6MqIfVG7R4niarzm1NRHAgrQEM6+qtiDhvd81nuEnk7KqIv+cAZxNwgKbpvY/SJv21gzFFcYvi7TZg4CBT/VpLqWccZ49/CBqjXXERLxhzMcrrOgS0vMUo78L0m8v6WJkeMkT5IkI2LZP6qQxtGwzCxRM3qhFY948UFiixStJrI2Mp0l89iaJAwFjKUEyvCGRSIX8KK/+mA/R9MkkvZG3r/ueQbBj5+ooKsv5C26eeHKZgOGcf3lfcsgPoBtNxTCiCIBFrU5i+klhZgEyTk2C+Y+UvHnLH8Zk5NqntqOSsgMNVth2XauX6kiaTWpXojR2HQfQBbY3djt26d8TPGPiNvOcGPxZMkITYppUrXZ0TC1jxHq6RKuWukICZRI8S5l0qol/2NtQbZ8YSKqUJ9g7YJA3x6EW2N0HwSlaoBTLh3yWRTKNL9n6WMOpf7L8SKrfsYn/OnpTs9k8YHEWCiqVPqLEc9tefRsabkKO6lKchkgRKTWi81bOPBKw6eTCmfTiyEbzqPeksKfJmusp57Z+X/zy9zIWvb4ajYgaQIM6uDaoud0FoiuAdLj90plQ50Lsty0vp7BzqUnlNdHusyrs0hrYfKhehQvfrhLu+epbBQVPHcJ5tWXXgF3eWbO74cOYlCVDM02FtKw9PhmV+P4qu2xL7lVYTeGHvJ5HfRPAxH0n0BYxiKTExp8P935yOh20SJi4vpT3BCCqO2KNnbJFax7WkDmfr5O890t+b5KOmbACxMYt5xbTOZkhmmV2IerngEWiHLzb0U+fVv3LUON9cMel6NC+mIxDo+tw3NHRrFBXuIHeLI47l//sQXKjML/Ew6H/LLoDUXBVlY8WQwbPG6zvYUnsplBJrIxxhFGZN99xUQhIMb0T0G77mCm7Dyt0bIb5YauCTXZWbqXCftm+/mqnlC5YrjmxwCcraJKixA5oLW+++Fydc/nhAeMHccCnFVDBIdiZpcWbREbPY5iDDWDI0/ZS2DlFr73qIEpNOeHHDXJqhw7MTJKQqpeqaNU7lyFLDvbckZkOb6Vi6NRntIT84aPF4EPG3s9/VaTRDXBSR9TaTg31PQuqeJYBH524MiwjxHWN2c2umH5NpuxodQF6+KCoiYtGE7aN83IsPUZ5SNNK0TRS2ZM/AknVulR8MhC4d5SW6znIFqnOa8rw234kX7yfVEEqOPhJhA71AnKfSZdsUXgQjzZ8KWKRHyLHxVCCw+SRuQg3ODdoo/Ab4AesdI1b/F0bMCsADk50AGw6fmhC8sO3zP7A1xfHB6RXVH2/aEU8BeBuREAO95izt2Ak4ALY1cGHFqaxxerW+ZZnd7jfDBs5HvnOQOtYL/uI1V2RoTOGxTruJCYQXHbCB/fdCQXjKDN/P57tPIW8NXjRdPSCU4UfamSCAEOJz06uKNAfh7vOGULE7i92Rzp7FXmfq4Pf04o5bQZlAiHCRjbj6EKqIAVM0R1EvVSMca6NJ/E0QQsak+qnX/RCcPYUboMCsPoQzomYVv4/6mwX9PXNy7JZfphHphy9F5i3FQe8GnhTemd6bW93XKCcMs4XSsd+73OkuzM408h40xQ7VhTd/1/0Wo+Y7vmzWqLmE8MyjGimwolVYEs/ODygRWMaczLnTIaBp+dwHBlv0yAj3PzzbPnIWsFQwiVhdMm7PMn6/Qd0IlOhkq42NYXwZnecHNfyFVD7YUp9opVjFfvXc7GXQsFamhK+5wz60uvtGrglYS4fLgp6sU68XpMX0jZatVbkA6L5kjN5AZ/53/wuXAA2K6M7mMfkPUk0S0q4RVEAke+pgM0owEjSh0r2MWRl3AES6Yks2EdrpmMVt6nQSlVuQtel20+SF4P6kUEU71V0vUiMzyjiB//12YR9IMdGNUOa3ees6cxz0q8zr1cLsG3Qlt6fefwhuQ4fACiPDFpw61LRSb7TLBWZeu3yKdaepGFeFKq6Kis5Dsfa0z+wznVoLd0WWuFEBQgMxqPMbYmZ/47YG0qo37uARZJvhVcQRztGvMNneDtdMV1HmBiVhzL95MhheJw2KeUodYWsNXNjdBFYSTEdfe+GeEPcy90xqpcIUq3/bMCwfSMg9ZA+//MQGv+iVRlyPnDg0zZpdQtSB6EnPGeh2IQ5dpL/V1ypymYjQyotACqS0ta6la50M+rGumXDvXT3LbKEeQh08QqbsSchixTpIPp17QJ6RWRK2XV1KBBjgxEyTJS83u5yJ7+E5qpCItc/R8MqzTAuF0z3nzitr+hTdp8c0IC7GP7BGkxVrGv/kERHOhavv7TfQlK2NS9T8uTc3USTxZ7i7XmZi7oCAgv0jHCxccijFUynkJCtCJlrgHf/eAjCFOxe77J/dpXboYlscwGK3fUxE4aqNFV2/Gxunu/AKaJMqjjDUxgmJF+eEBhQYLr2kmqlebJkJqRWlsFXccO7hDomPWbVWhoooP3oqlPLexpf+B47gibwSFQf/yIhjc2kYyN2h9OW5GgBCN44VhUkNoyjjYo7/6DlbSCecsrmng1krVL+stO8vjpnrTcKw4Ogx7NM2Xh39TplsCeW5Wg3WjgtNJPfGkuMRO7n9EQU5wtVBTucv7dte0p5S22MLyT+hmQtWU5n9YTSuWF7c719g4Txd8JV6tGa/PS4XqP+0NWiO8MPnNMuWpE8sFsGVFT0JNcqFerm2AcUjbNve15838PM8ovBV8+a2rs5MzZaOuWAJqNZaqdiXMDXhbQLplOcUgwS/WqS3LnaVGYPd1pHFsfmw/AUuElS+4eQAqBNPyaw8uqaL1n28X4L2rj9YC74woNdQHRrLTpasvBMBwEZlFvMe7/DbRZNVPR4ry6IvYQNPtI5+GJDoeDQ4EcHJPQY0ySRN+IeaoaonM4yHVGCR6c+70aaDJTm4I2bdYMYoGeM+hsQqyBuJ9jcoNGhuLYj52hGxh/vCSdBygu+4WY3POl9WksrPdUSageDcX6RR2cCr6KsTNyKKuVpbFvLOlhaIvfyuJTGPKlQVNxOyHPNId1vzxllSyrZ500DbnsjA2RffQ4eRqbPLd8CF+DxhBMJ7kSX+04cFsEbsarD969qza60EjRROekkPD+9UJoo5MUxnxLEcufniV5mrfFJ3I8tOSp2JWiaovEe47qQ9ky9/0EZqgLQSesbp4gnV5Nskv2rj5n7Hix/nVIOuvAGvT2yQ6o5ZEhegNHzgoUY+5qxvSU/qRoTGxloyNLso+vKBRaFqqrWC+DvEt6RzmR8x0AKtoEO7nbgsOEc+rw8K2z6MZCKq+THp5pWORFT3tQ7p9JKktNikvw4GuwULOW+RC0KCbBK4Da9rjti4a70xb7N3RjJ7CPhdvHFomuuedLZwwg39pl2wXr1vThU0vPa4DYb8os+ATFDYsZqahQJbdC2JEZDS+EBexpuqoMex5QBFd8WhYtsg2+BQKQhyCIu2NCVR4hYSRL84UPiMKjmTbt+6p7z5nxrGhIVbPPS48pu0+lgq796hqw6/9smqqBwhLLT1WCmEnHv/A/oIPtDLeY8fAYVcoJoEGNbacJdyxIaeJuCdEXU5GgzXZAc95l5059HhkiFhkcbHDN5YHENZmJo8JEvp/BYSHExNYJCMx1OfATxQyMnAOXlZhzFM3XyVfUFuXy0DeNYXO6mF+EzIyMV8zeeAhPerGmIuuiTltLid4OE7S2FhLUXUlWf/F4ji9tO4u4dko9NGaBcGLpJ3lxlElcrzmKYHrpJW53L65eeUTYjvbahBXLK2VbpYwRV7Q6n8hylIa1UQxii1RiOW9BDeP28/X7a+CpacQ5hMgc7eSpxnHwDEIHl3ApW762kpDAYYBgG+WRGr78DnjcxHglt8A2J5DTOjDllqukPB1Atx3NyQeGCdq/+0Pe71v514v7BHn9RjJ7dDoGMtOc686om1/Lr2tmmta45AOOa4l1Y/Vxhm8JMyfAbQ+rn4y9fb0IbSAPjxep2zjv4W5RLALhQ509l4pkYL0Suykxa3Gq9/uTiAD/LirryOT/loqHoppPFesFs8hPjVfMA0IyO9b7VHYmmTMB074wKkiQSf0J9RJpUbvPtkKfS/UgbinJxiUTLAnrdtFuz9+D6wPQDSmeYLwBT9K1f19zxNTw5OZq52vndcn3SKQQhS8kO6TgXc/uvfrXpQxXhqcFhFTDfQB1/piWAZjdfbnGliA0cOcsWb1t3rTSG63JtOo8Rf6QWmnvg6H8F7gdNig7zlSiPnSTx/7cBZgWnBKbXbxYVjdm53zrqDVT+zaZIkC+KJHgEkJCiYP8L0BvE4fxGmq5FRx31KpXTHHKOX8rDTRS6pftHliR095mrc/rmr9bbeFoCtlqLyn9H8N90SjvPg06eMzVqkUdGJ+pu4jVXmV5D0NAICzprkBrg9c1LeRSeGbU6fGMdGP/rL64ORQbhFxURpBtIs9Kz14RNQCtrAxMWeBNo4LG/mycIf2sq8gJghsiTMOAbHyz2chIC20GrhJGe1AyPv4L5nrYGBq1zHaufbFroPvoFgNRaNRuM1YMt92xyF1A5gkmXwXk2Yzplpf9rWg8n/eu2MbYM2u0iLMiiNujJwoUUZbbCE6RHxxSDGBupFoRT3A0oua51Bi+OVxBgQ4AVspSN6mKFtkvSOYpFdRrogdr5JauCGSx+x8BO8YktDmeA3D5up7NC7W4qKySfbPnwfyJ5qcHXblqKt8luUEO0j0OQ40hotsXdyuFaD7aOVukZQsyR1vM7VnNTHRfZbo22UeMxhIfMwX3MI6mPYkNPfgg8BlRB01E3n747vIe6Xyxq8kbMgnnM0rLI5qdnEMBrm1opWBZLjtuLB3ebvg1GQPv+V5Pdjnap3RPXleBbuAR+P3aCsl+OVbE4AQbnSLdzRKDaUDjlkjqdfcsKwJrtKaHi1Kcd/TMDCRRm2FCgEFyFvHE36oogUqM/gh8X15P/cfx0CRFfCHzwLIzGQM9E80tAieLik31Q587Cjdci+8Jg98z7E/qzUS/Y785aIWqs0qH8r2mnkPe5/PwbquzpAuL18lnWBoGgyfREu9YgGQ+Ba5hqoX7+FSR5Qx6j4wT1FywnM5OFO2xqg6Dd2D8XK2u7BDLPAWhVTijG2mzQJ1mHY5rU7mWvy8BZLQppL5LrVJFnE2IRFNsT2XhmZlBSlLtq0bYkdWEKaAiyu42uw+dDG220gttIyUQZSsPrGpDqCh/uZWsau+k7yv/b8tzNCRc0Mh42wlofMm2/fVs6MAbrfolU/r/mDep8LGvUOFCKrM2/ugP25ekZIgU1ViMzkYhpxXHsGWNmLMVvTx1k9v9YumTKwNyLkxjdBvVpYYRkTzwsDGKLULFh8DCf++Y8dxceD3NK7T1fnALll/T0WTVBRqaVZ002lcxAK73PTU3XgcWI+0yuhVSNM+qIlglUkCPnXDCdYmoy0nhzsd1QezWceSjKLWVKvVSm3dfywBtyaCqS9xLenaF5olgGFfBLfTwSfnlnySbuZbIylVfAnj5gnuRwlz1U4tRgw7QDBMWCakEbH7rrwX/2fa/suWkGAhwqc0CkQicxyKHq4+MO+1hFQclQtLXFmrZsY+9wUR5gDWoUKgs6Bsu2ApacprDM/6JQSm6yQ/8L0sequ7Z0GFpdR3/2Q0K9o1/ER5mV8GzRqupycUVyG9y6o9t1+Oqa0ajMnKdNMd1+1aPthxwE0MJE37olv4QjTlT/u0G1/QXmQkwHV4LNr/45KKk7taJ11R+T0dtkdS4mrpb4zdXnRs99kPMruV3+WCEIR0/23VdfVjli70KsR3iQ0nO3QRanScu9scayXTkZKpGnBdregiVUUvGT54BuI67XHp+9rdF9iilTPOBRdnCa5LPGGw3bi8pbO4NdSGPeY8LptQrqbV42lvTu2p6WwAWgHOvEvs3IIfYY0tYM6USPOKNMW1Xa6IprpwSvO6/QwfEIO41jyCya7akW1v5HTgarjBrr5pp8mmRDIK3LwViF/xxYMTWb/sB44vr3hc1pK9qAguli0idWkhk4Q0yeqFz1M+nP1fdEfroZ2WjcvM87DE2keeRxprSe/S8pmpZ6VDKIRQYk5PbJWWjA2/jh8eP+W1ZiQBuJGc3C4LW9nFw9VzLSZRx6CLLC7EzmvmBB9V0eZ8DoWJseLtbD+0lout84xf4zXh/PL7HmsxUwkuDlWJLQyjh+veR82q12ZYipJ5WU8jLvUSi/5u5tVMdeiLr1NLucqSooHTUkD/RC51UbF8/SbJHyZtezYQMeBTq+ma2V3AYX70RtZr0zoYKvxLtQuBOyhA4lF32tHysAJ9O+SN9gF8Y/RUP1/3/KMFNPDWEo95LWV/2Vzjp9ryCBc1Fv+ek6zLHWtZLr/77+JLy87wtG4RtPi1ANEkuTptxHSQ1vqPPCiJiFNAq/P6+BL18MH8g3LnNZkevZtyUHRETDTJdCyWaBwFL57EfSQ3xWOH1dL6qR5XZ73Ji5B9QXjNActQvuVbvRS+9A1r2CKQsEJ2IaQI2F2FvU3JjHJnUvxRLtuTIanXJw+Xoc4OlIzLO5kVW/MLrsMvLxTbFtuctuOnrIGGWY+4U6GuKf8tYD30tvWxKn2PSxNc8wIY7C6s6q9GuoP5zuq4v3k9VSeMY7f7jcsUhDH7lE6wfmaU/U44CxJwmoISKZiwwfzUUwieJEp+lLFqyLBKBilyXf1b6fPFEZxyL4jE5tth0l+UJDn9ukGgeN9tw60c8DMYEgblq9UjXVm2ZmYExGan44m/yCnltbAeqHBiwhNBUy043dH7SGd86JUUeV20ecVRz8gmG7fKQpZ8AS70VMcKnSYIXrPjS8tsWvAJNs83Te9D6JzkYz2BM+FWjvjMprS56M8wbU5vQmgtCp0MsIJwWxBKYtDnFUk8y6l0rVDc2RqWpc/JmHiwrJlYrzDtn9r0nAam2eNyRxp8srZbrEN7eDKJNRzBZ1ETs4iJh8ho8VQWSu+seTtz7CbVQKUk1mU7ZNPAsg5TC6zqScMfGB6n0SdrUJJvGnpjjuWKFZcSfHZ2+MS/O3gbxaYqKr4Nk5gfMVn7rqyjvNM+lAXUF7dVfsZaCJS4cbBsMQnpdAJLq0//JTDxxvoxlerDfyjWBhg7aCLf+EX8UEZVIFx23xc3mwLuxCfQOkDhGVOBBCwGij4w96Qaz6HempLrkt62mvLvD6CXH0mbN6K2HB18nXl02Gp5TYKlIX6BzqvGHGxoOgL2mgEB/CrAAtLYVLI1zelfamQ4iK+OdII29mETYsKElidMj2aQ9Xkzjy6Zl0bkzDAAIxb6HEKzbbR3z5lYB1UxFtY9UHNbMiNc0mhOsEYScTg3A8++ecu/+6HumfZQb7NuscdWv87soWm15/ZRRzeVt50tCCuO4ljJEvWP8nJEv3r9SZoED/VsTyQOQCGG5cVjktzrC91XnGINFzu03b+Bxgf2VdyWA6OYqEHAybOupuQv3pO+FkYjR0rp8g9leDk9kL4R3v4sbieMrePd/GY3Inu4fPI7tJjiApA5UneBpN4jVY7jOwz/5BkMvbTUiquWSlHyJzjeEZIzL0jDey03Npqxo+T3Cs0z2JadqbIY0YhmGlS/JR8ApidlAFKlrgoDFrE7h6vm//Kv02NEx59t/4+c7RpO1lapDbcNTFdFl39bIhj82omAQbZqa3Bpsjj+pHmlnNUYXimbKhFJgkpbJHTWl/ochZHDRCk0FKRRtlkJ/Ud1NoenftFCWaSBbRMnfuc1nzSZAj8E3J6Ico/thN+2aBmYKMyNsHck29uI7yYhpffKrgbJgITHBVTZ5dTNxfabe9/i2ioMt7jr1HKO2A0BrtBdOhFQVTi+TvV/4kSDacl47rHxbBOzmq7DUSyucLZMkPN0PdoXgmA4vM8No4cd1eiW4qtqiVKsmrn3FyeWjK0b/61PQkJYWXkdvp0A0J2qSHwg+1QCXB3oz/RgfVzNlw/B3LYHD97OCCrd6buKD7TuYuL/boqgxHGGTLbM+daa9M64P+1BcmkTu8TYlbvsK9/Zrtm+uYl6vjs+GAWkZQx8H0x69olT0R01NMEjXo8ZCqw0Oia7OEDCP568HyHdW5U0/IVJskc4LDbQjPw+5pgXx/ta5dsoGS0Xo1/h/NQsxsuZhOqU37N/C34ZR972y3IzHLlillgzcPclRzqWt3e6SzkwJ3RsfSL17SDluHoX4gYJTm6PvMaRLUG2cGQgqRLGbK7vTnKG5E8aqnky8GV19NKufbhkIuUXRCMIuwYIWp9fxqhYUjiHoNcazkfzJo0UtWVXYACev9QGFG2ZGSLmsAS5amFs8CWOJBsfh3dWQwJdiP6O64hi8VvLUjIbcr40RouylbjRaaGvY4xPsB24rd6p5kLjfqDLVdcWC2c0earDDF6qPzbJXTmqpGmq+2smCBItSWU4kR0vqwGRbo9Y2rRhEyNYxEfbO8Avzn01e7UdI68UfzqDcXy+fUBUCqA2bYDErErGtLhaoJugoLVXOuYYDUoErHeIL5scO69cTOnr8/mzh+r3jAgEMyp+ppVDFiumWh0b7KlYtAFx4ATJz7Y5V2a0xc9yzs1+Wbsu7wcXizmt4ef8FBN8wxO9q3QLbxLts8yrqIbZ15/8VOFxhVoZSEAilziecFVYWw1CXlrVWEJAWzdTznezKXABjeo45Y/88Tpdags/fgNUjnKKzPF4TtCc2315lyAXn6wtapYFjriiPXQdzm/RtsAHWdq5IYcJViXPl5rJSeNjN1yDcArf90RCMKPcysO+QsfhDQYJmFhmxGiBeCOCkC6vwWBiusSA6L5AhICnImucFfzuZ8XvHWUDnaaPbI1o/EGpPsgNQWmGHxVQSO9APRNzqP2GwBOPYeDg+1JAlMW9k74W9E+vw2lhVlR8AR+UQ9FgjPx7+nDecxqYmTmJzov3emzLeATliZ/pDRF2tkv3SrknFd3ZwZZnEJ+cGkARtcUxmmYCPLyWXbktZSaXSySDxYX+8y5L865Hk45/oXNs4e0KDzFmzKoiQpZpd41ZrKeXkL/gawOIbFQrWLjZTaTNTvbXy1mBFd3ddX9Pnvj5vgFxDRlDmltOZ3hozLyrTJ1IcVe78aMKoPVMpKpF+pdU1bWYcfREo8GE+05kpFsxU80Pvpal93+kaufrSdwDj89T3hbLv4BMcc9VxcMfD0gjGIN2mUxNUyTtCIneLeT3zwzdlc1PF8EsdloRRvPhhnL70DZYEK2uhTgREI+fHgPDkMJ7jwU9IzYJ7s3WMrBIofhf8uBbh3Q8Dj+sE7UJQbEF/BdCDJwG2yTEKR/vfXWmFfJr0q6Aej4l2ufPWHNXbRLETyTojToBCFarzm+NEBblwYYcld5ImX6GPDZ8g0JO89nQSLz+HP46roeFXF2zK37a8pKv+pjxsYypipBNDbxg25MqU/B7g9jarGSd/vcGYQzez32FuE+9Kred9KFzrb6BRDRj8evkuvWp+KyOWml6BFBwDpwEZ57F5e4gZzhBpAhxL3F/4QAhm+xAC4GJj4RWPk6v8DBIpWWcGPStj9ppsHVxtPUslgc0hmdoDEcYekbfA5EcO3aazlgVP8mVybS+lFEvYyjqWvmAJNEHkO8FvM/OVMYq11PC75RxwNd50CgW8v4reyTww+kww62MqN3G91yd4ob3GuZpVeikdRFvC4RmhLrc2x8DH7N7vD0mO0LIsMICGUhZHzVa3yiMbrN34+/KKU+R+X8K9QROVxWI5GkEwUDhOcNCq7+deW+UuwIDiajVlhGX0aykYdewzu+5x4wY2LN7vzyKlppJ0P3s2ilpjapacNC+uu6sgFnaPUOfGXP8Jsx1SXnoQIyvn0wqq3Fh3IJT85QJlqc5KOG/lu0e2xcuqHQk/I4ltyMT1XuJufMj3CLH39+l0nr7N3NcfbiTJ+J1SCpPRvKpy3t+2HiRDJ9sAv+UdEjZTMYcO0jpqVncL1J7HOygWBDE5WO3wyNsr9HuY5wo4XZVxUsWkvTOseciMWoTnf4De9sResB4u3xRA4C9+xwSp3qqX/BoGkA5rcH2U3an4Ny/ZqI1CvbqK1CQfvuhTMjs/POtMlVgYICqt8s57XFIUac0f86e97rzVF7LAVTWan89OhQnEkCUkRHT73AVDyUpriiqDW1wBjkE+nqAre59lYNym+RwNYdA6nS0GLQW+hmjgTh532JCEub7hk46Y8ul2vJt/d00+8bbFSZzq2tpK3uBCJgLP8TMW2A964R30RyU75cDHu1e4QjDAuJyI0gvRTKGigSOQqQOcyUKY5cXiEdhIsknBDVzR1B8LQkq8JZPpbbYdWjAj8AKLuP29uGzCOeY2/BH25mfWkNULNddem21amWpYlS31gDkFaoXD/6iOLzQuxWfZFsSeI9lyjNe4+3VxSXZ7c/a2KwDGH/u18twGgK1rw4M6fbds8wxIg1osUmGnBiT87KsncHHGjaDtjKMEQpkNMXqKoNJtWKkjwKcFsIXsCWz1G+HcfoIVrPNYfSwM4ZqOCfZFbInwbw5Hgbyz/pNWXMakLmKSDUfjWu4sQAx/4zaBUU+AIFoejrcAygJt2kEfo06PTgdo3GbxClfrJdMxvxsB94AmyWN3/Y4AFbeqDk1BAQVfJBw0NzPKjjYj6Q9FXUgkSSwUGJ3wQBSgXaaukgbO7jik0XgLu01jCtwhDYhy0jIk6kPa1prkiOoVlf+0Pj5hiZmgf4xQ6vPoZbkDfAt+ZY0lfs+sy2PNVZKfwHnc9PaONTbchBJuqqX0mQT6ipvMorftKT3A0sNKutfo00ndmKw9QKWNXihbOVKWfiWStJKrecDsVZGqWFFQ3f3NwRQcA1PhdySHGnMT67iBxE8CS6EOR7MBZ86TeKyyxG3saS5CMsKvzS4dLmd9WsK2Vvqbxb6XM3dPtbIw6ztoGw4pAqtQaoIX9tkHZednpbXxYIEZuZMN9kKdXFNqUKPDw6xiBkpCAqt5Evd71HPrKpDAOLg3T6pQd4P2T6RSDVQUMctkxmnWTGSezxsGf8rfVKP1iIad5FdbUePrL6pYkBU56f7qisDkxdQptyyNHU7X3r1PK1Aoeh3AFa64FT8BrU/z1MJJzq5rYogIfGG9XSmMgGQUjtjRm2bVyDA7Jyj4aN6jirXFMna5g0BLk97M7qlJWwEW8EvRiRdtagxSbm0wITbnFqwUbB7CyaiQJZDWa5D9VAd+6kydHoPFsor4qoyowj+wUZPlWyeyEaDs0d0VuGpHEuIwa41XJfA2VZKKdPwnENh/f+vURkYerb63uzgqWjqv3aFm5IkwOLAgoxrAW4QaAFXmt9gVRf3ojZkR0qDG/PU77FZ1a1YkDICnCX0roWskeMvpAe6j6+IhwF2BSHpdpJhL3NmNhucCRV+Y8LOOOGmQRH+svLJorax8N5+C3kFn6z00Ux4iOiwGOWZJimpzDNKC9GyGZMiMZOIJz+npD+x7SxJM0vFDD4Z/Ns52ktfF6a8QDRhiEdk3h+VCb5iq4Tom4vSZi5I+QIskQA0eus/EDU9A1DWcISo2USexP1pgl+1dnm+/bXbWkJKupP3m91saZG9dOTcEN3K5DMTlOmpGIdbB0ucQLCMUz0RSdRJ2RHqsspean/Udmz6BmBKeXm1c89SrbyVkndLu7AbrEwTu/A4fnY3NLPKyNzxxyOSifsA4Q6uboBTikbAYLJsP2nCzSpVysYhoEXEuREm6IZNBH4TIkkLIUqPwNaOyk91F6yQ4RsBuv1nQzO4dcpnRzkjwQqHJhFEuIqOK1yWBN6mHwyVdnro4Jyx9d4VkGdHtrO07ZS+l7Ss26jpSQWePF5d+3K128Oq5TS7blCTg8FxGLwWrS07la2YfZ9kFT2RsqP522v/A1+66t+e7PLKrqOmuScJIcAopvSvAc+z5dvWjpsDCUbqa9HEo9w1IgDtOSFtpZFZtYRYsRDlsVkVotvUaAYj+hBxaQ/MAN9PwJoqiYHodJyvr+pFmwqO+sglEYe8yyrE/8gZWTHoTG6yna9ygP5bXt/o136hivsew28q9rtJA2jPz+a9C3Hgys/eWkDtGR7zPx67ben4sjHN64tnoOlLug+xkkXoUIU65p/E4ofYEUzMSwdbSilqdzRCsX8ag9Uv3OqECYYGQnnWo5Y4U2qDe+iCMij6HwXWB86Y1fiNPTXP9MTNkarVNjPBbQPRC/wyHfGmdEeJ7uJPXkI6Ak0r9DDTy48l9Lp2lEMildXm1qQHqORCt8nP1SelM+pDLsFG0uoWjwOeD93FghA+2X7nwr/OvkYRnfdsxkLWZy5YX76Tfydu6GE+VGwO7uCkyZAY8ZWgMZV2Xk7XYNs1rPnLzEasJvnes7w0M8FGXOpOVUB8VsqtYRBhIeMNU0JdxE/xu94b3LdgAVyqPdhHWsbLwh0v7CxeZaO6WRtscMCX/l+eUBlIKyO+rC584TquzOk5+yjWLv2VEe7fxv1eNKdamihIOCQUDfLdAPWwcL+PlZfc3r2wSDPNKrFUg1c1vg65JG9mMOed6f/UFQCerS69uZhZ051EBifIaM2PqLdK5s7IWnpzaZJcMc/oyhsDHdY7CzjSxO7/Z3AwxF4Y2EHQTCMj5YOOTsD/CBK48ioJ6BpLtJEcA+wtl4T+4y5eGrM2OzF9MOB3SaIp+DBtwuuC7Hxfz5ZPOtd1dQS384YEA7gmrrrJr+a08XwKkSqmWvgoJjOOoP7fUse4hpDRXDqPS0oLiYq6Y6P9KFm04pG5Cx7jb4JbNrqu3UkYcQ19N0vNRMRn1JZERxYkRrBL6VgedCw7N7Eabp0Jx1u8uus66xY+wXnN7P+7I9Yqmd4h6aREXNHoQ00yFtwLidOyFXagEnOtG/2YxEtHOXcjhUgVMdbG60M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Q6Ci1DbziZp4YBjktaGRkWK1IIDBtDNUsc4nw7EdjvOZ1MOku5l9TzF8IZv3YePdIYi4qHMcDJHAS7mHtdQlZ8gfnMSlqqaJBoATLEVz7/yacxSOgnhBAGIemqTPw3a5q+P1+7ScD9BYmK/mepUZvn9ubAbIlOvsrKA1fEGQJOYnWVoliQUASwzB1BN4nE4TKtJSwQqlW7GrufFZqdnr5DKOcZjfa/rkcQJxwgba+kR7CxfGVERijZ9wMY1Lo0BQ3nxgzYgIqJVNzFiCl7HfmwyLeXnI2BQfHbWvERgg6SSAqr5su2Ggo18TtIeyrdVLN6mkcnCM6+9xmqzp6Lal2ka/ptyNz5e7+yFBxJWEBI0ChI58sfxcBh0+dXp4lsKqZ3/8swKb0AB8xbbe4+cCJjs2oRUy5Hzu/m+K6sa/QkcY3eJFf222p+paGggQZwai88ykTvQ7Rfptit9YER+jbQg7A7FOLCVR7NO3Bmi8/VfznSgqN6bFpgY/rcxWZBnG5yNSyM4Atiy/3RtBu7z5Wki3o2dW3+1RUpyDto8Hqgl6ob3b4V9H2fWi7lrepN3xOcUqKHvl/O8rEkCq97d49siFyi2gFbd76NobC7f8cbZRvOWQqkXjtiBYLcrep5m1d4xKAEvhPRpyx6m8mcKL/WCpbu1qwxh+0wA7sH73RkefbVwbmHDAC2KPUioJGuxidGckp9coEuFdhOLfrGMSRwtJynFPiq4XkUdlSFum9cjxjEV/s71SsdShBUFUELx7lEgMfSfZDJgBZWkvgEe/OMa0FS106dbizV6JfuzUzCgMAKMrLdLFkI4xiuJunbKfTLDx6PITFUosUWssrzNxEth7l+bL3BDm2vnJVCY+/e6ZzV3gJ8dzmAbTeGdHLf7KzyCLcg2eWgHDEouduYKglm4WfZ+HA+32bXiHYh0kQt6u+smaKIAOyWV4cBYxVLk0INOCA5q7nKf3Z4dqJ+2ZthQhguFraWJ/vgeJaYcdemmENwpQMPmN81ykYpH6aNAzz+g1paZcuzArawgl1+fXzWi1bItLeiRTmT65WpFyBbTYXk/mnNbAUE4yRmhpXsijkNVaRTHBXr+t3qa/OEDhK467eoHviwVM1bW/4bNQzjg9ZdM4f5NXaYg3/ykqJHAciHjofo1OzXhp5Q0mwpHRk4kjm7lPN5wSHQzC7d7yFkVOBTLBnOU0+AJ+T/cAJ+kvbegJU3nJNW9aH6/F0rnMHFB9m03vKn1mHD/xfMTkgbj8I3EguvUaSvdVIYy5qGY6HVMgu1zCwGAPpU9f55Niba8CmjLk0aMbha6MFHj9OIYvwbYyrMzT5Bi5NmAWPkwPnY66V0VTfEjQqSMfZdmiyHl0QNLoSQYhiRyVpQEcAxOONYaeOcnlxBZ0wyUtXJBDVD6awfFZ2zT3slH/4Bpb2RVTvR1kJ5UkTxUif+Mijq0Jw51IckxiVq5Vb2/v9v5NFSg5NL6qe3+MyUIV/oeN0B0SMaE/Taa1fDgvLXe7H22Th1cagxna7tPveMRbJGjOws0yPlKy6ISud0u1mNFomqI5mGX+kUoTwq8Bv71sDF+EYVbAMbScqEAJwhO8zRdfW387cmRLvhBrtMOLJSXxm/CnkFqPOeaaXCeX1Wnuz7b/+7YwxrPkUtd+o0H1d9csIirS92qsbyrDoYyFvuQhTxfb94bV5VsX8Opq2YoP29ubUTwPfKgey1RbUU/hgEWso/WTQXUTbRYYNy1GZLl0I2XbVlkHMv2bPlTb+5lVyRo5iohD935IG+B7StOrdW1ysugPg6SAx03xbbW3TOxTWf3kHti+a+CkpGYRlVvEGfFJbRn4uohEqFTb8oj2zlHGMsNVAsMRGMRS+Qw/ip9+qanRvL4qe8TwLqbSNeQQCS4L9mBPtPxmYaengDjM55zCVoS8ML3wxpXixil41Fsvu7Mpz1etdwaHKREmIv4wzszO2mjG3krGo5ZpmVTXaaPJJVWCJ9LdL5PmmaRp4CxBHXJKPDjy2RTccLEfePNOhVkGSZX7VzL1dHiQxLugmEfuZfdUtLOEFFg9u7azvBP9YtzA1muOIWN7C0mFz2HqsyQSj51se6Ccvu45yUdQ/oyZffBmbpKVz8L6PFUIB97OVnGmHySLMFHcJPEtMMBVaAI96rmQQ5QoevA9K+mYX+sh/aIFg8Yk86TpfSOSDo8eSVDAzo6H7jZFED4dxH5eQtKoUojEktxrvhgPCtV3ewQWTx2JkRmwCBl72W/iWQgz3Skp1gh+8VKEmAA3ovWoTJPjf2jhQi0e8i8Y42VPF7HP7e+HGq7olNB6og/JN6Gmd16QKgksOOXC2oxqKC2x1JmTmtiCrkYfCo7Z/xywLABGMcotMbP7zhvR6kptg+X6504C3bPGuXWrI5Siq6G/+eRVv6XHR3WxJnuPKfPBNGwAB21wxKOPTrYhuM0wEG7Va9T89kG6joQVyuIaY3V+4pbDRSgi0l8hcZALUpSfElPOoKvSEuPkqsxAfX0XVZZtKwHauA6VeyLc9O8js8kMneC7an3AglVJOs8v0cEyrvUzfNNcYor6U35rtjoFJneNAtdYi4eRc4xuHnF9Vl6BM4A7rFEBsaIN7Jj1VnenKg00nrTm3gJWPgGD1uF+bkMS58eGmZxLKYKNoFL3GHulKZOwAgXYaGXm9FqvIqUiysjsjp8Dyzg9PC1qIo41DnQyAjq3TMe8IKozxJG0LC4g7jlCYvjRRPhsYy2sKiYlzj+DdonrOOkpGN0AiDP0G2o+qTOoXlX0J0NBxe2ujz0gXlwXEcMVkFV4qZeow/OhF0OEsWeiDYyZBUI8KY7PV8Fa/Yq4Ne2WJfe0QjZS0UEmlebw8D0WjCCuRj1EH9BN6eYKS65f/sebQCBkS48eFpsbiJ3FcHCCACaXmJLrDycigADCmGxBCqfxtF8S02XymNffNVPpZZlNyMrnK4wQ4H8XtPIsjJPMM75WsjKmUkKUyI0p5iiHRbdAp74wT3gPcx/uemQVnecFm0KVfGHtdBvlpZiFLyqWvpuSBly2OKmA3v/FnEl2bUwSnpE3QMtKoKJrIdD/ILQdJBh3K5H44uObYIp7obaa8LDVGt2ZbGTMYvauAJj10lO/fnV+5TO/tsnoBQ3DUA7zQJGRAhzPN8LL7Tm01HBvrrf9ctDup8BvdZIkRqXN1lFADAmuHMNahbXMt9bQWVtXdK+0Flkwt/wGrHZKQ6eJg/pl+JvYmk8hOXeYmmI7K6mHTf6JNylbLyRv/iaoZ5hLM1oXpZuPlLxTpqccRYYhIs5XRliybqkovV0i3//YZyCYrod+D9gwMfkdDQaZBCuZ1PeUnYr0xE5XMe+wsPIrGwkkT++8oAc5RMmPMq1Ju3Vth8Y6engNODHfwpi8919Q2uxpdLziwhkvzjcUMDvvmOkwK7rL+fbsjkl71pxyNUB6rp/xqgbA8THmwDGgKA6plv5g9NQU/qFmrfibH2CqMDja04A24QTo56Kfo4Cfe8EIKJF9wuQGHRbfNAzPmyK7bgniqoc+H2CHAduMBGvYuh1x1Ye7AD2xL0vb9I1Lk/4Q5W6dHBu22hQJNNkza5hnrLh+XvJ1gLc8a/VBTC4z//PhfCpToBZ9vdJdlaqJ47T0F60RqdGShqnoOKQ3LoVXQIogxEaRmsepVLvAbTqHKbpjL6w9/q1cXbXvPEWvsrVAXX0c7qzLubiYmDlvvdMypRjbeDhuecrEZw3hDkhQ5X2jb6sQf3s01mbKpIM+mTn0tJqxDZN4iWwOeVBvaAy0jqBhEe8yt13LTwnRKGp480LM9chJbCPSNt8NMI20+20nUypqAnCNqU63klxwMCjhgs0e4HSP87sPkGCY191j/LW7c5pJIlFQkUFWueO0j2K96xI1yX9/35toaNqocsg/6RkUvuQfTFqbTna9q+VYZaVawfKK0dlcqDgwuaNf2WUsmR0CxBj6op42bIFIhZEhV79wk090cpVd08IUNujYC22g5a+6qmliCBuKBQ+KIku7swswpYEwScl5+WcJnXnxHOUOaFDIAciWQTH92/u6u0Tuevlf50mw4PmQzIDzSzskM6PynEkOXvgjXSrUU1a/+hH9oM2EtEo4ZU7dVBKyjoThkWS4jWIPRqcoGJdx/t0uAJtL+uMUsDGwgOXOo6/M26G5ThOVQtSeYYuAU15qz3tvdwYEYs9kDqegZhHf6QbU5HPK37uwa9OWKPU4p871on95hzIL7BvbZ2Sj8/U+uL2T7VRut28Z+A8GsqzmRVpGNxld9XWpDB2iAFJCOx67NVsEP5NAr+NIFhMzaIOiK7vQquPJaIf61HdZD8swdGSccLLZB3NOnRejJKbkyaw/TWF4ffTh5u+nbdwiDhAIyIK7tjvXGbJwhmo7UWCJM8l7SZJ0Hp6YlrFmaH8VES91LDc/DOAnm5TqQGrr12C8uXOQXG7oalfRn/UNHxbfqFwY0NRG3cnUsX5Np0HmbYaAHdsaUpH1X7XRwD7T3Sk5uvO8GElY4zwQZemcACWdywUX1FQ0jR+p8l1haliUtKkXrJtInf9jsuiqt+7CBQBWyASGlp+LwSYLGL+sgAkAZYouGWRAeMvUInSCkwBFO2FVMgabRDb9PdLE+8n8zFaCAiZluwEHMrIB+E6RFWaEccrN+2wp35PDHs8Yb1PQe3UKlOpkcsGCJKotSK+GuwWa+Ws92jdMp5i40HoD07yyQQRPD//ufGkRHLqd2LR72Pr0JmmeK/Du2x47535q273OsTQHSeeYW2zyR4X/aYfNmgS5pnHpdOFRfJGNvDerEy0YupQmmU07yQtDGefDW43QDLeRPtbFro25ne44Hk3jb3hw9v0rxl4rIAvghKdK6EIkZ8ZXc/W8F77yoD5YY0iewp5hIy9uap4MFcEMv76+hd9SILcG29LoJClpQgXWvPQhHIZi9NNKzKQsJ1gaGa3QGB9loiWDO6+6q7yqi2EgumDV1kwJVKy3wgzN/532WywQTlLeqnLPIRW1yzyCoG6HwEYwS5NCFZ9sqZT10x0+Dm2DBnme0p5Lr+SbDJIUDWusQ2Pc+9JMtV2ax64jvmqdo/Rb+n8CmmKStroXE90Txouelvh03KUFQnIX8xYwFC98/qouCo8o88rsITugulVzqCtxdVBj71sNMQekYGS9gcPNcuof2rJ1MAuBYm9rlyncVrA5W0RZ2RddLxhHP+RkQ+5Ffe0lyarZ+O99V58lh5pxl983Mw6iPohszyaulMQOCgS2LXdjDGFl3efSSq8LJX+MiSKuuyuHnpA05SyAnBl6DljxIMhfi4y3F9HuaOzea7WIQuyZXYP3AaMXJfoUS8tLPP8ZB5OsBHoFnZKax2XD+zypX4pBY1Oa3Qv2pgDvPcDb8Dmk2G2ynw0ZR9nZFdmFn7iFj0Wm8gwtI4eQ41pGssRMjriCyPqwY9BZ77X+NOhbBH7lvbZR4maIvbLovdIzxICJl8THDR0W/SpGrWsKfzOINNP8JzjMpm061QjbxQ7ut2MDk2uUaQYl/PEKzg097WTkZ1umMFOkhlxIN14kCMS2Z4BSLwZ1s44ivoUxZNhWGOL9hRi5bd7XvAdI2hYbaQA7SlXZUtsVsoXCh31wYHkLmXczvOeIUJ+gYEdrEOzfvKhZk0PenL/CNcpFqbAZF1APOi5ef/Z4T+Om5LC6lxQM89kMdfmcr4b0UstgDlUEsXsFN+vZ+FPQwMvc2I13Sf5AMfUwInMnyGtKOn5ah6TZSvPBQl0HZscY6jvYeUJdR55lYv4rxpf3QOJ7DZRAOMpzh5WD2/AC/n18oC2nPC1mw76Qic+PmdvlMKTmH+ljjDbbIWOUu/xG60afAdbdWn93lmlD+q5z3XhiRu1WICJD+Z0/LG2rDtCSTZuaHwo5iNUHeivFuK7K8hEYFiGH5mhu5KR0vWDuPnG7XN/G9HjRPtjKzRuZtmeCu+NG6lpKXsJZc3iB87B+b4V3vXl9W2LbydqryyVkR5bg8ctlyUhrFP3KG40PC2YRud2aZ/djJL+C+8F9brytyKferPdk6OrD6zNPiDRMo5SE7ZRI5xGzyGpaMAIXcHQJCqLRQmb3LJldXmO5p5WEe1X9+Yb3CN3QUPleGCtM3ibaoio9zt3uFjg2QoQr+qNzQKHW1EfnN1K4Tt7blYQcbbda47CBK4cSLKRv012OkpyzClEm4MhzjukNgfnr/J+3kFroU7iKJZ42kECK37jDQkfa1dJ5vSlLA7lgupJ7TYEmAMl8NcCdzpAAIb55c1PZ2uOn9GpkaPbyQ+awCZWNB/fz/8j/J+aKZ7TjLhx+pikymD5UpX0jPhDuB/goso/IG4g29nuj/svSkLwWcD0x/gQIjfif0uVi587xpQawDtR4CnA4rZb8U2VmRCihLAAYTKbjMooZKnbB6tJGGxdfOg/31tqEC1DOprH/DiKM3I+Iuf7pKngkjiBBU2Sf7oIY/AKXvM2bbyaEZj0189Oggjb2D7Lw4oJRS7SpPdmh0A2ZPA2JF3iyn/Mt94lpBKnyWQN9LzJtnNuyu4ePsad+lUXuYxmbDoxfPufZWANIJ1Sqe+cKt7lnj7TL8mb3KDWZjetB+nufo2wGm2SKd6iScu9Dt4N0h+FYTekK6FJLYox24j4i1rxfyTWfMZ9URyLc9kroDeK9h+OVdk3rxyt7a0HRSzUdoeeHH0pKHSBo0BLUkUE1qIwtk7SVH1ZTSttUEe0hyRz7t8Ke5VvRjpKUMjkjbJodMcHAdgE3PCwYb/pUahEV/ku0XgyJTuj5EYH3sIR+el2eZryFE123H2wa8YrVWaZy9vKuJaDfPgJxDHX6TMp3xMftyd4YDeiPY2awQpa8EnOAFB1fX+Y580tL0S+Rnti40OeDOQcHq4CqbcoV71maNZ2fV74hwldKBD1BESzAMcRlRphBI7RbO3D2ZAnXLLAZ/wh7oOMS5MBvTzNhX4/3ry7xAU3FuOjqSYip7V4TdlpIeks2TOz51snrEELXMV+wIOJUT9m9YZWtkY9u+RCpVtIen8jboMPo1hbMP+PkFXbF2t3+I/2ddXozVtnVJBkI71WjVGlcds9hnZoS6c8MvssTyxen+qgpggnJnak1R6tN8PT4rb/piwdE+6Tn7hyk6++mgJSBQN0MN7VP2aHEKcJzijIqNuCgi6uuz0WcTCM+IYVkt1P/eRUMM12NIjfK7vhUPQfhokYXNAiAIIx71ZXzPGIfD42QNCiDCqpS7WCA0vfCYyzQTD/leBu6qTOAHlAlhJMd0N/PfJlbfiDkvRJzRm8rHBU+qHDqnB3A62mBRVPqvviNu1qH115fcU1ilsoCA9EohWwhd1O0PJFmAQsUaxFOL1F0CQ6WE/v1EApjAFeDtaiFmy8kU3STK8haqFNC7mBfnFI7z4xbcGauYrYTGwBJSwImEgYLMRMoRbXS7X2sOcvdg+ScxzlQs+d83/E40DbmFT4gJzkJPRIFGY034TyxwHLx30TYHDjB83L9S+PUhAgf+8/4PZtr2K+HA56OL5RFj0fzGuEpWP1r/BTZZHZrG6VHPrs14GP7EdSiqy2yZBYEwn1fjwQcMDGDBHO1JCdChz6whEWQbBSVxbe+Onlc/bGfi5TtTC5Vue2eHP8Q/xBg7SI4s3RU/aDFcq1Cgaw5LLhPnwyaSphFxgDTyQGZOev7DNzQsQVvkydj2pnAjBjKgOpSq0PcaV0rKwEwoL8mfrRfqvpHRK6hUcHo9g2FqsmHD/ekqD3E9zsRoj0RzVq0sogaJzr5DKKpOmYL+89tdU56J5vtoHCLxcR65CewE8KnFNWVIhlAoeMTM83oK4slt6JRD2QCk/idcEidagKtlfg9HmN/TSOdqx7c9fViJIIKmbLfuIn9ekXNfnfBmhYBeN/+A58CrJcLMYljLfPWeCOHiFoJZBMm9PgZ5NZxteg1qSvbWjRTFLci+2qkCxdBR8JyQb87RU91g7kvHRZAFWRLF0bspTPkaaVCEYKDJDXGiL7K8ubBQpjlBMOSQtjFBguW1LBdx5YbXPVtj5Tw/q2amAqyeHxO6nJ03JzamdnWe5CoMvAntqaJpwQnWcVQAj2PlRqkjCktSLTtHN21i0bwkX8FYxto+qy5Gxnuzaaxw2PxkMh5TmEKiSp8d+BTmOySZR11J27kPyQoI8jlve+8Mb7mu15R7TCGZR6Q562SP56F8e52Z2k8Ywr6CMI6efmWPMkt/S5iC+tGFUrkxfCuoTqDOOVXxzyUYnnugG3dYHTlDGoOSopAnA18mXXAgZ3bc6YnfRl4z2WrcHEc7jdjNpeR47GK6aW+Ej6cauBSe2otH1jt3a1Z2EkY3XNKVeu/3eFYxuSKbboxpOLkt3foCC8Q0UR3ifboOsqOio7hK8iZF4bYjWyizjinBU8EJCe3Guteq5Fls0LHwPf/Uh5yOwa3+9PCBQtniB7erq18kpxwU6azm3D8Fz2tL4K+8IF5muRvsKov7kqfnyzq5OyDKREJrmJVDxXNSg7eFkTrb1SKTt9CrsHUTyOyPeGbJOqXJdhUHCN/tHxPhJxmZVMB9pVoNsy0vg9Qklye6KI24c0rGJ/1zmdlTKfiLWVV6WPwfBlUIImUxop3q+JTBebhbyGudkqpGYxuzX2PWdZEpnQi/ZUqe6L7madxQkDI5xag14KXeUcg7qiI1EDc8EBe0LPbcvw/8zm9zhWbbefc0HST+/HkYPzyyZ/OlHv6yE3fztFCuEzE0AQb7d4kiC+MR2ZAgJKsy39ZqO/qyX6K4HsrwOOy4HouG3fkl6VYSf6I7Z7ryDfAMHhhGmcTKt6TF4H5qq8IyAjbar8+ZNhDgGdoB4r61EwH/xMmbwpqjz1Xa8w+tfY6RHEuryQTP9LEazg1v9i1jd+6tu27xTqvdPtLmXyAJy7Q97ViWXbdFuTRxPdl0XEbspJ7AkNYtTz0+3mGRlZxuqhrV26m3ns4sVK1phl/RhcfOOVpy37STUDOK1/sq2T8sYo/NEuIc0yR4uV6My6Kpj2AJiMYJ+eFAZ+wbk3k+bd8jzZ74oUbUGqcOWP6iMwIDYF11nke2b4qlSHqtcXqgN2lFrYcItO92+4c+8fAoR2cE2VGahta7kECAa5mBfnBwcOd4SHZROEBmRb0DrXOR6mNG4etO8tqR80+um9BOq2hkTqyHfMGU5uRiBhCoLmzJmfIF8gD0+Vc7GpKSgsqip7hZHASkwjGZdfZzxGu6Y1Z+jbEucFNgukAzB9Bf6szYqUnojEpt7a+5D0rH782sQVdm16HJTHcSOO6usDYELycrKX5CrnJwWTzqucx0BRG09ciLtfmaZ01nyoZg914BxO/hQeJ0EqnCLY20X52/bLGy1uJLq/37ZAATwh+54PHN5e1SBR1ZPH7xxNVQ3BHyquR0w6hE9Y4DocRzUMtj0Cy1i/yt8n13hROGWEOHIS6yDPw+ztjPFlUtnfj2SK6+NvEax/JCHPN0Erc4cnsEr+Q7b1NU1E9Ps9e9IyxW0Ug2+gdnlxBJ/EqUpPMVtvHHoFgjq44sDErMktgac+bec9KK1AapVpa0mSR+LGviKXVkE0gSYgg5QwfqMs2iZm4pbPQelhFXqOxvqknuqlw7EGtX63b8BtC6MayEPObnCkA+DJz3qorUW3pZx0zmLfmfh9KTDMbZfvs+KVKp8My4eIkPMetL6ZAW/x6fM5iiDGLqKIZiHyMKvCkVLh7NkuZFAbi2aEvRsHUDghp0+nN/KrjTlkDcObI+x8Nmx6Um5p964wvwY2B3VVtAaU0yl95F3CP/J7yh2QKuvSZ+VDU81kGCjqOxlfKD0Yx5SSYEtU48JZByppbTKCvLigRmVS4lrBGJwlr5m2luyDV5twZ0gUKEbtDfjiOmtgx24R9+PrOZt168x0juXc1Hjq/L2i/zym1XvHLrbTmg3HqR91EoMnIcEBRtMNA4BYIxMktVkcUR6T8RWVosgcPjDq/XVOthTFL7ahYXEPflRLY8V4O3mFfEPKaE0BoLa6Hrft3EuXjVEArjounTqu3pQy+SOAPYB4LA1+ueTmaBsqby6/R9kZGW5pgIOVRNwWwSOB7oPV4D+A9K/uvT+DOS4bG0PEkZc1d3PbiNdc7/Fl1zdfkC/sz4pZqqkbdrZwi9TbPJ42T6fdyC1IvVR5YcUgpLc4SeoDYxns8OJMjNcuVfbT4Hx0D9u5N37yowKnxVx5XvYuvtSc6pjV6vU5jjVbkcOQAVE/oWyP3AXc2+DttitJjExkVFNZx6pv1rluLUPFzq/Ofm+jZwqfmFr2DDiZAz9VdgxoecNOHwXRhY21yhAcFRVRMdl/dMZ+sC0zEVI+/Ll3W68UGY8gFcYZGP1WN/ZJWKT20s1tPJYHQRIhmXiMam5q3z1omzZHMDRqGr3n6qn2RFmnqHSMrY8FHGFaqJoFfkvIiCikYkBfSVJNXFWU6yaxW4buhZRqWSoAzFQpAy5Demuf1+gDL/Ts5xyJq7VFWeHKHtN7VgMidtrMvIlcpWbHKnvhmP4OZHgP4SNVVRAdX7uZeANaz0ewmvEte33CZeU5mrUfdB/5Q221q3U2OOINifRZ7Xw3ffMD81LjBHfstj5sWdxwA3JuMW5bxCV4E1LQN/AuSufZjPTV5YW5NLmZskPjBR8lpkw84d+vMhgLmId/Az+oZe6sG6RgabYOq59UiQSDjGBiQI8VaN2smsmtEH14g0qCscN/YbjwOIl7LhIpBJLoINML6tMPj/W03xtT2th4enTT5dMq1qDooImE5UykJZHmFBe4uUTow0xR4KZJ797DLuOrOaBcbFx2hdiHKA7BcJHWK2gMAz8DHASPk/A9nIxlPWLa/GsTpXJ6DcHsmXMPbvGfqpYu57/RWc6sPCUi/ET27Z8XVWe0/D6a0J3chqdaJmBr05/YaMagiSoU6Lik8XufN5WgbpmK2zd+UAk7MDIAytcDA9gPZPI90pl9DLJZnAlNNvAsSxD3b2MkRC3Oun9gk5qs2cR0cMaMzA02/8OcxCDfxF4E9tl9rV2wF+reoSMGwDz8fe8G6dEOd/e7vfHUZD247NvXA+BMjeICg06l8gMX1F1dt6KWFCrf0MbAzrlmViaenVTw4/GfHlBQGI28xh2ohdXJ70FM/g7SJN94j6Y2R6EvuEeQ4aVT7sG001M0xDbjIb50px2eXgw08ZvN023v8mKUIEgF7YuVfjZjPsPpMPHS0B1C9Kebs/W+s7MfI4/J8wMquL0T/hX/RQWC4tNS1ATvQn+UbJeHxg5qZIzjfAqHZWF/UwqDQS1AOpq1XeUuj+9XVxHCSPXVnzAqa52dfXm3W1KQbzmN1AD/bpFhJEruAY/7R4r0CrmhgQNAhfMPRtpRRzTwG3A/12BY04HED7TrUKaOjUz/d8GoAiCnCG3CkvwC3Lw230Tk9hpWFl8/Ps6xTmVWB3l6DihiBLyhLJuAS3/J2mDt6LQAeOrAGytnT1yrHFC2O/laesupmMyzYEnxCGDH72UtF1zp4JXk8d7OmXSIFlRjl4H9CDnKc844Bxw7akVfzmkiGIY7gZAT8jnZYU5uEFdmCXNPRVmOz25ZpisQw3KskmqnSlbW5YXJNAKqBafPyqq//0WDxnq3mdiJQ3LMGh27Teh2FOnNKjcI4voDneXSNkdMBKQkNz2G9u0JRDBH2EImiuJev4CVyMWqoqtl/EMd8Ffyvuh0q8Ev352eSdPqdMdY+AskTfLOTHn+pFfiSM3aPbHw0wT4FdeN/C1ehgPASSe8FGdtAemnrxVCJ6UZE9Ue5JM9JNfZEAgjzYWBqx+Jhjw8wDUpywLzkvL3um+R44G2575Wial6xOkDGBtRwg21hlq7+t7lM4b+GWgGvhEM3ybNBS1f33xMNHrKvVXKr3Qp+aIOZWnBnEln7z1iUrZStiZ8aljFodcGTXPFK4BrtIgZpnumLKEtSW+AH1xdDdr51yjGNCdQjGcPF9vUnlrY8eJ5Z0lC5jZDJuJSbZJn3WopgplUXT/fbYTCnQY3lgQR1nKp5oxirYYEBXM7GGLuoyAYDcctUqmyFkGXhi3vdsfI4cD/3W5zOsqTjsWrgKiEB1mkUmIbOXwOi065XeGlo3nro4g6xAqv560hHZvY0GebdFIVlW7YJ26i1z4+Hr36QGtXVQqb7qMcWl+18EOacyCCmi8ZkAnMlGLHTa3+czcCeGIVeoEBsRc9oRxKPj2G+d/myXDRgY+80EyCuI+Wl8L9Vp5eAyJuh4iLp/IfBopqVn4hJp9Zxvt5y25Lb/gqvB+zAAsUfHYS7q7vRsg3MV6wbKw/eNGU6OT+PfwPbV/rSYU/wcKkpTUw6kX4mSBFxyEkIntlxrv0BqNsE7XjSaJXWqD7yi4U/uWTkpyny4FzCR76GoK4K1iKahIIm/QTCesVM/5DnBYGTAa1Fokh0DDSySgADjWk4x5pjd0kfASQowe0KZNNKr7XI31BeHvgaM7SHckEHXlY0fWqvgILg87cSPuG99IrA7zkdCVhBMxE+H1Vo7y/2Iv2a5WmhrbGhjg9h2ki0k2eyiug4qLFApAntCCXro+1YsQn917V60ZLjogepYzMIFIzn8GGD5QWyHtW1qwgomLD60UrNxjl9MV9tiv6DuuTAMHsAhR4H0Hy37bdGjewYcn5aZinzszt7xaqWp8JsTM0WNJylO6ZIfPBP7P7UUsMWDkREj0rWfM8uDRdhdWjq+MzhdfiXX4+mCCy8j/LokZ08WXEq4eZxc3H0EWEjpF9ffro1YTVU7pt9J+n4Sg0gRpZupFVFAdun5UP9gvza5AHU23MoHTKaV5q/B41kQvFx+MrzaI2Z9tzgXj8pE+ueBw7PcRMw7W4Y4wlf6FrqrPRbw8WZoXueXx+CJU0PBPVeiMch45Uk5AaQrJiOpVQx02guleaGwPDCg4TkRYb0i6S+eB/Ee8O10NmNMG+6BASSQL4snyg487Xi//mHGAX623dm0W37dMhOSGo8gR+XWDIn5xNz2RYZWQ2GdwO+YF9y1Xstm5b2oJdtWOAzQ3hsibr9BODNDDe7mI/lnJFsogWqeBv7UFl+BmwsILICMiLj9CqGPqBP+0FtOwDf4CSV2pfZXt92Ls9rV+lpzbCp+w18gdrT9h0ywbTFck1UhBoycHnO0hAoe8virrpDVUEIj0me11PNsbfJAagb8LW6ZsZQHACeP1F+mBcQQ3wz/5TiRfjBbzfFCh65VVdKXuZYjoYoNPEkCjYk61SSvZqxwHLINApcgOyi7ckju2tmRPLkxHT0jNIAgDd2l4ugGip58XRdvugnD5Pr0xbV8rcP5yHLOyFiEDaCcFFn1BLFHQMqRiTAfaecZblhEwJQa6H8qW98tDY3yIt9ngN3VsfV13m0+WJw8K1SiDFP0dkPsA8iktGrmNShC5iK7UILrCgwor02E9Hl2uWUo57QT5IWMB+cgAKgS6FTDwGT3pwwpSBfLVmWSx06utHCycbWLXmv0dSD72/weVQYveknTN7Fi8F7OaG7twcicC24JfjQJ4FRfCsULDKO+RNKjVYMMPLzSh9PAXpC1rPhKUl9vbB66XU4C6lTLatYVOLbk0y41NastYyVVv3z2u6ycypK8SY7+UOVFEy35NA2vYUDIEWTaUcaNB89+l5jz9zxVdffrrsjN2BzPhV2MTEo7gIpYgbS79h1amU2daTqN9DUeYZUACJFrQzFV9/M71SWFceFyvZychkxY3+rZ1UJxEb4ePtnQjWpwMSsfOzI8dcZhOXdwjRVDcg7xA7ZO3b+OXBR6HHd0WiFiWychzKa3B4/DG0Ojg6YO0PKz2O5+1n9Tfj428gmcQ+5LbNCDu+jh1x22+H6A4MqfHb+tsqLy6YvOSVThLlm8fMaGI6xzqmvRnUHB3TlUNjMUSyXVbtuA4Doin/NjdcxeJepSXPj/QSrioIV4FRkvGtBiRsYkni3s1gHQJ69l4SaVqpSEoccQ7qiCxzOq3K1lo4xlgOz+aRBeqSwGJW3S1tJ06NzswpPaASmvoE7fFCsVImv8+H9U+clEhFoJVsh6mUALnoY8oVOpTS+ssRh7DZH6H1sGu4ONMxZ4tY/7Tapuc0FWLCTPJ7zkHDbaxNL/CdMj9CgwxgZEYc7HAb84aMdnXkD9l72uvbdPSm7mlY+6LIgj89cKatCsViVwHaE7a/z+iRIRRSvWFGzW724Wr0yjlsHHqRr7VLBNdEFU/3FfdaCmV6aPKrPrlY+nEYm0IIBeBfIwnE3OjlqbcU2VMeqS6r+yh/bpHlzZj+Q6cG1/lF2VL3dtkRJd9JP0THdBxJ69irkAtc5vEPyBlXgZ0GPsBCPzC9toa+SmMsHGgVd9MzQ3/wexXt6AK+JciphuLJ4KyG4wPs+YOT/cSkSRmOsBrAFJvmPzkzL3GYRo4yWYqExakkRxtvuA9NiOahWUDoh45a7g8Y7BOEdeHxSyF5o/0xX5fVO2ymKnq2ShLYM+pBNpqHFJWqvBWYETLv11ULdqGObKBEI6uhdhC5N37RS7Dk0ayYTXsvLOL8qwNMHhCs+9AeYdy3IkeAnqU6P9Z/540NKrNx4Af6RlrhKsT5iH78eCdaekrvaOeAqi5s79naVS8nGgXqk4oRk5Hn1p9YDtIMdopdlBal5TUqLWQZ4G0Jv6nQsU+WGV4kB/EzgW8ElVJa0SmJv0+s5hBJnyvJRq5+kawcEDf23LSpxQMKmiP6HTbHVWbOVVvydV02ZpxH97GhnGCtrbJDK/XSXQsOV3AtQl0Xq3KpKjbQtaKRBDuH/L9CkW8GxhjusZO3a5dVSujjKDvOuFSZTFuSag9IiUZe5GkS7QXI94Wi+R4aOSHtySQG5S9PbhhnmXR814lY4kEMaebU8IbpUA4C87ip6kk8KxLqsCPlI5DX8HIBXHIgQ0Jia4/9K++c0myieIZauYe9gaUSiKaigWaP0H4lfsZECYlFrYhDj3sf5yFavGmkAfwTurGZnwIDQ8Vcq31HLmPRpknmqtFsnaPae3uo3BKntNQlMIrxJ1mN0v04oK4Pt1hdNYDnKU1Lpzsamta0xkSftiQlXBq3W5U4sMLASmB/q0oG3DP8jzw6Ahe96ckMqH/yfecLFprh1yy4XvWWsZpuZTmLSQ1to8Vx9eAF/bGzRd8wkvkboDM4hUeH2Ws1OdsCFq8sAo8HuHKjbdRUgh5BArKDFrbXxtiHVrDnSfQWpijOb1qdIv8y2JJOL7cBbarvWIQZlDPO+W8BCAPuC+QwFPK92aU5gs8Ud4BHR2xRfHh84LNb/Rncrl3nc6/2X3Wjb2ekHfQMKvvHoMzaRupMOxwCJom2nYgUJOUf9cfzwDM4//xtRmV2gc0pGXXHR3iXHlR0jvd4uwYADE+esjI/cfDewzCBWmCEF4j6+fQ+CcR6EOnjYNDtC1SyRKZMRWVKLHWM+Bkj5L3MOSA8XIOnaEXzSyjD7Us7GzSFOWG33Uz6hUqvSNFw2aeVfMepeYnxpVI2PcmyyX/ppjMlk9IIxZ4viOn7FlVvPqKHKpEhXGFy7LXHNOF560eD8C5OBGVCB2HAFG5geflv+J2fDbP+q5CF6XuMFZyKG8JuCWMIPLVVCxz3XaNd7wL+3D8UGPpYe/piyF9qMjEQwzX35rNz6JC50ePgLL98nroQudXD/QgsHr8N/hl9Xd2kO+GThlKo4jMeslHowIoMw8EXP1ccJpCSPDr7qHFGxDpjB0mEnOSVXOSRRnH3ONH2KWIj8KTMuhVa150yM6C4Yn/Tx8MW1y17nAVN9ToGQl+v2zmkHVOE6NSHJUuTkqOQNTaVlrV3DC9sNRkeP0Vbh7jYPM6QEdAPQDAn8r1xKnUzDcCg0BegNl6RsGfopOlLptCDbByZCSqfQOydu5IB2MyWCzoVAgS1bmmFAzNXRwSqRDcO5wkS8+Z5dcl9RTtg5lCX0h6iZ/2Adpzv8bT4UeubMTHk4YRHfVu521kSTjGAE5uj2uALx60+13+ph2uvozmuXk0K0lYzaGJHtiCUyrU7aY7CRS7BPiDjGIE/B3cBhr7FvLlqcPoan4LqiThSRxPUN8JO01HjvfMfUkWKfBf248x+H2vNEG1Z8/mhcgTnyHRON4D9dRNWk+uVlAMw5p+KSQPNN7o4f4/MKqIXKkhwb/dRuQNBxJGXQNXzvwLouLSz5W0/JxOKyoQfdzQbwvE6eton191iKZy1riLbJPxADXGF+mYMzJcHgTe7tFXWmKqdKizQ1RwceZWuGUaJhGJwVtZwktpfjRtHjwzT9VEsOfhDxYqOSYaJ6U8W1P0wQvysehIse6gHcwVIq3YsUWga0xKsnRpdgjd6lEFZkBa9ib3lH7X0Td57wak+3BlcRox64h/KYROUIonyCw7/NkI7i6zYERBBjYfDDiuEGUxNofz3tyTN78SezjNspM/cM+FYoHQTW6r1OePEf+sdR6P0NaC0uFgILCnY2ghZuXGve+vyhgIGD6+LHyIGoshJOi8csU4dxnV3MHKzQK6jvKJiquDGeeax7JYr+yhFPVOzKjApZR4+NAe0a1bWS6G6Gv/yux/2uG3AShCmqoJp9PXLHTE/Nriq6icHHviSsccfAfKqnl4aelVUbu4buZmqR2qEojz9pbONt44gVXM8gJPskylAMwtdjdyVVU70rnwbGKQUDWkxijDnrz8aGjo79KpVEu7v8TXIDvv94OL6t8TtKIVgmwzxD6ke2wiXDWbIY91quLFmeJY9JTIVS1k85V7gItMektHMffrhUnsRoQtXIwDFWDw0ajswKb0utYdzBOTd3eUB2MT4rO91uZvPdR6G2AVHpHOuoEZ1LCn7HgGsXUhvz628sjtpjOJChdzEhNUt0FaUewe88VQm7N9Eer5O9SwPicq64us7GR4pkPDstTF0AFUPOdQLJ/83qaGPKKgK0ljfjQoVt01cN1X2ibM/iegAfSwO/nECVhSDoqrf8cmejGbm5SWF3h/4moBSxT6r/eFsGPhOHZ4y+bi6tyiDmZzy29++zTvszg8A7SpaYaiYJJnjprI4FoKXeEVSfcxzSsm8k3vaZ2d2BLHpUAGAlwb4OdlyFudTG7FugLKL9gZJinU+FIw2Kna9K3jXkjF5adVxaK+Z6Oyl+swdC1ofZT4WlsZfRxxf2iYHi/ElpB6GVwbBjZrEmNM5M+aEpp1iQdVW5uUSmk5mBy9/ELDiYF/fGgpKWxPxOXAPWQ8+PHicGM8RJVqReaSnKNwDfdwRSYOeWl8ZZlBXer1Qa7/qF01bBAIVuhqVA4Q+D45/7Y8EsB2KqvUAjqsaJqo4gDBfw/J/rMQ6x+v2TSzKyz0pHYyaT7vDmT/aqbN0KbYul+c+89gOv2/Fu9V/LAWCDWNzVcn2Zo0Nc3zgQ4pr/g1pK1TApCFN3jXkToSWV+c/nOvTcmzGRyIYQeBWJME1BzfP5CnBlHegK97Mn0PZtQrAvTS+04gF0TNvttvRXxD2wrPYGGqmamvrBkgqoAylmU+lNH65H7RZPEopvpsy1q80D0j9pevGbjwHyp+/yBtWEsRTCbrpb+pICmApk7tnIR2WH29Q7jjwI1C7W3/nxrYJWikK/oG2dUfAfdk2svTwYdJ2Ux3Fxe89eLi4bwKoI3SsfOASWL9lBpt9/lk/lJdQNeupSACY2rU78s1/lP5B3xDw0ZJLoY3ERBcPdOjw0ElKs7HLUPizpRq2UIkrCT9QBqgpstpVhaU+v+inKJIorTNIpI1bRSpuRneE9RnZUMIVLTN/QL9y2Wj2VwpwFrr8NeRo3TyWC+nyx+40rblf0H4BKECHRD+TExYZMe7Pk6uh4RORtJ++mwQ4SiHFR2jXr7aJQjCKDZ/RntfKO/dnT8pGqNNwuJIcjkH2J5gbAHglQ2y1Tsj+uw9y/WScvymxgc2fs9IN/es5qFuJY+8esGVY5gmIvYLAyvRzoBPNPAwcH28oGlvsjeKV4lm5dB43O/Ax88iC7svJizeYCQ0le+78ZKsrrkDHc0EgcI6pOEzmz28PB0xHw3/a/7ioZ+ZcQi7iPfqWslfGPIWZLqMwf75zLXJQehFUsFdfW23TsPJ/LwKkfS8vLnQhCBphFo0yCYCMr/v0xkbgPE7i7rYZ0TICq9R2myeqW+P62F4tVBMxB7DbnkxpRfyJi0Ve/R5t2YzoXpG4M4lzQKBEYWIeD02GZNbc+IV8PZlFxtZI1ey20tfTLZH3vjahYoomGvwHRqVckdVa/OhUiBX9/ihSVVhxBCIf+1danBy7VW1gsZMv0tjDkQt60DFjGuA67qa+sxxpfvTjWHM6AMLrQVCizLVZioZXAe+ApgccbGfXxaBCC3R7olrKdnxr9/bfSxNqPDWGlDxMmWYDNoncnehXT6IpUvdRd9xoXAotWfuqptEICv0M7p6G7jHLvQSpyA8Ezs6JKsN4/sTzLLPBUVmz4NMHxZYdSRYwOmJIHT0BlE6c/CRLo90N6sXYb/2ERUui5kDOSkKuOV98oV8m3XmwfeUuDeX6hL5+x9nkd2yNGLdbRO8TcTpTTrNd/Q+Jwa8ZtvGF/b0bhUC830hHixV/BYMmLMEMk0w/Ih/7nYlz5aCq341bG6hhl1UxfX7e/25kObaFf7ZSxkOJD6S0iwuqKtYYGVKmfUeoVR2LgsDR4ViNOlu2sfZ4hWxyaFtmJln5t+aWRaeR+uP85v2PQ4aNd0q6pFmkPqFLYzsPtlGziM+g111qbEcWFESyU/4NKHEaMRuieIXyTOy9bP9P781mG3hTNfoVORTox8gHAWbq6C5xr7+v7RrOmoaBTGsnqKoiXR46esaLQZu2uGcWaSE0MX+aRg3deENCfWc1NExp1eTafb0VkO/knshmVaxvGTgz5WvSfHb33ftCxhq5dejvgvvw3+jP9jI6gIyo532fOX+g8FRcc9eAnk7CIh0IAiarVBh6IM1srxe88tqknghKN4aW5cvsh1HpEvTFj3R6Q4S+uQPbf+E2Bl+tdi3GwaceAwD5Npu1aSNXwxgPY438hOa9d3codzI9O67Bz+SbVDRSSbQLVw0geASFpApEY6930mfPPiOLlF1HogZUrAJpZm08uiULm2vquCrnHyv9UcjRnoHwrXFWYMBGstfhUEvZHgNDwizL3AmRtMSox0iJF/s6x90fFmc9hLodnfIS4Jw88Fb/zh/7qZth1TyXhRlcvsqenNjG9+qoN+YlJv8BRXpraKA7vjIzLUaI0ajED/NlHgWbR2SSBf5Qc16BBLlYrNKX4mAkRadYpXeJEGdCuP2a7AsSqvOL9DYwu4hsiDf3DYJdF6p9omLPseQi0YFKLh6sw3WCnQ+BeEClQqfBaQsP1EqnxzcsPoGnc9ArQq6S90jjg6PPfpNd8v3PvKqTn1ElwWl99hr1seOYPFdusTzFXLIDtHNJmvHNPWKd8bQ8UTmDc5y+Q+SHK3+lTivvmaeXW1A/nonnGOjYU32ztRtBjE17eHQzygFDwKdqBVS/Ru0TcyLX7BpDNBiBTH/ytqy4Vc2JtbFqzWrdCnTO2IRQqB3/ZxP5s6OEe1WBnjVLAbePK1hrTo67fn/wIlLg9rpjbNmAe1CpjzXsSS357RBxyQy9d/keygzWZmCZrR9zeNF5IDruJ/SkG4Rzv4Scu3FYfaV7aiklJm2sDjCCSxVVdgnKDxYllXdfrpeQ4bT2/94amTjvUCbRYrAkjRSrGkjPprSFeNqjV6GPOA+4HpQaKGc1aYJYZEqR8RDlxVzsZ5IGwWrSg8gXmPAIz409suNjtgSarfq9OC0ohoqEqENtEIHp8Ln/ggQTKtLeVTvZF0cBJAbA9VWKmJol02oJNElcaYRmRuLnaiK20yr1SMF5j/kcknxxHMSauFvfIIUox9feQ47MDp4RcjteseELKcaBD0YTXPmbRtLcuHH7dgK8i33BphVPmp8lVjQg32a24FHV8yCXmrP+ZwREAXEEfEMtrx1++jDQ1XB5enfP0J7Po1cwIGs6ykb0fqFig3obtUSFWSn5Ng3LRU4VeiJaXUqSXE2l1lotx0GGqxq6y4syJBzO7EY7em+vzBBsyrc2mmX5p/2vCu9f7H7vysGceX/lPpO6ndLtcTOud6AQSh9f2kfUgmrohhbrpRxZetS7h8Y0EWoEGpsE7Rf3VIDiTNrRAH35TL7TeG3IHTfMH9LivRiQBILa6cFXT4IYVdmCNHx2CYMwqYeqjmU3Tnt0qipmynery2ltMxPg7jwq3kgigp32in7zZz7GaX7TuRirc4vTDc+daZ4eGDe1wfQkEBf0p0LfpTwK5Wo7LUVaa0tOs82ExuyZIodj+HwFj6lprng0HuwlQSWLSiZtK92bk6C5sNFVxNsNaDXCyzHQiAUq7UB8yufSs+EvC3JjQuVpLcP51DwsorcUa0WPg8zwYV7oOPADMY0bOAfGWhfFkdEZ8LhkvQv6fv1pDr9PWAg5xhFXUgY8m7aM12KRNaG3DTyygVdcFAO2ATtqoZpq79uKO53XldIMZpsre76Hr2ZUNmLPRTR6Ldws667QoE8jfS7s8ie57MBrhBwxZV8pbBWxBYSXYvi5p9s41H9L866WqLGhLzf5kX+Rq/eK2kx3yyncb0TtJc7ojzc5mxdy2hrdu4NMZCrOTOONzCT3XMOfQE3n1T7NdMp2PJOhAHn05mDA2RuxgtZU5nOEuCzyb0FrMUiqTukarkyapMJPPVI/cuvkE2Tspra7VDfCWgD0Aq+S2nCpKbIdvpJzsXMi8ZD0fsusI2mlQ0/71nd2krg8wG2ISiaPJKD2wrY7hh1GSbgnFnGiIYy9oTACqrHugBESHRhxjGeqYjv11UU3T9i1XxBaRQb8Kzms1xGTz4oBNIs4gq6r6CXyppG45/ugGHe6RcGddYlgQ1HRwAyiWQyAJNVFZcVHOd1yw2eJZa0qoiI+ES7NLrrBMeUq6lrr6mtKI+WH/11ZkZYZUzZmmZfZI2PYXz3mXLdMQDchrpKW41qffsy8KEwD2gWo1AVnbKKRUqH3WootX1lMVsVZ15kA521EamzsdffjiekGMcGWb7TZQd8eJkPQMW3YV9q9bPTeY1n4I4wHXccOu3Zb7kkmNMDh4a5gNrJ0BC3J4/aHU0kdpJ64ER8qxX//sNMpybvd2p9R9C8jfxArTPPB8WVNOpy4MsaRksvG5iZjK3YZFAE9LRoSWA0eGOWmvoIejBP+5pU3hYtP1C34QIkA4ZrUkwzsqi6ScKMzv7iwmE4Tb2I7hMhLhJFLSClNAiLpBw44KWtThKlZCSAInpSXKpkcwu9IuUqetFlElrtqmXGJNmx1tkNHysxKHCJygLb1SNllVAb2qgkXjIQpaWRhH9JB1ZLViopPVjq1VmzzTMgSR+i1tuxdZJ9VnbhxVMiUIdBi8pZiIee9rKmBnbmlI8lc962s2iGsyZ7mhCwVi1JZ2dZ5vM5T+fBEnsQVJ2B/yMkqxBB2irOQ8OM/ZnwoOhztPSK4iCb2b7g8a7TkhN3wwltHX6YYrEv60JyT57HDh8NTyWdikxguNfdgFFSNAVaLcqq8uojVDzR03kaLgevzpdtqDNmOLcPT1zg2Cu+MBY419Cg78szLrLM+sncr4LNiciPsom/OGrUn0iDCWHi+86dPgj0v1wCCuku81K8S5td49EPZV5PCEXdF0HVsP+bO/IF9r2m0iGCm9j8sdm7mF0m4/QjR6kvMJ4K6Ab4OVO7VdYUllQp4MevVPGLBtRNuwGPHLzrWddS5OBOu9Xi6M4K3rpAxKPxbF25q0HY7oqECg8bMFF8Zdwxas4gMeWqQfcguCbTteSs/Lbw1C56pcASg60uW4fqHxULaABWKX47F9hlZydbGfsHckfGCqKVRpzCiuvfdyI9fhUS4Ds4ee4vS4Xzl+pJe1cypiPSqWT6aKAv1g5wyCuV1WtrRH2cD2GzFNKZcInJ+oEHs/6hXr9HlqwLf9IFX5MgE/drgfhdTJQMEq5hXFW+dIzdzB4kNpWRMV07zL4UnYS41Yb06w4bXYvP68ItSiLCM31O+u8jRy2+y7lNLRgFvUDfItndJgaRqJpPVETDpVubnzQTspxkEsR+U10VCKRnis2WQUYQRi5JJs2gTPB47HvNyZU9MvlYtEYK+NTNRpv/TSsT46Ea3mxojLqP78UdY+EOurh3TK0v97nStA/MCurliJkfxKF8uyImvBQOr3k2Gs6w4QnSjMxubDFbWBITRuSqNzWYsVU5z8e4U4Q9vPgzEtW+c5ZonzrC8nNRxfhUJVnNw+CDvZWE25IW4nbKA8KLV/8GFYe+gdZTigpjYIAN+5k18+ZkuvfyHcQyzLECW1zuM599zyZk0R3nXCnVBf65o2f4faBMwVpWEjbJ0yzG3Soyf5iIAaz/l0I4vf7Nvjye6Cqy54SxDfTdVMlGajB4lgrcGZCeC6v6tx9TT8MDc3KfvxEOIxLf/qdqg4Q15vHgEvHVtRsFVE4v45ASKsWhDL/K4ZYdHbatRF+QRXLIZFQIGfdpOihSgr9RFhSzEaFsc8Q4YXP0e9ozsIEPRT1ypFEAsErxSJPNAf/5UbHjCFdLgR1bNBCQYtV9zGvfD3CoEMo+3CVeZ4BqvX4PoLK7smGSeIPpnCVqz23ycMn+8de6aaB4afxOVYOYRDrkvbJPK5FiQwIoZRWatvibctUpGTVjyQnyZjqmyCoSZaxaOtLRhX6lI43XF61Je0UWsatHeqdXNqD5TPS7r3+vk0B8I07gyNF8afcbTsrZ3Nk34FWHBm+towuL5aCwWnTAbaoQim9YURcciQkzPMK5b8xZvP+gVLxeKtl/suG59XNOwNwKdevphKgfVAUNo6vds/BWwzwY4Cd+a2mSDCFAxeNjL2ngvQuKg2L5Zq7w5m4iya+GT7yy3JsWFvNoT/ei0GooH92ArAnxu4OluJSZgqsxRQWNGL+VIqMDeldxIHcUn9dgUqkW+U+G8C1im+in/szzZW1++EXugrq+3Ow52KjNbMWX+yDu2yx9oa6VgSzOqb3yyExlQALJan5TQy8h8ShGMNPopuZDQKF8lwIURGVh00aU/3saS0Ugn3gKVlzu3CUoOZvIfTK2/eX9lqMyzE1eQI6ZhOT7zAuI90YtaHOW3XWZkxm2j8sTT3iFIfBtD0oeR0S5/NEnjAlU+qSen1cMIWhUHkRPoh36F6IXpJJvAtYwBI876eq+C/kegkWZYrar64E2fqvAPEIKx3LvmBiLQrx1VL0BlDcXXbaGzRiV85JALb5qdfcMxjceZ+zNUD7q9WX7JL9Vf/2yn/1zG7IuF5plALebsvKq2SpP7l4axZyLu4oCQdqyNZXQ86jQKxgZp+jBA+SeeuYLWUY+X1NYS1RHHcH2zXE+89e+9poyXHX2LUBvz93oHclqNVuaEKGpGMvVkDpu/JiTrxjV10FNbEXcKzGux0/Jhpd5e8M226wO0S2/Ryhl0spc1RhVHqtfYqZLs1gwNKQamLXRHKUNBGVslV1iq6tSU1mkXWzx3WoUK5pZP02ip67JqiJrHrhF79HT1vdJSXABWCCFYBoH5tya40fNpNjkS53mB4w6drYBhXzSuzVgu8y1cQ/Xt/S+0WHcTLk9Zka0QC2pyhF8nZAW9am6/P/v62dsTUhiVPvD7cxBnPPXsL+5gN/uvBtfaqzmFz1nVU6I4bKeMzqpMfCrlULWbQryhEOPj+w2JTwztPyx2h0jw6Fw3/AUDUKhs9aTv4aHzPHP/UBm1lCuwyFSgvX9tt1c30qSlG+IxRwMP6simlXLbd2E3sWWPQLCnYEmiFm4oyFzQEOLWxLZ5IHJpySi9oCVm8ndKnTv9NpeZW8rtEwS1JtGmkjBJLZWpCQXTH9jDEYSbGJ6HikZ8QChjuGfh+/RSycTAyTtjueCt9pxJlMidcnDKkKrxBKtE/4yTSAngPpfWVbScTkuPvKx7cVS0glxejZb3h2ikS1CrsSdN7mdcz9tzsJWv/WwzVVVzOdhJ3mJvEOylZgBoDLEaEn+ZFGMd0rmBrGkTFniCYcDIaOn6KjqfyApBcxrEPTMjSuHUXcHejoe1Pz1Vzi2F/er8dAVvp/OYnMyCY+CNn8B5/oLADWgC+mOdIdV5ApTSx9VrcNDQ9jpTuqUdop3GdW3NLg42LF9B+83Ba3c0SnBjpBzp3GqikG4Ri5fiR90QrSb9wUaGAD25GUNbq4S76UIsfvxyWZ+86HA4NX0eH4OH7bFUGc1Pd4HV38jMELvsI72cywmpjn/IU71clYLNO1qS+p/bMZfsFEcCW4CxGHZRSjx+hhDs4qqSYai9CKaRp5wFlH5jcf0mk0E8Kl03pETEp+nwe9ygGeNo9mhc8rwwoEaVD3I7Bkc7oVqYdr9mkWogph8Iyr+1TQEsrOWfytSNY2FOz1Iy5cXdY+YmHDs0CGGNXr5fUcfM9FTsCbSdU7WGnJt5gB6fg076Mdr/ahw+hF9jBLpf/8wQtaQpBMlBHWb6Dy5P3NsXGWaFBIOF1IlQyqIqb/qVUYJtVp0qJzHkO211u+cjHgoV6ebLtrG8tQmRmHenz0VgIUj+qWhkXQP4mhF39lhtxwJYuUx0GYwq2id9KfFFtV9CXAkzJtrcTHIeIz0DP9q5b07XAtjzY37DFww0OhMpejnSu85J0YEMZCrdOEUSCP+YNsAiiQKTskgjcNj1I5YgY0DmO0ksFNYSzExwumywC3u5AmeyiYnGrtrr6OjJQtoxVRI+QnmA9WoYJpm5t0sM06cGILyAI4VUMIWQPb9oJE8KmIX6f7ksrK5pAQxuPhFN2I8xSRdHvYA3YL/Ow/70FM7vE1CCjJR2EsIoLvozOlOBphdj/m+qSFZWgubKLB4kNG0kbLhyQF7wnqANCJNDi758uhA/szEdmpszUJTbGEk/D43JMQrEaO3y2HfqFM0DkjYRpM1uWwVxYSk/DHsmS8XVFR4qXYGlZuCClcanrudoxgb/mU68wj7cAoZks+adiNav1CEv3BP9cpgNlXSgaR3y24lLN6EDBCrNg2TajHdMibXBdhJwimFgir5HV/5WVy9j8wPf6flVcleOppuisIYGBpmsJJ839z53rSkTfFp1pBt16QHGRtL78Tb3xJ6jFbNNz17zOn26nAR9uchee36JCg/ML5Twl/tnp/AXcqLQChnfZo6t5I4PfGhi3VC6jldZyXgD9mthfz7p37HI7Eu+TCUzG9J9ojQB2YsEIrf74RbOr35KKiyU0m0TEPPcxShR1R9TXILBTQHJJzhv/FArmNQsRnjbuqsx6w3KTny+YJ0G+WRWAVvyV4CynQZsCaWyc1ACjFG5e2qC2fhD5FtZCgbJANjtBtcFoNamJRjO9L3C9eVncKjbmJXvB+i6DNehWFEY/OeQTJWkBOt3x+IiR8Bh0MrCo4lIz9Zh3dPgiUFwwqZlDpviRlyay19Feu0REoevWlXh/Y7s+1hBvO5VCxEBE9zidjI2sG0eO+ajnLZCuc39YiYnOoFdhB0zyl5qPmKwNNX2Zxfz8SvafRjTTy2iCileb2Y9LBwaivGsQoEBwGFDMTpnR2MadqdTeIGWvhcCO1HUm+D/KZ9vJGftbdQpRSwKXoo/3hWNWJW8m8agdauLnq9YwvwYXNmDaF0KAJC8BEf2yj3A2SDYEHeYes1hYbnMvzxt7Tqz+sfpTy+3fZGodvqILTpor5EyJr9ihEegymcnzlHCG0k7ggek3ZV+ZTvSyd1ct0EnZbv20VQT4o7AIVzv3mkwI+IFBjRya9QB3bAv6XqQdAlBEHlZyC1gvsq+DmE6cgIg4lu91aTmtf4gKhNTJTcw1ZjvvvK9q2oN9J2i+smpxDCFNXut6InJNQps4Etb3E7Q5mp+RqjHAT8LjiEqGOBwhOSfTrT9u/npayrDYZIhspFLdm7o3xVuPhFhpdDSv9IMTlNmbdcfdY0rjLSSqT4OWc0Nh3cE93HCocYpy7q2uiWGwJNymr8VfBaZSGN2/oAL3t7BlYvLLlSGggzLVyNKgFBbCvlgMVusxxktEgSCtRbBTloD8R5ssGs8QwBmHexBH6E7/C29WUO7jbXj3nLoDqjCv4z6l/+2jKzsE4GLyDfh7DySDdF0hmZrSb9rvRERvnV09bxJ+QIN6+KX+F8koz8VfwxQKpdRbw8z/1jOUGjKQuI7H8A+I2F4FxLXrBfCvt04i1EVu9vrcPXf8Y6mA24PcKpJJzPSkbPVlHXYCWi9wFxH/3Jm5CMSMy/xndqJ3V7l3LaprgTl9s1Hspy/ZAP9FAHU158mmfBi96SUwQeJbFCqWam98V/eIEC3Mrk5s5YlKILrWush43NKTkES/YWXMqiNt8rKhlcx090PDlXtcQGtq4tozJDxM4Zyr1fu5KkoJ5QDWCj8P8Xfw1PGIPlJKdgV3EsoGj+fWmqlPufeir7TyKAwqOJkALAkCwVzUrNC+tWQi4NMiiTVqaFHf5zV/Btryo+NNbBjs2X+4nvwbkSwTWuzlavVLZ4vcqEDPHRqo7vsqwD6k+BNxwwhJ1DUPBP0Hv81kKVI2ijGvBSxn86/6giAuTf8i4g/UsGTzdJDYMHViw75KLydD/hIsddDwQ7KSx8M8bUnPzqstXA3ouaweDu9LuJ49OezrjJlzHH0tcp1szTb3V8N9Lhbihf2g/Ks/FbrEMMC0yIwukPMHVk05YryjkMCplxWhJIVm1PYJ955OOYmcfeJf/ajWTgn9BeBNJKKbEUbb1YoW/9GgCRCjjXXQTgJ/Zq9V0Xk2VlycelD8neO5nxYEEfIz21N75KL060ZOiBFYYYLm9H7luI4vmklFx3SjuKyf283f1a1sNWZMb472t8MLmszuD3w68NN35K+Fvqc0ajXhKI/fYiTl/KRqZHTLvvpBX3OydURw54aBTqnzpx71lAK7xJA8U1GshKjZYo41vt4NT1II3l8ANUDtQnnq3SRLFSRk7207Zoh1KoyzV64yJiSj1tqM2LpwrOhwHX/3HD5DQZ7OZzXAqxo37yGXk3P1AmhhFJmCxyIoB/+pS8fkiSJdatbRhK4XvvzMTITgZch86WFPDtsirI+G/o7BwT7hJ3E4/DSgIXfL/qXADlRXrU97BVUoeKB9WA4K4nwd+oMOiyzXsu53dJx2x1LWIkEOGRhz97Dol333SkLSc0AeF1uDD/ylfxpJVNAn9H0F+XgDGjLMxY+cLk2Wns/3bobpsjyLXusSbM6+G9A6PFcP7xrvhvR+MUlYNypwSDOzroTj9qMe/OuooNjK2wan85oA/Ve/cJJA/f+vfbEtoPozHyqL1PDHvv0tjpVJNwp9p5J1kWSdC5U0WMbCf8wr2UnLiPFpz4I/janmPvE4AaTizoV8DaQwsRKqGAjTh7o6ZphN/GJbkG9MQbeW09Ynuucuq48RL8aq9ilm/GoJOSY7c0Se5bLex7diMaxkLHotUNB89hHasjznlTvSsJQgHmOE/+HV4lkWMHiuXIJrscAwAsfTr65NjuYUSjjQmAw/Ll4J8gVKICAVsBsqgBbc9xL0KDWI7p5V4AVZzRhDADaEDgOMcehDie1qNSDeWutV4oH/AZe5UyArzhiuwRj11nZ2kthvD7ql3vT+GSb4brIgMm9xNeKJeCxGm2GfotaKvy9BrzOPjg/F9Qxvur7I3yvm0sNycj2b6U2LFtr7Mo0uP+BP4FqcHC2ewcQVY1zI3atKnb8ZbY99c9AbIWWQo8iwjfuWDTyuw4WUnMUJfrD6d5qatdJI004RlpAzKrTSb4ui2r5HeE3DlC10o75BEU3/XUEXUv8wT32OZ/nzk8oDOcQ+TuVRjWT/OyXxFY2PZzT6DkNKGj1CebWQqpvmf12PZ1zkIw/EgotUshMRnP476IjoquCAXluzBxiVE7OdcJBF1M+dhmm6vxJ6D5wLzq62rRvfhi5w1I6Jqurr+Lygv4rmFGdew2e78KZ6O73JzYxl4+lsYcmzkv1rXw7tbJ8bHciatCSEBEZUj4949ai8V80ZGmEMkW7k65ODmgexuxLlmHwiAqj+yJ374GdcEJGlVykR/rCK+hUiSPzpvkozr2XxmZ1RnAem3f2zatBpOJOOaJ0/B/6BFyaoGiAC+/yz0GXS5P1Kbmhnnyg0hTWyYzXjdo7OQelfrFrJY1yEZN9OpJUnlIwtzF8VrWd83PMQ3x+B2wutMXs6A2ru+6foY855q5VdNd28ucqp5sdvyFfm4F9yrYwpofShE8gCGYVZ/YU9AdkOeZ2aDllNjUpK8wSDzbz7PG3aZhzonRjfbouVi7WGdMR5xfyhMLlpaJIX65C4WONBB1VRKTSrKCCl90CXiCWWQ12/lEK8hXoHDfdeZftAl/g6OlIACEbNJbSWnKtuv93+wBdwcW+E0BtOnG1DWapEoglvrQJ9rUXuuH96j01A9kfdPm5TxvA6YcaG6s7VfbG5qjJHbTyslZXsKQPb6oU2bJVEG4/37DguKEaOl8V775Mg7zpelD7RfedXfFxiUojX0C6SKPCrLS2WnPBnscUVdmaVxOQTt5cW5tL+jlrJCtsUR4PVOZDCfgDRBHcq2ds2f6p9bPlvhWvFTRwE4zmgmGMYZjo8JlgLev/vSh2jEGE/+bp11RwFJQDMo2PcO3bqvFtxikNeHCGv1Qf/e8izIvi5Pn0/iBIKBZQ90gMc4hkFT0UjHuJ6dpEYc8+1YwdftyXXSKLBTLQ8sHn6+jTVht8lYtso07helnJfCzrs9OnejM6PgotDO+a1mQYhLKSYZsxyOgFckGCxh0GkFGo3CqF/lhZbc4BDhmh25krqfH/3NdJWbAikbKEKm+4RNddiIv4jSot4hVFs1fDKhA+o0+3AHvmcUHUfcLPmRA0+12YJPBfZW5pkQ0kpg0oebBq0s+OfemwqjwexvlZ84KdPKbUcpH4/GM56EZHXADee75X+VL71j0Bt3BmWMLhrl06gg67b1OZFBDRNsX8qI9zonp3+GsUvOKkLapEMqaUe3u4UWmADcABh04CW81YRX3pf098Jp3+3iBjOOcrgJOxwr27DewjKDHvDGIPlptuuMKAvD1BwZ5+Po0groFjeDr7GIWifOI6rpA3P9+VgqT9ARegb61xqUmbw3ZIDZFBuz6Gix/hxP9YdF+1UT1Oir8G2HPuvmoPCEI2X9tWU8KbyHFPlfpc4Rfj1IVGtb+1aQ/pHF3o3lumjk0/5AnSpxxoiip6c0RHZxmFCe9UmN7nMUYOubsJwgIw7LX0ki4U6FhIKiNISt88PigBLT7LINdshkzzBQ1Hmb3pTTegVDGVJOb257Bo8cWoY7/3N8pM0agKOheyAvj65B2lF192fnlDU0qs4jZ5jxTnpJxF1zbrdDlkOFgYdaUSBbINtCNASVuvNC/eyTueMKrR+KmGbhrzpuBrMzObFa3BUY7eTP9ER1ykdQpvClFmr7mb270zbeMKLgO/tV6nVWsKgnZdfH9z2na0Ew16V1objygtOxiK3O68qLiRfY9PTSwW+pDfddvuTTzNbK9OjtNjce4z4K8RDqhS7i97SUl5f3Me2GGHc1LFsqbXNHvIVVBgEFsxOV4Jl0blsFK47UUDqQKmoh7JeDME8mXcdh6MjGKANRJ4r9ziptOceOND1K94RZQ2wLWUSV8Q8ef/sJw9r16gBAxvUf2wd1lO4jkJL2Q0UrG2iuAD9f6E7CWGLtAENLMe2G0bomt0xHH55dYk/15dNqpUW2ctwbaKYcmHQX+g1Q0deq0/I8tkXmkm/VoWaU/nLbt6xnIRNHjqohvY8txzmmP/sG5EFYlr1yU9IoMH0gzJGTvv6CNenKxFpCFgCwTVGwDvtEBHSjkAG/hvPueHLqyLWhoqf0kkCllhpAabDalFm47GhDWAgmLTSQiNeUCRPdBL+Gmfwt02wD4dM1/nrz9uA86flfsMGVHsKshJjcvXIw9aKw4w+h/f6kLQyEDLl6srvmHkRlCjaNUTXsCmpnq+kf5Weqi5bgtNdgWKNgnT2B2KJkNvYjDgCtPKJSzsGeCkqhom7cT5FxevUlvehyryw1U7jzq457mIZxvrksQ1C0Ft6XGaPZQ2qKbUPBk9ZuooDkKAkp+oVVzo6h6yC+6WRF6qLDhSj3Vq2Qydeh0w6x2m5YN3gKd5fIcEKUfFG57aW3LyUfsl0UQq6/E89137TtjMg+PW6Mm9SCj57j1jxhcabSgFf1PsehpdnmpCoSLXb7+I8oHPczTp4V4tvVbv+G1wB/A4J9s0VQCO7xml/MdUHH7vUBi93LUJp/mt2CjGzJhmTFgBwGZimG757kBT376fUxU3xllB0hQXoO7eKzy0Y+6hIljISIX6FqmZ+UfwLuH0oDy9zsH0+EYjbWHk+r8VGX406CinWQ5Wqjrtgo2NQ9I3/IHDN2SvsONCaksjP7ziu5h4V9B81lB6QZq1PUWabd0785k4pAcuJ10aBiLqzFlJi3LVkExnZcvh6FFc4MINTJrXx/8DQ33NvYnUNwu5gAoj+2rbWtrvqFyULcfq3RUgOXM787SnPzCt1yEsljIa8vAyhKYvSzWo3FNs5hrvThPE9lXiIHRaj9E5SlBNoxvre413wqYsu7cMhwhF5la62SBdgh5lkL5A/NbYiAnOehWqxyj54A7hKvFKDhsDBKJvph3AcJdLfSthDc/L6fnZIxRPcfJ7yLkPJJ0B1drI5Wxe48iS5YVjtDhrtsejE1A49UR54WPTS1VziTD/ySYwjgvyMwIlQZ1zOvzw7goWiW80V4B7KIxYMfceEmmtcHZlCXop9I7p3jcEgka/yWhg4WiKVesgoe7Cil/PkLSwvQEqwSveAkcwZnEy37iAVv9f+6CI7zf+C6kNco4uPoYuT4/DD2DFXtqNxiVpp4bp5V++cx7NbshaXH/D/DBFopILuQB3B3kq2AtSd5ecXOyl3sGhMzI8fUtNbLdHHZjxW5mHvEcxvv1IBXNKkxLbh+YmPqKtx758p3yeOZdSdih8ZpyokgtiosrIVCSs8Ef1TAG9M02K6V3ryYYDfl8hz95JchRYzcF7yDYhjsQZZBDzrsmRp6FVDxrPUES+Dm3exgYCV+RZj/u4O6amEUzeielNxvv+CZtcDHbtQaYM59wcaAsSqSAkmjS8rwlB9sXOH6yponfIx1yjZMFQn38UzYdRmEOu4PoqHaV5n7paItD2mwHBt/E81TevspAgzTIJPshFYdNeRyfl8hGuspvpisa3PiHWDIwMyM7T0Kd8Hqkpsult73itJAnMdGmBtl2PQ7CAS5RxTg2RZso+sHoxt5wnuvNMYt7+27Ufz8hg7s5l3w0h4hG2ezqTwZwD6g+UpLLWlmBLQBhsmWDvg/f9e53r2OWPY6ugrlIspZCax4QiYpHRV+f35ufHSIYKyAicFEZRrICuh8wrnMZNmxa4RDfOg9JPHmTqtabp73zX305O7wBgGe+8Q/5WzYe0QofKNxcBeOoy+jhF4xz2w2/h/iert+qkH3B5j7zpI4350SLfZnJpkKFvNCSFsbvGBITB5Euh0sqUssK+odlfl317psJOCWT5HDhYhVak5OwZtTFuzDF6YJ4CJE6iFGm6sPiOAJzppUaC3vgADSedWdmnW4Z5M52kswMZsnOhyBz5WbOKAUTUv2P5ojGTwz7y1BDvthkde4uVEDH4eVozu1DNB52yjXDKeCREwe3pFYYWWG8nS0UrnfKhId1RoiJuT0P4WI7znRUwqheHfJA8g3IyxGoJcptitulrTDc4Ejc2ohH2uBYDVGH3ajK7X7x+o2GTQmWASIAnH5+MJxP4Pb0YlT4st7BjW1M22RhvhxmAZ45wI6CPmFPatD8icm5BxfReGp5jsC9ueRQzWOL/g2WLPE9ypzGtBj54+MfA/3UMlkk+urM5TKhX5/h21hOPcz81JJ+N+dXPyOvQMfDPpkyYFw0iNG08QQMXyeCoLI5kq8dq/IPHWsFI5DDDYZDN3Q7pFDeq1B06qyuScSpg0Ebw+Xufv9UPSwdrMnY9auDQNHVO7Duvwi2yAhwxheXI3A4HfEjFpSnZRfxHtXr4TNggjS2RBsRtPo+gjOxHx7zUemHOMtnJ2JfWIYgXc3nR4336IMDDwQ/eMAwzro3b5FInebKUWagqMxWDdCU+VVBfJ6dbMN+zyzbvdiareER1zJurgFoBtRLZfWChVXBekdW9Q2nEjXUGduHhVkkXJ8Rk/23Yy5NHFuBuWnR0FeFyxMr3hmzWVAn9Smj+nXA8RjD0R8BE8E2tOuZneKyAQ9dQgRrqkvczIbpJG44snv+tHtnLx3MgBmHaBSwYTO5YEx3LLoAUJdEddvHE3Ns4x9+QJ8M1/zxEKs3aZvU7c5XdmSpbLUAeruoEHwTytOgG3+G7feuANEW3n/Wo6Bu5aMYtEmgmCXp1UyVmPpa+Tagr8i92YCFsWVsIeK7TTh4yecQflnnFNasVjAX8r1b5kaSni72gCPHzYmmAkDYbExYeMbqUDUSSw6jNgSQ8qFTHqHes4S3KQb+KTZwZBpSh/rOy5rVq3jSzQvRDhQtlBRGrbrOvSBv+gz980V3EB+STEDj4xeAurtYbz5RhbS35+cpglLqXagUzfSROhMGdLickOIzuqqHHBb5v9N9YDqR3N3t5rXq3SyoKH4DbUQQ41khapZE+GIQ1BPBgwSLkJEc9OSK4JyHsNre6F3k47C20aZW1AcPDLKHa66Cc0GU0ssCMmFHVtFB0Xh+Ie32AGQRYhN/5xt2LSJISC31nT3pzKE62SpqjrQxdThAacutkWPDVkJotxpwV28reCShe2uOC8bdrbCXX1M7a5Zq6fEiQ3cmJFtIVI4S1/7P4I+vNCYYDHeB61ZPpdBhRHiMU3CWE3NhXkkx7Js2bWtBFhWpIMmN4+CKnuhoN3QlBPyqcBNIGXePHVtk0PEus9PCQ1u/aSZ5crMwY9bI1i8WpOPlu7jRvhPNM6psXAdkwuRbzJg6QXzu0RoZiePPIswoT3wlg14vehHhVfbMj1oI9GqlfkZ7GsoYAk8gCRO4V4x5SFq/h0lmVa7sCD373jAyYtcJS7+RLYf9HndtzTICcJfubPxruIjL65MsoaRlJBtpGiLohVgflRrWesybSxzlLfbxxjzkMZP8d+hCQQ+hdoUtpc0z+Cp+prX2+mCTMletgyrOqC3oIiH6o+JyQx9M/xDMt+rzhPtmyeYepY0k1TjuagT6QuBgsdifpk5LkefH2/Gsdp7xhFx1eX8Np5BrKct17kJx4w2dHuZHfWlPCvZ1mpFyFUYsi6wjwjJJ+YGex4pCWQzrJN9a9nuhH6oY2o/drla+c6VqKzQtkDhy0AaEwCEuReQeCXhhYpDuf0+EN05y6++IbjQEC6a9Iu9q+gpPPCCcUKilbe9VvaW6FbP5L0eM6hDW3ZuFPaNs6vTtl+OgPXIGFgkGUF1Vkhxkor+Ru6eAi7S6486B1VXJt3+W4Xy0ORLds8CU6H8V96PoIAwwv/QnDqLulWL5vVv7J0D0z6E+oflJnGLej7hsVjL73QAoNKHWjgWQoKHdgbA/RM4sOQKJzIPh56+fWOf9uc/eZImSsYlb+iVHEZ53muv/UozFhxFIXJtxb8WkJygvc9pjWW+jU72662cbsW5LQOcxYX8ZSUP9NWnabAdWQVlFzLpTgc/BpP8/8BSP4tKWJZTL8BqTDG0ihatYZGRSBevidGgv1bhu3pJt5vLCYlZxw/Pq/hLXISovILi9gQtrURohgWGRiNAQ3Mx3qm9phXNbQoROxskhfmubfKD1bBehhrJj3OvsX3P/0k+vQgmn9flfswgsWoyVZtuLNyrfVXz6hLaRS0IGe8dzPxdNMFG2jgAb9rdFCWI+252hL1XE8nxT0ud3suKZvIrVwfAmHFTY+YwpiRjsieFod2yCUVD8uV6KrFRt9jDdwJj+0wIPSFOZXrDtY8MMrssSilPZCplpcIEtNpfIRbvIb+4TqmJA8aN4m1x77OWMeR5el5zA+rmatAMntLJdPgKSl2m9eDdvczGG6QbZz/0jTxXxw36EXLTf6w6MheUGYi7qUEV2h7Kc6QUFCxcQWGELnjpX4qc11vz/ErxD5s/x64eGjXhBGAK/KUiUmb9pSqYZt7GtNiS4GNBAy+RE9dzNZ8TASdEurnn8AFOR7uqUcDglGAvvYcN7NxSMfTWW1WKrfYPW0UO6sqJoJh3sF4iCLY3fFPiLYXPMO8WkedqMovJ8+bdKuwRTBWiMlu3F/wkSZTqulCTLfaLfF5FooWnIxxPYS16WYBjnLLnbYsdwaStGZ6I4dRKXM1dnF0fegubYX96dPjiSNOV8TIdJxMkaQRCt4In2JhQiO5N/lan91cyfT5npEgwZBX1QDIbKAOOCd5Iq3LhpYLCAT/IgEU7LFKiOxBQwL6kZM9Fn/RgvDG2l/GLWgV5OOjvOyqoblqjuoxYy4snrbZ3YmOT7S2+fefkBV1sl3QYGwXJvML+sCC2b8jy32ACR6UsE1NrJst0CR4h9cIA1kXLk3FOtEd/shvuTMY63EGZUD72/YQ6eTH2ARl+FHBWeHvyypqhq60BOEv/zW99My5jlyOaXelQRHLpOEeDK9Ycj1GGUHV0t0PRBqcgpEu8GdCG4IWgVLx1M0gImuC9HkMCiPMBm1q0CX+GJso1lOWQclolTLYZ9WFiQ4v+K8nicx7KfExQoRRBA9ytdbcKO8xa+5dgzyTx2kGt9JG/dMDAvytVhN1uNZfM6geLI+uiI7khte/6zZMt177dGiWAH5H5v/81Ugt+oHs9CgF6zqmazluGq3tIEl8YB3ZtOb5S5hb+D4jqDtlBCuDWDs3Uy1SHuKI7tvYhSxmv88uFDoQgJ/WhYbF04EkzajjeS0tOoM85t3YgJ4n+mGdHUNdeOdjWd7hAemdhDcR13lm2exaIS4SXxtA0T4yIEdkgEc9I9vUxAOvIMD0jMyQbfQj1mFp8bVpVpdZtPjUx0PljIvkfhUpHYPCWuWEsDZuFOoC0Ji9JsRuRFvjD4hCtHmzE5fI63dy8bbEvAFBsOLwQpA0Cpp9zjbn5aqMD8BtwQtNMDGZSTNBa47WbyZZqdoJp3PvGYYGhTvd2pnPaC/bcDWEAq3jksEQHRz6y6hY0ryb9eByNOpmrHn1/C5gfe86oYkNxxCEF0ekGwFe88TVknvd352DhVofOA+Ue8SXHC45ULdS3uVwxaR7FpdJQIMYuvwfi1DfXmcNRWPSBFSfKwdTxc2aojmoso9eIA7XppiE77oRu/Tn/FLV0d23kKwA/VX08A0YzQNJjMeJxHp8z/Qs+MjoCBS80zvwPvUXZ37uHWAuSebvTtprKl1dmTAkaAEe9B/VVAEJTzuAhauNG2Qi06GFtMLGBSzaUHbfiMewP3Zm+At9RyQ/fzfsCaaedF1WU2vHEwMDSuLuomrTOwrrMo9NtY6cGr93PYYF9Fn4kV5r01/SyApxE2ZiKcksfIt13WZ80r91Aa5fQiLnqycfElRZBPBx5CpYo04d5+tZ3c2Vmnm8dFnmgR2A2XKfANo+ooS07oHfJmpGAT+auie69cv97SdypWX7S73WX6Xi/GwrSAW5rAkYOesWoTwlJrVFaaZGjlaCSm5GdegP9F/7fC2/nPrbXjJgzZkPnrcWVYV1oVY/JsBU06AkvQGqS3wMyWNkujpWUQZBLVTD8RAWmORUdQByUSz1+45KcupG8Z37L87dYwNw7IydYMnnVnzenSVQIsaJInJhzy5d1cAIRGFZjTXU4bqtcM2abOPpakLaREXm3960P2qiAuovyVl5gNmXvXzFIAvKWlnCCe8uRjnEPM5GATuJg4RYX9gmC2tk6tl1VNamGM/6apXdl3lVQX8H6pbXLregdWH1KQtTRqhZIrhKZge0FskZuJtv5lYQ8JIX9TjP8IdoHnBa2WAsfPrIb9Vq5u4SHde6U2Fx9a2vAyynaJBwnzShGwn3fTpG/jDkeiAppbvhOjerKrX/nyJXjpy8/qeX7QHgd8pIyXOlt0Z0FWpkK2FE3kNdXZIuLvgsLqYiLs2dHhWbDHTinSqExz4+LZvRj+oW8ZSmYZjR5Ao1NCSKOi2r0/O4kmQwQnUUSVHvxxcOQOOHh9N4zRJdTB3q/ddXAwpVuESy7EqAAh4d1jYwwyRDd/upOUzlAcwZXDVWBcTTC8ZxR0t3UY0eR/3FBK+RE7hV3Vx/n+Om4Wff2llMVvZrOq1tep0PEwWcNpfl3I28FU3NvOGlhkiPuHTJ4xG7RpfYCxgfQiKixPZ8acgE6fU90fNhN8Ca0fCzsgqssKyO7Mo4BettTq0ZbqkHYr57md5p/aIqIENxat4fXbpx/fl+xFYHSwH9N4jKMVmvgJIBsmI+Xd3wf6psvLrbJIylZMtas3tgyqoWYsDk6Q89MySBBPYmRT6p6bJvFtrIMGQwSLiz6ONLM2lQ5PP8eMkxhNOgtQ7I47Q70RK4logKc6bVvJBM8LXDsySmzyuewdUQzUv+GdzaW/Vt75rgvZ2k1a0ixjbl6nX+8pQ3W6t3mCAj2pafxXzqM0ThNJU6laXam/ILhzzG312eUZtJrK62OoOL4v3QAw6guHCIKWcwI4+HQ1/TpZsaHT8kkodyW6QUd0tNEtwUmT655gFHK+d4QnJhHFgpRjlYEyqAM/kl57TndoIgEKFMkvBbAy3a5xxZ5n3nexhRaVRFSCK86B6clHRGR9lnhXvKT2fmeRjzHurguASsWwmyt2ybM2F21UaEsRedAdWI/6FgUQj96dxKmGiO1vpB8Oln0asTyy1iFYRtQfszU2hy46TgmQWg0dPEm8Vd3W2Yv3yUDiDeaCNHxR/eeSxYh2w+zz3vlVIeBIhzENkYQCg+2/3hE/G+LGo4h/f1fLTs7OfS4PK7CAVkB5owVCjEgI+uJ3nX05kAornNhuwa8msjX1QyP6RtkNIYPCE3MZQ1KXBsoaRyVuAbp98dH/XGoFOND+nPXGAmCPX5smkqFbbYFWZkWG2uM5M2uLzFgWlDHS+/pPEOzjboLsyrT4g0Y4l2VPZNXVuw9rJIFhk+zRUDsRP5M8JiHCEC7dZBrgThvmg2RzsH6fwVrILmrXurqWo6Y6MAplTfRvPqZZoJggt+scqwh+7daE7Kp8uLvUm6XescUm/vaKLW5PVO7Xyz8T1pRrxAFGDTXc0wENzCZ30qVYMwyR84yxV5YqPvw78awPWw/Zu5ZbT0cVlyOJMtvMXJeBR5VoFj6RiF2Kquw3n/DbHnsrqsPr1lfXtAOsrdi3TkKQuRWV1QSgFy2g32UGHlOYn2XsDIlqcUc7gN5Inu61bRg7agOcwJY9hNJY6R40vPkNSs0bu/y5zERGz40Z0Jr2R7wyViAxTtth1aiEN64M1/nMDuwZSaAnI6zRmyFMffI/NAC+JEt5cIwo5HTrJ8qBhFYwbNz/ivGtvku+W0w6KOzUqHzbdxYP4GZQY/sk0j5Ral4IRo5UdPsVeio5IDCmk669AVXQWDSuxwlRTHO1WzLFAqTaIrsUC5Exb9FhwkvJubdKIanIWzGavGpvgg1+eWcBhiDvxopJf1Ap9ZrSYlWzIIEEB3KX3GpZ0sOVriVuB/9EIm5+qe2NtEpX2e714TdCR28c9V0rfv5pxU3sLvjTjanxwIrSze6ZF3x6tmSR1WYM+FQnsI3LHgroH+wrlA2L22cwKHFma35InDVdJp6mkrQltBpWvo9T7s2zf0UccDK9Y5fiMx3NKOwYvkayXjgYXGMiwdDOQP8CXNaDm7z9k0qgiHtHnkM9sIT/4CyATZvdmKsDcdXLPYbGODEbLyeoLujHYh8R8Hh/VG5FfSIcGbTcqqhfSZ6/1ZCgYhykJIAG38fjBDKtgEh9k5yeoM0wVHwfvfO2ADHa7hmPX7D/rkfhmDVzjnhB4WzH1j13adJeU+lk1+ucgE4bKGMKPW0s/yVhwd9gIBUPsDOEmkZjMEXmIerpBGJW2uNbaqbyIOrMMURjqOXXGzyZyCh20w2Pnkcu4A/PTYe1lsq+ano0DYcsUzjXru0FWr3K/UUMmwkRHjP9uyxWBBST9vg0gu4owYC3Y+l/q+KqfJYZxtcrFzbcSddf9xTEFGHW3E0IqFLW5KP4a8UxgqzdQxortcu5kFuE3Paj6IfupTApn6/bQUn0zIP2rgasjZMQcuFIZFP53TdZKZU4yzatJlgfcGTE+TE3ZWe9LE6Ux0a/9BM5+y5K1bfbM1zSbjiqKouRcUJYhMdThAv7CZDZZ4SjCorwyCAfItR86kN39HA4WDzTjiwCzQVME8l3FkakdSO1cIulaGO/55eOMrvAga/NK00F08GU1j7cP/BsdTBCEhQTQ7g3mCP/f38IHQflctMVU0ZjG1ZB+w5DG6oizawtBz/IDHxYoIcdZc6ou0y+WDCm9lgBLLGg1XVDOZnryTVMT7Cng5CkUpAulqgYvzD/XbPlg3Bpvovcs/TM9TUc0rlw987eE4Lnao7jMlsgTnQ6xuiM/yNFiswOpsXz0+5H80dUhAUEo2OQt0BDPHgWMl3+G9JlXerGd/+G6jUoCTwk8QkUpQLHb+6jIIIZBNcdjMWEgnh3LGaD//SIdUxf/hIdVTn6IMI2asxavdGcWHK4EqxdQooFldli0Z9rUb3CjQB58+GBQeep/r6MIXqKejj1d+YifCjOmR2SOfZue2zUVTJ8A83ODhWVN3IW72Sk9H25OMVyoKN30owdryKwaq1JA3q1cpV74YQEbjEk3kAwAx/XhE4LCpylOOWYzRL8ga77rmauOCkf6PtD7SErxbS/pAexAC0TV/mb0mCO//Ph0k2sBoNWpJRtRHtyB0YEcDPoLKqNGybBRsP0fXjRBhMW1GRqjjqvRkUC3TALm0kMIeRlciAcwTfc08NipqFOQCm8KCVQZ8eM3O3q4FGt8qe0vbIDIBrZxl4nqONZVPtbTSuZ62+AWaFmxebwGNBxLQ2sVDjxRnw/uaKOnlhHVKaW/zuhLuljHe2VKxRlcgt8F+6e0Vl6o90i5cFyNNsFdB6xN4h5JB+SrycD+2JyS9xqYUC1nOoSyQwTY1E+OqxQEeO8Ft0Ci8u4KvZkCBdlPMJTDTM+p3m38xhKck6GMqwcilY20Y99tX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ovC2SzSB9c8Os+ebp2X3ul3gVMNwoM6g/cuNn4RSRd8806Ufmbl1nJrIP4PiD9jfPGggT7TTWVQAEKv7ov0Trh2B9cdJdWT37uxAPai19pok/aXGDdPgU4kXXu2tJ9d66J8jT91wJ94LIqf4iQVaHhapMuSeDI0/wvuSjgu36uCu8RT18Ix/KiRV+dREK3q7dMAlPAvLzgo9Tu5onRyOxKTwI4yAia3bUCJ4brESH2QOyXMPZGmcNXNmK0k8UBQTIhS08mHd6vMhD/s1+x/8d3O2/vIUxMEsdnhM43YP/I++nL5XJusoDaYBwfVgxpkE9NwtS6yqDmJvrVZXr3sIC04S5cF0dBrAYeNooaflsC0gV6O9960QhfvYj/V8DVE6a63xB75HgzKvWOEAnomMeb5+J7fyTGKPAhxjgQN9wmS1YKPzkA+MK/EUimjy38xEOmimVyIaFHNTUTA2gL6wChBrJ3nN6PPQzs5Ycnbc/rHXIlpWCbCApwx8u5jv8h17MI+4GY2mDRZgZTzZ7ISShSPQHKWLIFD8000jP/QwE6PJpsyolwzy4cH4xt+cXZykic5pQaYlcadA/MT8eGRnSZDVQDBc3u4/GDDUxmif7ZHL2eDIlnGGHTKE4HvCO29qTBCrA1GLHjLF1iq6Hirh1668qC1Sa5VyyJEb0xDmePGtVkweT7CAoSR77IwjDUry6DC44D8xkb+qx6KRa1Jhl9pE53t8s2F/WRvp1OC4iXVH5VaMbaqouJliIKffD2Q4pYhdxqSzgEusRma0NwamM6oJob5Z3BLawrqKXRSUUPgv/9pDkg5vAU+v5+dyFgVNQebJMERjaQbdjaalJ8Xf7PlpRl8VN+XWvYDDb/N3y/3Xo1LxR+U5hcLKxSBw+t7zxgnw07NncKv+U8ie2FgMJO8gHHQITozJevMmZf7SOhO/7BUa8JA//E7/eMU8Jy+07W3fEQ5GPNhGkatYSuP6iva0FZ2+kC8L8KD8GQmzyLxlwr/JtlmjhqI+IQfwzOkUVxbBlGozuTzSS0cWD3uykXkx4Szf8U/VlrhDsF5Puk04c3M/7Z7cwPj3wmjY9rRi+u/ZQMSCkUdSmswjy2oAAj6Mb3RIcncWP1pdNcA5zYMXqslDeAOkRgn+hM+unCrDNz85TePByxPF2ZoBUVAUQv1Aa4jYVDsOwNTO70oq/VkP6J+jmje/6TlW0UKgHst8MrVhG/UZij3XfXkOJ/5KmOOlHQ1pGM5rcQubKXKclcGqYL/qoVgR1g5bLB43eYjOrTfDAIXPfIGmYQaqRCe7P69QaEtlxXUYZcDC+XFVgh/OjwLkBnBHaKq67/7A9wMnBHpOPlGSLJ181sx3uXS1h8dbJVFPsTcZkWgTpo2HAC+mkWhuwvzkkHbQ7zVjfWYPF7AE30WdOkDHuJlylqY1h3dkO5vwcpBnZuUm7p+/xzvh+dpzAIiW3SZvSkv0IB3qwjQT4Zg2NfBuNvbBht04ycRmZTS5Zxo+aEBFFFdr5cYcZ4UJH1T8mSEIXvwDcKDsFSE/QZKihZlzoOMkwkTve8k8Dr8DWZ6DFVECE7+0oW2G84gL8+pJN1vO//9wgoibE5n20r5hi7PQArbBoxrEpYalLkqWrPutrjELe0Nn7jb3A7uHrHNn3AVH5nX6kToQsFWcZsOm/n6VglSTwU3qoCup41zSmlKLYHaM5PlxOFLeZbmIpffit2kjoJw5/viQeOuUVAP4Xg/5VpCBlGHq+rEYxX0vQm/fSJab447x6Z4207iM7Q/D3RKoR/4SqPnC8GBhpuGJbMVHC6cqLHG9TO4BAMxK+FS5mT7DzsDJzWeTUEcH9mlM/q7Wbf8oUv1ggQjHRAUIEJvKRlgo1wP2OI2LorVOphhfC4q4+4QVPv4uZTBdckOmsxHtgt0JZLmrKCPQRc19BmfBZgaHo5vRk2CS3TkRQ1nCQkUOa7vFTcWEfipC67fWMmPZXKDvAbYEdQx7CID+WEzV2oKMLnOKBeRH2uZ4VvmwnWWyWcnCsYi5SGZALrjeIbgZPDpGUrw0ePoNH1lCLOJyn3IE7/8ZHemHh+Hw9c91Opwawvf98VkRsm3rhqrXYzEcb/JjZtJt3yHyAsbPLKosCdSEpvxfxLT3w7NbxYKOcCR+ka6ByKvk2+oA65k8ThixWZJWkjGm4wKuCq2Gjo15TuxjXMM3U/BoHflY3E7fN+BfvfvCbOuap/PlPQAcUzxt9jLrUjRvNBi68os6bEN+JzkjO/uKwguvxtl5KuDdNMKcTKznRXqLrS1035bWrmuMu037TADxgblM3JiiyduFDaWH66WSiCb/TKjQ9Yy6Un7/PrRXm5sTWosKT0SOy2wy1uNYWCLVM4/rmOs0NDdonoqO/qPr3AM1c22Jf9EeU+5kMAMnpRFDvsI5FL/buWyaqoMqXbQoDkylX1xAjjK1HG29nLSyR97Hp2xqjfSdGGDdEJk7R/xkG7ToeLq8MpHaJXHmvHdn0Ob9U9TpqQ3P/opPYB9L0yxLdKEhQ6NKj/AqVAUdAhzQQshT3Y1caTUnbFcwSPu1bySnKYXCJBiAdhhJdfkoNDezODABWQwJ6iEI+3g8am+j5fY3A5tYTLgG2oXLuC5hTuZcnNU5m9UsJKJajpsTC3fuJphEoGYPs0gQbM6l/2/nJFztAEA73AAtVwnWuxzCR5B02MnQL27UxcwhOyGGiWSVxFKxySvr2tcTOKNHJznyCWHdGMl3ECmD30s5ueSfYiTYJrsZn1rfIUXUi4iL42s584ToVgeK21hnt7JCZeGPNBbMIo57WJcRZggnSLQ3A21DaeGX9l0ULRrMUgrCTxBC0nP8Vwk3zsmBcXHN5mvtNh4NiJmH8yYC3H1nJLE3+vq0JiiUTb2RCHsxBuOCGo3zSRpUQQwoiRpE4gnSQSToSGDV/KLW++PTdn+6ivwz1nu7poHM9I2sjjrQwVKdwtQczlzDirE6ZJkb3+S6ICvD93mpu8aqXRvfnMu0FqM6SO7ICAMaskn7SlK9mTWmfHnmXmHn8Uy5A53UaXzvfeo9SyLNYI6odi6khb4hdG3bEf83FJLc+h4+ECKx08QGcVpFINDAA93Ijs6tiolxVpDro/go6Z+74Qk6cHpnLYc1csqsNcAZBW6pRiRrcRPFl4cZ/g2weTWVEoBeXaHcZwz5K9uoPCjq6iDd6zVbSjAd8hqB/RUunRg5TP7pUbjMRo+4dSHo3xepg33gOilEs0zzrgc3NwuW8btRGD+bGr0+QHbmtAnSVHG8UZaLa6gUnxODAsmpinvaouFpFQbR24NXYGHV5+EHrkrHsIvZHTgOou+d09thd9SUZWpHJeQy2NXIYZwpjhQ9QjxSDq9Lm2/tYcVqjLCnvCytjfEDblaMT7WRcXHAQSPt23jYlFuXNfaWrUULLHk9Uq+bHCaQ+kI2KyK3ahQbWqEgO0DUrRCNfJVPKAxI48k18Mv1R5hxB51/YJtLzqTjkSla7lW7/PwQfN2rQBSss/SjYJxgM6fd7xl3d4A8SaDxI7mfcH49K719ci6zy81BXfur9fmm7jIPbBvDuckKRomAROOwvkR4/A4NCUE5kg01wDrPpSiMJZCch/g8JhW3RXQrExb1PDnzGprYstI0NLFGOFrS1y6OCTLJGAhjIfTO6d4jaSO+sbTEYupCQbX3OB7A9AzJ+aEJE9Ke+maR0nCWMS7ChevwgIUUrbZuCLXmyY4lG2AbT4NkSNc56EL6nOT3+0zcLbo/dsqasfpr6LEgos/bjgZ9Ram4jiPjISA8Ageb5tJJkAU3YQHAsgCybggVBoOXDakiFb1oc6KL4uv1VA/Ei5LfCJnXflFnHWsLn3cvEWVcKd7lELKNqEQ8fioM105Slyybw74lMgkyJMaQv5XEsnc9MkrH9SIJCTnInhwBAyHKbw0eEB8qsTPWatqLR+LPmOc8FB4Zn3hE4dz6AYmreU0AK0I1LenPidfiN8e0bcLQ2e2tEma340IAyHX1cB3XWcuj4wk9QSopTTerFViQzuapPP5c5RdYgPztlLdoYWuCfebKxJeodHrziZaQgmWseKrJ5u9lA7cFLuFXlOQyqoiEBtTyjWu+T54f4wE3ru3NV1cvalk0Kqpm6yKes49E1p3UMftot8OS0qg+Y1uKAnYJqh7574eZtvPiTMjlmWPOUTWg8AkXJkWEylM2WLe5tCbzvaLZFayqNyvtL2DiJTV6bEY3khepdUBKA1VI4QL+ARM1ZI/os/RREa0MmWRbmNn94BGBKXyA8Klhmh+rdb6VzNJz8Z/qTD26tNQhfPoUFfYrsd+TU9jIH6/uq9sZR9DWSB7rgECSH+yTSGNBbUeIk/fjLu3DkUX6EK1xYRXPYi3Je4XMKVrO+/gNnnMQoh2lfwrIcaGEek8o96e3b4bt5s/fM7l5zpivPiSo3tqI9sCxREZMefXKUbaujD4m5pSjvdCQuNHWyYNIoqyyQiBO0m/iBi9DYjLRq4XRvHYyCfcTWZqLniR+XjEdSK3mMpjv4l8bhBrXSvDtsgvFjKZ3o2IaJQpRDpobVL796szmuXgBWsyWyNLzyrrehRYApUQGLOhwJ7k+J0dnzdvFRsqUnvE4Ts/XTQkVzNCG5pfESyq6aViVRsb/1+OwBduKNmK+L3ozbpaaFveM3zytJWUzYiNrHcCBFQCA28/62Ix9bB0Bvc1KkOMQWEKmhQ18QJyhcDl5egxFYX+zGtV1RCGkV0IsuHRZ17qOg+b8HQ9CYMHG5f+A/yjX7dm7oiJb3wdSoHQnEwaE+0elk9BmLnDVh8UI0KuOPCivpo99Ih9OYk6EzTYEBpJOfNxx/YvusFy0U9PAHkVRft2s9kmfP3BFWvHYEpFw6WVap7GH74GiRq9rGYLbfasXwlIqxLDTt5TgorvPVMcQfHWW0s/3HSzsns4J4QRjx85kq3jfEn780+6Mn27mIrFxbKEAeOfyy55TH4PzTmrIgDaaYri3n5emuOpzFOMs2rdvdlWuO9gy5qOwS4G1RgFnrmb0XEmuN5UyoUOUQlqmNwMEvsaVpHV9+oFfr6fIR/zRDgCi6wAAbJxsMlM48drAEV331r4Lghsl9DG1a77TOYJZD23sxnn4ybcqTHgzA3bTD/+Zg6+xpukujq9cIjgtR0eyZyINDNeXRg4djBsajneIpzifzJ7wOVjlFw/pohNRt/t+W/WcIjTF42+HAvTqdkxVDyF3SQFskh9gOy/Qx1KmLX9xOjPCtrFmM1QYFsHUIxZvSXn3XdMTSMjh3OjaVhNFbp539Az34VGNiKUqP2Fpwzk4pY3cugiGyPUHboZOSemq1VthlaYc01hBKT5PQFwTYaHVcC4RaWO2ZYBWqEXPmpg1E60L6mCuY9HtwFPrXIwpU7YJJQMfdKfpmrN+CrqUloferNcxkAlur4LizZDr824euepKp4uVMlkteaVmnim7CFxw4KthdPtN8nonK6zkUC9uXeDzcpRn/XPQqNEkPqAkmUB28NOrSs3ps/5M7sEa+i43fLA4mytxyKI4+wGMMY0JYNjLiMYOVMS6wyz+nnEnutIGZ5AxNAvIZhP5qawhFBON6u5tG7LmiAd7BGZgACC5kULBVr2ttjyYH95GVoi86xj2E7LgEWGwhahA81nNM635cQfWJRIijXR2AS1yUED1WVkNMSNWXZHUFCX+v1a/hfsgLU9MKG6sBE5N/VdnwYnYhl1rwoWm1KXP3VeSluQACo9Yl9WPPKh6Ta9Svaa9TG3+7ysNf5lLeP7pEw0lVK8FOzKcam1kAvIO3FA2LyxwHBeEIdQ/jZSNk8Kf8b5blu596tf39qyV3u3RIQJkJmfvZFA/6pjU3Mt+aAM80Wbh+cC18W69CEnS81Vxn29A07aPiaQs6LvOn9nt85LCTkKZPXrcw8u690+fFUFvBXSSBWSfo3713y8TDZC8/TcPpRDYJt3wRFZgPOuZXFsHzxULNRYkKCAUz0u2ypQ7HMkOHxAhPsJ5tQEDcQRpKpuU1IU+HDCtNtCw37dtblGooAaWquSQDRzDlfIB74Dh0AKZ+jtGohM36vZeFCdruGoBxzCL1zjhQQWSpdLAhv+Un0zrTUN+/dYMAiqEkKQzZ3zzWaO+IPR5FN2oML+Rmc4AMpJr7TzWZDznLcb3UZeBBmJMVaGpEBRnYurdKpIY3EJ7q7cDh+occzy6L/s1MS0VeJPbFD8Mewi36+myUlVa/IQ3oGBhqiAiqgiiJ3aoS+Fh/1vEKhk7RAWerXx9K+dAWfIAY4UQMvuRSOA4fVrBgfLTfRGZGz+YbUOkXKlWCVajWc4JTEeql7RZLWOj6YugEYw/9VuAD/6cweGhuvDfGZTwqz1f8jmy+DvWSpir0nYMci+x0pIIaRrDjSd8ZohZ1vJ/EKL5KDfRzDicjeGmTFDLRewhURrE1gZlQQB6YIQHdKLccfXRnB2fX8tC6qYoj45Qr2vkE7w7FANEFuKftgeY5E4oxBzbva5dYQtKv3stdbGEBG+/KxQ/Oq05XPzUYGSt9AETQaW67JgvCAVn9aKDpV/vHMrq4xRxPGmD6nhlB1vw8vxTgl/AupoQ/B+hX2WCQpVftR44zqkFa/OQpvJcKoHxq8VDTE0+5eg/NFfyG/s4zZK6OK65JyAoDnDSB5m4uDpvT8707tbyAaXedw0KCHEGsfsFZc4L4R5hS/sqkCOU2DrVqmA6TSgC5EsNcDG8knP1z72SrYJR53J96hh+wio/EvPUicw11989jL+DTgmUGzi1hv4dPszk641YvrtkktvT6Elj/riTDD+g14zaljrVsO9jR7JP3zO4LX/F3kEu8XpmyyfkDdueRZ5wA6c7vk3M4t+hKk1bGco+UjvOiC//91WvHNKaJTPgYIlIbzwgCuEow45kQe73Idaok1EgYpuqi+r45cIBmhbN6p63B2EkrF7wmbcDcMiTcGpiAs5H4t8SHbhXY1lmi0yP4Am59EPvscdBaH5nw4dv9CeWC5+hze6ldpMm5/hss/KQqQafsanq1szTMEufGfyTS1GT72dbxT+f2Q80tHce3Zrx94kX4fy3NJZOvU+5dASr3ElpnVpBT+dS+yyi5ny/WLIs4TNvdcBNgMb08e/1HZSUeYiSE2zsVXh8bcgYcbvZ7ak4oIyM3CJWaTTc7mi/Ei9Z7kTaHXyXOp/CWKiq2VnmPrRcmKmMv7w6jixThAAHIh8HItg0+z6wilNe7n13H3uFuA2ZAsODwbi2mr9Z/3AEBnn7OLf6L/Dq5AxjejDkyBmgGsP0QzodvlkJBwxRccSng0aOJ7KmQNiq0FB+CjbzaFJDLv0jMuhwtdhUmmYQ5S0yQKrEo0skrcl38epXG5Np1BMAp3PvKqwqEUhpJ8/yBgQsotm92T7RJivw3A1EUeFNz9TQ2f2ZeKBnxJOtgmhgo8aTcYc2dlDqu1I1rBExszfs91C5uEOP2EHX1T2hN+RG8vWcjVBU8lu0LI8nHoaFirrK95P3y0XVeGZuizDLf3gDFZO3vgxTiMip9cmul328SzIcw+mZUpxKeJO2TSt0+LfNfjdXWB54V7hWLbfea/7HLTCLamYE+NEz2pr5wNNV6PkWKg/JFSu2Vn3V8DYDI5sPbzEcD3z7UdhL/CTI+M6C6hGLODpReGqEZn2bNy3z+V+DGc1MqORmEmVCXYLrHYyUU9ovsQE8VWTJbLVuhBsPVqvfYX9fWMc1aRaJZzTJYqU9prBKyM98S6nlUN66rCzbY9Vf4/CeMvaYZwhFJnzOXfM+tMnYB9zFzwWk/d+ykJeXCSOfJydGtaoZbhHRK4A0KdxVGAZtLwP1Ai0mK5z7X/O6S7l0vK9EMJf5b2XSq8DADSMn706K9ru37bHujW+LfYQQAxfLEvqqhCedM8Pnfk8AB8UTfqXhK6PwcN+Ai2yRKT4StKjFWwBvAqmjMjoHC8kH8e/or4lRM1rPDgEbaqFvWR95UeNM1A4Vj1u2CzkXsnq5+XLXNm6flwhr5O3p8g/Oe2R4XsQ+pfltY6WARiXRH78pbrk7Kv97Xh7hK5cmzI8CAxsNkZ0T3qApQ90dMBV+KbSMRx0H4wMl3u+C25S4Nzx+aXPG5V8xVWUfAyOvgyyLD31a484pwgVBi2kW8ERs60fo9O85TIffMUw822COSaWlcD89IAu4hpk7PrNksD5pZivOCOJiuHbONAU4ysTIP+PiPcl5UVBtBcgDofB/lu2Otk+S6OgF7gHoiop6uVxTA7qkiTaOjOnYiC5fre7sGIsOgiSW3fGyFLmV2fHj8SqHa79eXaP24/qcEqaCb4L73NBjcYuCW1AQSXV22y2ltluWD8JAGE0bp0Sz6AMW0pUTYn2jUva1xVO3IaALU1S/P3GO3QNO9IzSudI0/NjSnEL3OEMRSN8fLtWkFrLLphOFQjnCAps9336TdIENMPgr2WorW/+OgoMePdm1YjE0Swv/UixKPD4Z8lKrQ9VTUtv2GwJ1C13kzWtaBTSn2ZToG0a4oILd7L/oeSWhaj3nUjSNlXU0mbUKcpQbK6RdvciWot8vcBGq9oP1l2KcHN0YpLNOUVdZ1GnjPcJzDf9wDl8idIo1mC83Va3sAEV68zgd9IXy43QahX8gygGptUMDRdk2ryQ4qjFoLUVPJWVs1KdlUA/UXlYS/5witJplRn5hQ/qoIgmDSYFJsJ0oV3OfveLPFfioMWl/E09EeDKgt4huwnxUOcaKAHORhcZ8A+ABD5WDqo73JmxZtwR6tavqa/HMdrq23WATyFxbn3i5BFT2I1QZTqjF05SQjnItQwIiswbc2qvgAvghxjISP0LOm5ESK9tk0djIr3BChQhQuxhM+cpO51cuo1NO7Gq9Nao5ApQ173C5ztzyh9SUt2qVHoXGnmtSKJu+AOO4ttvoOUuitHZ10qwKsxOs9Zvm1qo77sKr++AKfCTNaSZjCNgxcZLkz8ucUsWFv8buWvBQzZC+vuIc3xH8CR4ETk3usBpZ/jEz1QHmqIuIHH3bmJSkJU8SJrdWKLYp1Ri7Lv2wPaLHlt8w1Kh4TElB/1FWmnpk/FLGQfJwCdUCBHhDUre9BXb6WkOwaRffZSOp0JiQ4mvfB2fDrGvShWn7Luyqpjw/a43Qac6M1/tN/w321otRQ7CjHS81qTlQua9AF+SRl4eJVE98mcm4jTgXDz8bxVbeeruZG7I4FvQxSZ+J7PlRqs3cg+CaorVcMaWoQvk5lo+TvSH7BpMAUXnaA8qObuh6jxE6H9UNWWYWUHuyXaVPoRbSAobNV7R80XNBoI9xz8+6MFaoFvTVdlrsQd6vKvdfJrgNkd2f2ETLfGpV4MQ9Wp3SS+AuzCTegLmeXHWy7ruG/sKZnxEdBA5Ymz3muRuMXU/eLeecmPAOihD+hIAe8Ddy5rR+5a0v4AHNQffPaKVtLbRunB/80bnNO/hs5cOqFFnAEtihTAaJuwdQwscX8mqcb6WbcobaWJkjgkp5+iuwdDq7Ug8QliD9tFkB9IE1Q9WKRQ5oa/Q47pFbKb3vwvikiXCrtslnuglRq2m7iFpmLrbBrFl+7a3McctOsONjtt0GEjXxa55CHl8lqGTB9qoXzKimvDJYa7X+e1Xa0VkrJ7GWFEB1NjtaHuw5H+Ob8BI23A+XEYU/8Xp9y72xMX/gwMfXfDrJhv2GWMojZLf6bOwDEsA5IXckpVSy1vlyvJGvczLK1Yf8Zqsu//qtEjWj9TyqIYq7GUAyVnQA0QBmWQIy69XFUqqURa5Cbpb1/5WCEU8/sgtEmWh0wzXavM546CWksWfMiplaSoo5kEcMwU8noHOEixw1OcrvYG2V+/gD4xx6AiH/Oi2LShKUlcmvLOjbNNC2GIrI/DV6mm2iQ8NpNa6SoEjhxIORt2bLshTtdnei9t6pTuZ6bscKiXcpugwLs/AZ3b7DtPZmahHwLVDieYTdDmBBdoXoxfiRiQTHql7yRw9VwxVe0hFnGjY64+geOz4FfMpWW7PXxTIG5LLYl6jv9Vux3Cfq0O5VUP5EjbKakH0anXFu1Ogzbh6tf1orM4lKZga3feWfSBQh9+em/riYIHkyll8MaRub2d9t8acbVcymuR+BE8OAhNI7Uh3TJFuVkKTdr93ePABsqD19HKho7ltesovuMnHvX08s3nFg02tuZkYoINS31dWDZ2lCWZc+dtQoVE8iQBlHpr1KZ94jGrg6s1lzepn/ZOvxQvAi97PSP+kUm1V57xjjNy3ocqkOBP1oFRuuRNwnSnH0sbhesFlj4ZrMDRXVlTZ23QgaR1ngAgW4vUy/04ErenFofI7BmWa3jPuqtIvYX5I7rEz+OgblOWw7tv1VIEGYFbN4gXi2/kbdeNMN9nw5VOawHNQn5VQ+n7vFLoU6upsxhX6dMePnf7DKIUsE8M+1dF2gskTquIodTCfaFDmDZvzQli3kGNf0S39s6gsuWt9DOzqj9wVQfM6H/y7zkmdHDe9IlC+L+FOxacP3JvnqFi5MmiZCMUbICrRSYGqabPhQMcLq0dLBadQzDuSYxLZGdufV9koRcUcJTLC43GuoZd3JOkOUGIuGJIXDUvSXm3W+Zv6L2nGnnLT8tnqfDGZwI08HAnJ42Qb0tOzvjqpX9fMz4mbskNJCfeLjZlrfKiOqJzPG11MBwAZ1GVARZQP9n7cv5GJmapVYZN5kVqUotNI1O+3kjaZXCkCR73M5WLypGbIH5dQQBZA/I5w3OYOhooAzOHjkerTpZo5tAmDFxK+TbrxXj7FR5uqxJa8SB4XxrMWTVSrFLRYzPNT+lDjOoyjwemfd8uow+sB8pdVCjozSaxFrvxalqxTlVxFXgRO/s2iTDgWFyP7bls2vJcskoO5Sgl9RY16KUYBnwRO9nuZiRkPwv58OYRPvtm9RRjxC5j6aFo5saa/Sz8y32EUrF58Bu286MyqMg6N0wSBUDQDLM5AsckXNdJXXunMNowRVKx2kWPo9dUzG6CObArV4rPm61ROX3i3EoxmpOzFK2eXsma/++9m1TTUCQMvoTUPNdP/YT/NDBR7s9LmvQyRBCpPOeXANGHB/cTLJ+2tgyQmZnqIqa8EHH+yrCZBjh2pikOq7qNwS7vxnFMAAA0Cp+uf+CMEqv2dP4J0ZNlQVfYLNwo0JO4D9Ke9JUt0akMkF+hTcqmuLliEVj61o/4yJqO9z12dnMuOXmbKl4AYTlXM8IwzE/i46M4EDQWtsiQi4a//1yrGnabcbqvIfKZoaWh1H7Hs7vqsHugDGExkOqsCebV64XwDO2kKr5vMkWxZ4Xh5tZbwb0IJMWk7Xa0HKBMrO/+qpmlT/oBo92FhYh3cerQKLF4V52FabCL9VztXdCk7rNJ6siN5BnrUDzIzOQDffq/QsVY6TMI6SUge/njlPF81lZYWKWD9ieOn9NqG4Fbg0rnrrdFga0NZqM+H6ystKO1zPmJXX7PkY2Vx7eSgv5gSzbfxr3nAPtl66nD3I7aeSggBmF61ssrKdWgyTzcH1dOdasGbRGwKPa+ZQhK1A9qhB597HrkQC7oOX1KgsuUfb0yGrjAgfDtsnLOTTF/TtgT6TfVdwZLOiBCDlyxsNusw02laZMZt0a38xR7Swlj6S9awthTuCO799y9boT8gOdF3w/JJSCw7XhqF/RUZd2dxM6+ikO/S9SfpCEpns6Ypgh1luVexanGZ2YNvncANuriGb0dI+uhikvfRPGb/JnU2wJfSDMywrp5FrpNcz4SVDnjMNagSNg1N5gyxeMOmeYwnR6pYihmTCDV1eFS8hCCUk0gVyDaPWiJYI4Std9HgQvOnKG8rtdjuEUorF7+h6rR0t+5lsRK7KnzAA84mqsp4VwdZvdLPuNAsV2GuTCA9ybuzZXHoYI9HO9gRuPao2ZGF/vfa2+mcHOO3JLmuSKRpNx889Fnz3PMxAr2H/w0kc/16pIV1146akK0X/cRU6JIFN8kE2Bez6EYC09aVzk1eVyryawOfrM8YGGU/GT3zKNWeGbNp4lTDD0lVQuLkDAygEJDC+U1JBmtO20Z/PvoWa5rdE4wWlDIKCKqEPsk0v+AzEbTVsFgPPtileldfQ2YdVZcl79i7Z6Cs/7jJy74bSW3sKH+XV2KUxrCWOnOzc47d01CGoEaWvxmVc+HXiMsOn0LodLSVFh+aPt9sEv9u76gabJ9xF3FV9lNRm/vBjrsRz5Ki1Fr16IbcVd7ICd4mVDtCVbHzcJtBoQgOCg3g7rNFl2uSv8HsbFMHieTh78kpPQMvjrwGrHe1nlWozOdtLungjzBgI88bbJUvLG/nVBOXIxmkRucYHZtea953YU20jEfGXGCyQfZbNFiEu0rA/Twd1XHcr/dz/A0H2owpZR85FEvRdgZYFEJdUjMclylrZp+HyQHD9IXqe/mJcne42U35golkKJO6qhmtKYreTPXOZMIcXEY//QbD7uzfzHRE32KYSLbjHK5npLwwIovsjqKlnEHdW8zYghuAiBmUhtw9W3HgMiOTVoTr2qHZ0JUCA/ng7hm4jC6cU3ijLWPdFl+6lsIOc6kvn9i2AnL6DblTc5KxnUun7yvZXVPESCFfpxjUF5Hhe3gMbzn14O+gSMEk+s7+39HtkaU+b78cRRJEeNZAUfGgS0P/8Z61xSG93sVKeKvkuNWvZMN/60SSc4WNWN/PlmLZOyLXhBdkGX7NpYLJsGBzeDS3kx8g4uyBKtFLItHhBJBByqu48FDN1EmlmmyIDI42z8ZsZ/lb9iNoSP08xMlB2khEjvQfEfYA80sScpA2RfkWM3VPkbymuRu9/Qrde6erlcqOWfKEOif+gEgsqZqa7KxZOppKY5KQhJoapgJm6Xc4iGmooFi9B+dq5uHipZSMRKDC3GxfZya0kdRUtyvghHR26gpn3Uf5QNTTuk40Yao7hbOVWYi8jlG6Y/nkuuDo3hd2xdw4rvWuARHegbuHZUIlQkJW0+CgGU8jUKTv+nIWDYtBpFxz1oe+PlkZXuRrkUsYOUm62FIn5lbs7yFBeXDnjbhfdmR5T0Z84oC6yCTRbrxZIFO9Scb7N5Wo5mRJsNMrxOUo3xtujr1hbh/ZqLdxuisG+yWHVmBHK9hivnD5F9rYxYvX95lvmoJdj7jGqV76T3Dga0CifdvPZ9RRy1JBkKAa+/cvSIHA7+aLEkfGzoV7A4svrAFG7Gd3/p/TcsqR+aCw/e05YBdMcm6QIZhqcfvhb62tDEzFrjYFKtFOX7UG98nGQlij1jyMOulE+exqt4JSXLwgBVXnd5w7laMDv4hE8qCjuRBJuLf8W3vFSLs8m2PIOeodrC0TxBs++qlOE8ktH1+CDyqJ1jrUII5LYo+QdrfaBJX9e58nfV9PNeKrULIrAC1pGgMj7fegIHnwc7vhvMdrkUIW69RSi89cMpZIqMXbv316+jK3yTzSPiuk6svApOGg+1XbNGa6VcJwMmwswVI7UoRD6nFXaJ6Qgn0tv+FXjy1b+HsrdaTGYJYYK19SFERgx5gn6UY66VJ5PAcTvMjSuPaBcGQl6qHENG8nwk0YUrCak3Qyr8xnbLMccX6Up56SRI0Ej17RTU9Es6J1c++l1Fu0N+2u3WBKHrYo+I5Le/m+TYTfCK8Hz4D1bmdSPJGqL5PnwnTsFnDcvef8gReVUswuFt7hlcOzXRpVBJTGw+CkAcGEFjfzF7CYPGfketyndO7Mkk+bjAdQsy2S567q3V1c1orpTNXrrzYlchXAFnjhWOgo6cDd1bkkTaV2b2zv0bHONdc4f/bLYWJ+oI8t7tvxDtjlZUmSlGemfJ1OqmgOv6PJlJaT7ss7YCoWV+q//PRnFQM+1aD0PHu9PXMcWnynNQif5s5bOXkoTp9MqNHvUJy9dx3UnF9ZRG+FmFPZLR5DiDsYUBzAzZFmGdUfXcKfWsd+ZCkgfZ4xnmEwDIt6pV8h9tT361z/op1QjOM6yd1+vrv+rEaFsc4IZDAg2heBFMvgZmSPdCm/n+iSwSBBpGc8Ukrv06LibMSaTv+1mRKbTdtOzqK3C0VtQ1yQy6/jpTieT/L03mD3/nbgOxzobcT+0GcWRnd2EN4XkLeuALVoolQp0sbGgwFK+NuQseTL9D/HY/KSM+eKoH2rLVOzv+dYF6p9IM8PPArJsp+pWax3Xfgat6SREWJHLC2LHJv+2TAx9gjYD85R4bBvPJxQw26xllGyIUAS0W+HA6nTrSsr7FdqcMqPDvm2aO6v20UwKMnp35Qir6tpNvLBClmGNK6yHKhD5HEl4k3Fxph1Fo317vGqqipMkAHfRaeCOgxudQC8r9hx5LM3yZKySfTHX/5IysNzFRam4TY+71kaowAK/tGxpTcmgfjDOH/sxkrMngMb4m0SrXWI6iLJz8LWktNXvSR0mDtL+efpPpBhOjwChNa6KOwqtJcx4fwQKPFOKWFCJOQDAtmxRHDxQH5BWJqjZy17Bq9zkaG81K6lvtmAFMNxLufHBu9GRxXMoOMbQK8+k850L8vXa0lIFcoJ/EZ9zODZuwPlfEVZHouaBeRio0s+8awlR30rRphMePGa2uJt3hI27AJByogKk9Ctk/sniySytooM8nLabscG0/7kBxsx9f3dEa8C4vGQiwd7WZNRs76IphzmfmDd82aWsIjeSNA0+Tk+Jklyb2pwNXH34L6j0Mmcs5mERbcdMKODMPqOteWN7nwZjL8NICu74OcViBAgV76S0o7dWB8NhV6Ax2Il1Nj19JP7/hAdKgBLRNC0h2Zpou2HyLuv1CumDmXmionArpJfmzovLnxmsb2/MlT+UbCqtPGcZPnTdjiLYEFZPkBzxqRUtCChCBUd5FaRpgiJ/GUlNV97zU62uFZibtnAPCAuNPhk/YlHNaA6K86gIENJFSpDoebY7YMV3yJc9P/yyJYUPJnGAiy3H9Chy559x23+OaN+F31+KwiySVwJdUeSxmHq+1OISzL8djpC1SyC32CulUJkWm+ZdRGy6saxcfnt+Cq8Q2fRMCXSCPFjac3UVCZcQlpFPejPEusD8HkuSh6bPGVKMSPuNZGbI2UJEwpOP8c2w5EuOvXfRRJjoWZJbS851m2d5RRubo5UAly66seG6iHTn4xmi4WruzD+Bh8FLBfniuSZ0ZwsKpV724ACksdmVOX4YqNXvCrf8XimMsSeLFl1h1uJw0xlbGpT48c4G8KDyNpPPydqlLdtMPOXIuNVK+LpGfrC5uXrs7DV4fVzXSjsCNEHq78ZahT3wCWrzqsyB0lsnmdCc+/WrW7YWXRqIosRFrkjgq6QzIWsxOHy9z2jAHKCBHSzB2Sh/KVIKEjFmPcIvb2sT+oh7l96BzDVZJEiLcbV+H9+AmOuBS/kY9GIaOor4KIA/9mIUgexkKfyZ6tdskMdts8C+hLoX+gX3SBxdBQt2ukcSdA2suuw5MbVXi2o2lSz8gNXlk2+agQ7GKDzNZaOzpCSuG+ZORz3mVpgDpeAYKoor5POAG1CrWMnQdTNEDn746IE0rBjDAZA833RxnFp8ssLaeqaief4zcw5XOrhW/vZgjKChsNAeeCXPQjdCumzol0YwIbIdtWIIoxqVEzM2z+w1XE2dCTrdbIISS2yJtYMtWmiOtUC8tsMwC4X5Oa8oiy1rpvMS9+t5trcItxmCUucNLbtxwQNTqmfR0Hcyl9yda/4QKBdl5461InghIeqZDnvvuW2lMWoBPC5oLvjRmjraool0qvGj3Yis2nS6DEtV0mbYQVILBGyT/BE/Po97Z2i5hEDmQ22yIXqG05tGSCp+oTbdqg6O1tlyukVOAeXLrkTUa3xLEJdKFD8T8l7tFdrbHzQQa2HwvQ8leCYbpnY1YbLWgzidKG4PzfSxO+DFY/XmWK64TBfdI4+j3O3WQ7Se0eNM4F7V+I1TCXjORvjGLyito0goGmjsFXhArovnxsjXhkDhJt7YgqUzLb3KmvdO/4him81Zlnr5NMeZ1sQ1NOAiHhmC8ghZcz+ZyB5j+FcoHwV3U03jejUjxh5xlguJfP2i31xtEsA+tGhVBMQOkwbu6cSapTAxb8DGlq6vJT9EvKOFLaobBFwp1a24zHN0obRxT0KqfmwgGHQHPZ5lffAcRAvArZmOgDfgdhf1ot/3kXSfUoui8NFTUP9DrprhrWaIB22hFuvvFFXdL06qrDx1VIA/oYUCqvjuuZJH92UiRR1iAl/WM+YZVzgW1BspMzPo9vIpFC76quLER46KWV0DiaEnbrE6W+kwGFbL+Toy4vSWxpqloFN9SEv4xENJGdPQ6tmXwTz+6tmii3XPCxB+XLoSkAxueSEHLzg7IL/L+QdZVUTxKUWjJW9eHknxqI1o1LuYO0n+QyFSoPVeHvsuqe9souPu2D7dEn4+Ymg6Q0oAemHemUXSSFmQ2ZrDpQep+9XCtzNjiq3t4Y5HrW6WKMYRiLnEwiwbKX3M/ZnF9Wg0N1ImgNaRG2qMKathgjHIC2Os1i5ondEUDc2Lmn4W/q7icB5VsSvnVRFQT4K0OheKPg5ta2qpOPJXv1rRKzfHc9C3YXAfOVt2LAnCX+sZ1VDB73blFrJAEBU4X5Hck83TYP39N8uoeHp9gXmwi24Q2b2cGjRvwghK0TNJhA8MHCJFk/CcJSViVnKpofVRqZ81Lgf9sfHtW1VCXAZx/GJ+Vzo2ywiEprnwMcDoXckAByhBKPyj6At0Ni/1ZbreZDcTaKm2vphAA6sNkLgybEF13vLH3DgvtA1SlyInLv/UFaEpxQXemEFtwQZEiMu1UD4NxxnjFXAnwgkwrX9uKgDl/S8Sa7SG1QMt03SamtFUQxzyRwAMrswJtOjrPDn/Tzdn3fgWuHKDgjvIAs+fhMzEImqERhZ2p/mT6xXQOuhxjWhwjA5+WXA6uWMCx5Wiq0fKOOpKuoF+rx96FGAu/8Ih1xBT+ujrvgYOTtofDX0w14k6U4P2xZmkXwXMzfGirwXkVlPOjsbGEp18Gj6WsMw5RDW8gYt+V/B+GlgpfJJb/gfeVOudNiVYQ7V14mnUpxOt2ohAQSFuMt0oP1Z6Vhk5G/VsNLO23rDYSH0I175fIHWSkn60EJ0mod+bIf7BlJcJnguuSVXem/H7N2d2r9sZ+AdNCH/o/ZCQ6a7/hws2TS7AnHWbAYR7R39eQARq3Y/Cv4bk8wyJ9r5Fvx7wC7UxC7wYpkF90FB6tSwHFwNVlqtqnDo46sO2ypMRXF51u6oqmovB/axV5b1sUZYppm6XUmg+IztZXF+cvTzhs1CGzJlEYSGwp4bLZQdAvAxbxGr6EAOJMPfA4ksX4ksyfM/LphV7N9ScszBVTKLhB4jXLB3f7dZfL8P+mPpnG0URvl6hKvYuMWDOFCS8F302dta4OLUVeczWY0tTTpcP9Qp2A1volsZ5AWGjf5mrq5Mu3TF6PkWkEICZF1LcMvwdScsGObJz33g5eMspJ5IHeRvtupzgVR89EnvP/hqATuSUb8gDKs/U5O/fs1hySJsmxdmrO5/KA81QxDUrewpGj7O8aCRC8uKps4jkN9wKfBJcihln2xvKhdbOpSXPAJM8LFJValvEbj/W1Tu6Byq4zJD4xXu+355PMfyg+ZVACoR7qh4tCQmzRneDbLS78Fu6IJIzeUBagDeFOWZ/xlO5+SnobpI7hzV9P84Bffos1GYDa+9EmCv3V9rbT4q5y4jMan/Lq7vyFXGxLjpTuJWTubJpjGeDHfoVbdVt9FzrwLgjk3XD2SOZhY2xupasPx9fOA3CFUXtSk9BrcxGZiJY2YtwZuM09IOq0/TV9XmBsdo2nBX8BYbFc2IxqcSyHH//15k8Vve+YeowvzlyudFvztBjzvuKIpKF3LQFh/Q4E3qStYc4QGtmcxLaFeeLYMcax+9Bzpe9m4XesnIDvwKBHL/aXdJzdEiZeTm58P+u0rb+igyFr3FeYOyYyxYKa/fJ7V3VDrmmUVTzkR5LFffFCSNtMfSDO4LUhQFVFbaa7EVPfecE845nByUC8qyeFW5+FiMTuy77+HqOg3txxkoyFK1d8FAiYnihp4tf/eBGLwcHAh3Jhz7yMGEj3XzspmAuUcFHPB/ba5Dw3mrXFRmZSbjtotwYhPRkQaKMU9SwUXENoBmgMI64BvN4j2sSzyMOZCe1qRcB7cvTwswJTBW/GI2yABnwNkZ5MuK51ONw407l4zlImeoaMJ+yRB3FRpbE7HxEHOjgxJu/OR3JSWOCgmC29Eq5wekNJB/xxXMGWsmCxq8hmJOt7mZUsHG7HTb+EyhkG0LsLFoW9ZFpGKXYcwFN7WK4EVU8Ycosq/DJSIsQz6earoqEUqO8CRsA0yTCP8PGp4BYFRU0WJLKCyyXvxPsM5S0vLBXRGNNN2TA3tVaQOdEUw89E8c/UAayuQkgwLS2xqvvIM23F69gXgoWSv3C3VXYAaTAtuMt8RrkGBIoQ0jCYBndyeqiklJAxubauhQ6cp3pGb2PnXITwgvbugLBAvzrL6LPeve/CuahXh+g8Nf1udqR8sRvioieGEsUHR9h0o2O43jl/vIuYHhJxOHnPDe9OFKZf3ybp84KNSva5bVwe4ItiWhHglo2XEy6MeIzCG4hPtobl8EmvYGYSMFLRYAq/B1EDYW+FewcJbV+Vbl0jmhmUsVsRwchS7/j4Uinx5Gqc+xwpMIIoeXlizHouwu4EwZmYklX3bEisWwcMbQ3uX7ppEsE6oXYmJHH2Jy8hMq7PqwiKtDPcF0WnscHdRnu3/ysF5+SymmCkRHhS8VU3W5x4VJNO4oSlADb20TBlwsVtRzjMqUqChPaRH0GoWK2D9ZSb6PKdoWqxkrTu7dkDRVt5xOtXfiwQx/iUJNOqC7305xHF1vU8B7gzQ5kSgQYEvgZfSf9mqoY0eisUiS9eBNXMPindeb3MRmcY2OH+SccCuawDmVUJHcJQduvfoCWbChERz61JNdUQJB7LQbgXKoSt7YxZk2sHuZMcooGsMSZXrfyoXOwzbCKBzIs2hp9OlmICrS8XagcXAjCzTqC3GNraKmUnSikPjXLevaOv2xB/ItxTecV84Ulb1edVYW8rO7gQMrg0cu655VXxEcDy25HlDU3PsIUvfFD9AkM7cPMru+K2hr4m1Bn9v2yibBDO/34GFNel9uDq9aWQWxrVSrnrS+bEDWBjRYARrjU6pv4b5h7geMKzeT3RW4IBxf4sJfJ1MXSLeXk0Ex758FQvcsJHCItnoD+YbGhf0dXNRJjWAYhXyVxpe2PFAl+PLE9WePFDCIReIly+l1jHR7YEcIAnjnu4kGCmTxOuqMuQMQF/zRCKI5y9ozmUh/sOgZfSRNMGpN7d3CsGZt3AU8kc1avzeKqkXUI59PFQHtcqZnl7dd/iGzGju4Ik25LQQRMA7Ze+DljWgjAQ4egXKJLFixJ6IVb4TULwCfqTVCPO55XA8Hy0a1bLMwepkJvlghKLzhdnzQn5kRFaZDIwPB3HeLzwC/W5KSm96U6TOsKOYVMbtg8gghJ9aAecY0m5gmbhNdthGLzbL9sYbnRfJ55Ptch8L6Y1r4QHn9M+c5Mr1XE8gp+X/+3Js63gEwVgJAbf40SlOg++TCR9T5xDTYqbR06/zz2QQJLEDe2fm8nifhXo7Vxjv9AJ0f5TbE1ggF814+zYIGzjgEvOpcFwUe3s1UQA2bwGP3VC+NcgL27x3OjC2QV4AWmQK2z3UsZCqWobrf3XoyeHDqJCR55DKzzx+UxsyIOna+iGJSZYMr6PxnSdjUNHi/yT7DsN5dALR/jhxWDBRyDJ6eee102joXNpTrS2ksiu2dIoYxVe+ezKWjOe3dP65zsQtBXSPez8Bkvf2a1e9X6+BIiASVyxKn8N0kD+E+K/mu7w226t7w+Aw1cIDTyq230Q90c7MXel1LIfusoSXxNQFUwrLSxfgsMf+iCwn5DC1/xvUh5c5Dhq+Ki+stCBSnKrPl23MbVrJpaqRT46UaAdFgmLUAJPwhe8Ws64AGmGGubs77uWzAFUcSuqpqQUIfBA56xCixHzcb9YKLs57HgbJWFTAQb6oPA2nYcikzCCYZQFd+r85uziaBi0xaS+Sdh0/nfIoZIQgOEVuaLyW0Bn/ODp7xLwQ3k88OoHBPNSNU7qlTfm/TB34myNOxkuGTIKR7SqJY6gtwUfl0gVLo7/zFwbSnahUUVpp21FqiPOFur7+8a+OR+TKElGZINkM+1nzk1AcIgSct0qAdqKrIzkCBHXzG9Z577qI8YRA3KigSTSVw5FXesyROFUha2qcyod0F5f0JFZiZK66uTrZi0DzYMW6rIOGAI/tWI5pHIxfM2ExN+yz1u5JQ5eqLhc5ev07mQtaOKdQej4eqOOlUqjDVwes0Ow0zbf90xuLz7ztmDYUvr4gR7HGcykFZoP6hMkZy637CgWZGkm4inr9GOnY153O0dBhtueA59u+xUCexW0sP2Zkd1Y7L0agS7jjh5qa6ZaqH08+XdMokgCml6cMgAlWB/HviUN53atdbDegFrCUeDf5yMqhQ0MwlwatsJJyNFC0tTZbMQoN2B4j5pHtvSVgzT0nNVX3AYKyVAVwAo98R7eDkrxCKR2U6+p3C0gAK+mTNA4ME9lGNXDth/3LoOLOUSxxWEXxLSgjPyXjHt//MtwbL9/8JkIfAHckDXUlXAyvpjZkyjFosaVrLnwyDZBUhkH2MYUeDhZ7SifWG44BUaF0Kwts0bqTnklSr5kg00TW2rG6WMXPLbbKAYEjtMzvL871zw5oL86q0/SnzgdJ85lJOVTKIdckdps5vUu4dTo2BCuC78I7fS3gnT03nUSL8C8tdLJO0zo7W/bazKrC8jzhwlMc4q45ZweiqMPEL7CaVh+m5uDya1Z6Inh3LXwgLgKMNEb9mEovx50b+/ZF7jbY9B/20tpcKMwjqAatTDlmjbG1lKpmGuqTnscngz5ceEMf+ad8YyxdoEFEA/VyOMvS9ubxk5ZC1ZcfGOI4OiOfTNOc/lUWAwFZSOeaftT+kgfnAr9GqzvBSWa0vxTccRPiDt7m9xDYWgOyOmYlyJNAiQJz2xQy5aiDizwA56lCVN2JWZCTVZIE1SIz1kQWJAY0txJCM0MaEeWgfKlH65SASTUnmWu+OrIqe8smlWIcWzPqPuJEd9S5ixSQNc+I9gifr8iwmv5whu4Ne3vc+bfreLN1erDsR0LRAQpNeIEbtzj2iMN6TCSEUz6S34cqpxqEIMdjfaoiM+62HiWGRymuIukl31w/ge2EYL9fOYwFYQVsj2KWfGhGOdJilxNM3ZeAx/hsPaNf9iZLuf6K3Q534VPug7vqScu1p7FthxIXQfZ1++dsJCJjnU2D5oyssaHE2zh/Noi0wBu0NTBB9P3pEIWEtyVA1rCmvrV1qc9VYlX6AEACzL3AvQgTNK1CSq5hL5/TSZyDz5IORuupO40IcVM9j7nZPLELcHxvvL52f+r7OJJa2/Hzs5+GoI25XB5pAqY+K5fupyhI7YwgkG0wagR4LZ6wLwq/yjYDs+LepK1R5R197DCrXQPUXfrFRfDA1xGeukNeSYmwD9ECMel7p7UEJoiI4AUp14Q6qvZrMTOWYY7EZunBjPm/8ZLmOYqHHJ5eear1kEE+Wq6MMYSdqz+cOySue1hPbkL9WGAo1FwJoN+adErNjJAu1TGQUeb8YNXlR7Kr297aS+iw/eSyCsoAvDG/SSLJSyAqsN57lBuDEggyGBXy6HudVAxBLwM6Z5cx5aNL+H/STNbCpc+ycnv4sAnZQ5EDZWeCdXc6KWW5Cx5OwOhmLWTxBVqr0egqXoqEenT20oHaufr4NVQfJnt6dFa4d4F8YeJz7SsiY7VCKN7Oys0QRKtOD2r9ZuecEb2Cgo87Nifzh8wh7cAqmcndk6n1QU4QZrZnAbFkIcfGr6t/cWZV/Gw/GKZHGUdsq6O23Kov/LRwllMETyUoXOa7up1mjLTnScudnmoEoV/mAo9iyOCJxiqZsLAoy2KNZy1a476sYZ5ARjECI42cD2l4fAojJfiAg+NOMrODRRz8UkT7270p2e5dV2sSU2MfUj+lG+XSKlayXSXpEytPJb18Pm3IV5QN0i0rhaV7rfmhxrSxZllP7jl0pK2YNJUJzNpd/sj4OViedxji1FOkZknFUtPg1w8AAq5aobnaf+Le24YN3g9dASI1LteNBLZyGENhqs96+EviF5tPrQk3MbbaDuFvCHDVNrQ+NG2kRdzFFfwdooPEQx1EsTVypr/3S5ExZFBTFTDy8ShGgJF2sJaTySHkOo3HkXgYZp15bwWAACs17KgIEjWd/E8dC8ssJyodXKFPOrko04bTsZoBuuqMX/v5MndkASiW+Y4yal3fF+aLxvKlzBkP+XXjKyqmbXyHsK61qJN4P3an/7foEPl2IyZBWmrNvax8McJsaXZUv90ST9inf5SNlaI2MHWcvh5A4lGPeDb+G/3ZJO1IFY9HpywSvP76IWd5VpQmCc0Ew2NTfCvD0pFWFRsAAuAy434i2UQuLEzfF3En52OQrMhGYwvk4deOTI/DBl+M3nLOXZ3u6A8PS+/h7EcAxoyzSNy+U6dnRe/IzNzcDbq9MLweuPuXkvbHJThvrZ2wJ2UhgkgSeTnRjjAHmNuw8vNCEefALrNM3aw3QAoEswwUwezfwgzHgqPC+Fi5fMAmXk1WgGPedI+a9psTIP8Zdl507MCcNLv83Hy42/B7V0x9M2hmeJNZRKxLSkUmj8HsdpjLhT3WmKn1Ac8aygmgkQQ76VbfZEAJdoooOHmc866bPw2BnWbQo5o32r76JefmVgnOVfL1YGdLHXD07heq1fkdFE+el2xlUIhmGo3rjaXWhnatM7X5jxb+YLKgnlG+n1hOoiTncpRH8wp3KhuI6OZah8gzPqmUEE15VJMELDBqeOwGHP70dkjflwEoHw122eWnmKWeM1laixv1j/JTvLchGtr99NzuXSPD5h6ZaDOoMJE7c77PWynretE3hHWNDMJELYyPr09VJuiexbOnxQsAWxfgVtuZP5Gwj9K7qQfMjv/pXAqomvAFeu2tmSM7b64IdaleUpIc/AhlMDNqsmQwCLO3zpSfg8bwH+Kd6UXojxbK4ksPR36FWGSTjLABwMDKksMERmvytiIfdM3n+/Yq6w1/nww6SEF2PvzR4tw68DcuZT3Svqj3A6pVqu6OLViLUKlRJ+iiT+Ui+xPF+JULttIYdwPzaDpsbwxBWYVicsCa1Q65rIbDokzvva/4paXvECZAa+LxkwEmVMYfE/HeIlddBhaE05edG7j/KslmFsS3jUgRg7PeQ9kK4NRfgfClxmhWY8V94Rqocl9scVnqme8whY0aXY7ov+Fw3lQeXgQmZd+ZbZx4FcjYSTh7CrxpvDX6Tcs+7lKZQSC/8hntnfuoPeEXZ/uQxtNNt4laIQQE+IKfrAJPDkCvFepKyg88YiYCZoWQ+yEOTpJVKKuGUS0vYZ5r89oayposcYLFIJFtqNhSznCpKy/ayEW0Ecrxf1eK8RRxIvF1TJMFMShMK1X1C4m9PSWFBCpQi4nIVj8a+Iqx3iUN3HWqknF3AHi2aclZCwovrzAi+Nqor2V1EZrMtqax5voP5kQVHAuJFuRg7QPzTVl+fP4wiVHKjFmNY7Nv/BXlRg84dynXk/VFSAaBRHY07V28KYEQ1dp/sJvAiTeh31FWlEkkH73venjXNuJAOVCViv9Fdbx0Nvg7klLHSUDxS4lF1jp05YCoHnrVQ2D9n4ILsgeVFHp31BlZP/1jvuGYGPADOIHe2HrKG8e69gtnc45tqDeWZjzAdJs1c8kL1/wr66G3lw5it9WBE/R8dF9ifko4FLM/6g/xlmnZhqwStlveTpv49cankanvCLuhSC/hsVUrdO2AIOzpza+W4AF1MfdUVzXHfauff0XdZYUmKkBxWJHTJ1wQN5YVY1CfDkgvFp9Mk464t2JzU5W1QQyo57zQCnZxP7EyoKx5J2X43CbdyKB00LGBrqWJu8yFGzESUx1Uj3NGJOfIuf2d4q7eEZHxLLCuh7ug2jYH+8bXpgi74Km+Rc76AlVCI9waYIO6PpHk+mAIou0rKMROCSGUyAGHCtPNgFSllkgMYuf/1e1RrbwBPkRO+8YDzqv9/fqNVnr4OnOgWDH5LhSxzYHmxGELvUYMXMUDoVoXc2L43wyUsy595JCe1O19PWqToz6tfoTF1xpSE6PPsCuMyvhewcTcfqmyy96mFGGV1LLcSEhvonBgXTCxdmM0bjH78a0xA1yTJuyaxAsdmASrRFtz/Z14fL0lQS+HY6VGGbggvETcgmj4zX1G4k7CQrXMYwTyzi71+Se8c95zzkvj6csAhqsEH5Ll9V8OzHnA7llk/5Z5uNAZJOwQay7zb0icPdYi4JZpLLiDnNCUTBDhkPD5kT1HFNlWZrSmFzJxHADoelGRXUdPVIBAaiPTFIpPdnHdw7xziTgNKfwCNKJcyD9vt8MpHXXz++rtUQtYC4AS3YQPo3XpsgHS7oOWxdQWc59PZolCHjcyPIJKxRyeKLB8nEATsvEZIcMO5ArEOXhNaGbF7LSl2d+3weNCR78FK+Wt8fksbWaUri0fMwmrJDi8aws6TsFyqAE315KwqYD0hR1Z1/YHEAbhUQL3YopHwpPEZ0amK7aINPhz3+MhdUZX3NVsNexEXRwwAToJqw65G1OyuEXwh02uP//wE25Ze2ztrmt4o4KY0+tjB3NC8xZe6+gIzYa3wa347N7TtMjzSUQifEdSEefJklhq3Ug8vNGHQpd8Ybsueu9ztiuNFByvbnATN7Rc1NE32+L08G2p93XpTnZYFmCB6SSzRqqsL7w10k/yzjnUuhedjYYaZNzMITlzayyq9Kn2VYbLNDgaSYWk7gOKgRzruAT3RcdEIOxxBQTyVTvPatrgGRc2gJ88Q8zy17vmEaenSHyWbH0uJMJD2DvBmiUHhZkaMh5dxh6uWaZI3RImRgENjQkKgZgbH+aljFZu+36HzrvnZWKqzC0qQIlf8U6keBn1c+f5QmPRK9cum5HF/UM0Acctq2rM8dAxTdTxtIbYNBv0Pd+Sy7jbnrxvR8pfNjzmrNY8s9xquqamDOWwpieSDUrPTRzTjleUtPV8L2V1Xt0YYzKPUZ1s5P/7nle544iAc2H4H0ftnrN/Y2M9DS4X1C2Ry5y+gMmdag+r/NcL4jriHqHjhOba03kKzVNFWfXbknZsGHm86IGlqtPAxurnvmtANRrrEFL9a5ZpmX7gRVNCqQn8rf501fTrG7V2xA0qgRlZ7okPupr5sboCaA2Pj+1m9CC1px2W1yiu1iMQf2uAoYzl+cS0BKGIbCIgAET1aYreNBPFr1merII5c5rXmd8Gmk/IyxTu89AS/AI/hh0g/2qJuIgDx+etpuntKYn8s2PbSRMi9up6hHyPolyIdedpTFs9xCQyR1LOVbPeco8/mq3LX7HL1mz268FewJ8AMo5xkrQd2jxps0FijKV+zMO78TxVXA18kRwc9xMDS7+iPrEipFk0U0D8cJOvdDKq4hd42lrRiT2sE7o2Zu78isLRQntq9SjA7C/oBr3iqPcwiRHA/FUI4XFdntOGCfhsf9oyBr1FxeFuhUE4Yve6/mapz026IoTGdOCd2o4A9ngwm+WOj0pGruYA1OWyoQTRKPrvtRsEzcjGME+sHgbTY4xIGv4gFLAWG32fpLenOIQ+WKUTDLOjFVA4/fuh/pG74MLkBAEHsMUKhEqlMTrGtsqsyP67ID8LM4F9aFKcFDy4o3UQ+UKOuSMkK77lUWL5fQd903eNC1gbhEXCHotD8devXNIdBTmkh95yebU/VyHDrLGBUtjFmKope52SAl0sF14RA4mhvYfMC71P/gM1vArQf1SGHtqDc2afwB35iGGiSDUyYNDkOjr6RcdKxTZj9CLQn4Fht8U9jXjeiCiZcrWdqn2SBPhSFjJq0n+Qz7yaftFVUWN4J2XG2v9RUcV2/KxOSNMSbGPQN31waZO/3qggzU6J6pdFV68YevXCSLQug2690Y4occjBcUxefdn9NsbA7Lw/FuS5pdjnYXclpPAcQQvhjhc+aZDzdXbjj+IEnM24mych4uI/SkDTA5yUS8g0sUdpEAFVyTLLVMSRnuqXuYSbQVcda1Qr3i32qQs3Li01wyDi6zmX9LZ3QLLLrBEqv85Qc+M+w709wsgwbHj7aX/pju7rBeIKT6iPheD2ckif3IV1uw8Fz7g8ghAGbpSDzBiPcOkLWemhWRqZMqmj3C4MwVVyANQ0vmkV75keX5ElKhSguMG3rFsascv+rZ2ANDjxmF26nFQkU+Y8oAVk/2US5cNikq8xMhZf2W6Vy0ATK9pHdUNV6GUMIzWQLxZt/YHnSvqhE1JJMKSahYs73D5c2+1Mwf+HC8qfkonZ9a5PxrxLjw3SFLE7WjTNkpZV+gDkhbet07l2ScfCzrTwxC+dWl6iEj+l1sZSdDPd6wDHS75Xa/ZTi+DTqfxysnhimAq5Yzh9Yi9Fmxycv9WhX7McAJ/5ylm4F1IHyBL2VJnZkB/MuD0gqXfyHHpCGlyb3j3bYpuPXHg427Gr6DUDfvBaSAynXVw5OmXkw+9if4XVbQA0NZZkriaXPf6t6jLmym0kOXiMySwLKV+hFk8c3x1Xx6aW1ydlXwmt5F8Uj21ht8hxl0z+TPbney7vkRbo80Pld1yHZA5WcIsqeg/ndmPQhF+7SBqvZZM4+RltUiSP6/5Twzw9j1J6pB5T6nJkQfVsx3NLwJATvmO/enrj8xef8KqfzxezhHhQFmmtHMrm+sIHf+vurkcNSiiQ83EymcJ+RkDk3MIjIVe+9yjOAVvWqA4Y9sMV88O3SC85hUb1IYDePj7AnqZGDvMRgVhfm+APWv0DYwYMNH6l7RMLzeZDKAK1DJLh5nfPXXKcqYrlr8R7RUUDI49k7Dni2UE2dCx9aS9lgf4YQtpixiQ2pQhl9VHOFPXB7DpzFtpF+Yg4Fzd09jxm6nGkT41FQwQAHZQzQ48TBCzQFSg0P9HNO+uoxElUiZxdQge+KdIe/rMo4RsvzXQrvoPP6/AFq6Sgxnvfg2vHV2MoV/MHQletCy+pFPVNOZmFudr26dofOB3I87YsY6Ahml+eYjmFuW7z6mFWEL+nQuc8LDktuWeAzqoWef0juJppuvDrYjWVB0MmsCJb4TQ3H6NgkK7P7QpAy5HUsHe+CbpdRxhtq6dG9JUcgQcTkG60EXR5V5v+n6Vztt7erfPcIArVoRAeyam2sO197jWdp9tv2RjtS9Bk2LrKngqPek/T+C7wxCnUPlgv8ZBH6xiLfpSXw00APGQUkwUog5CXsmebzacEgsu9uDYbPOKrY12/BMyHich2uywYLX+NFQ6baNjFHKevLLARSubeEXxikNoQKB7S+LPbIT1fVeuRfZQ6Gx5ugaMZaqtVY7OT33TN8fLP/ZmkKA2dk1eMVIDrp3EjawdSjOOEz0a5KKLGBlMx/qzRqmVVS8zuDuvuy+Cgs82WelF22dO9rBkv3XM5DvGyz1dmU7SXwwqmqFRQSbhirnZPe3yzP0TDHt/EtzSfdbpW8ElEyFSEJ0SlM1O7gicRmiw1bPrp97C50JxRlQlAEuCB+X15fQzyDqXY8i9eIEdiGJWK+wBO9qfqhBb61R4hGXmPCQOCX0++ZsjE2gJ3qik/akPUzzv2gYEJu7sVLlf+sgTaYmExGMIptHS4uIYvaJIJzcW7moXTeLN6Ivv1h8QU0MzJZ1QdYHjcKw3PzbQSk515ASlce0/5eAbOQoOF5ldyt9oEpagf7UwBbIEs+3XCGLszSkSAbWahJ1Y70n4LOyep1949r4mKbSzzK2waTfzcm+c1zkRbHVgObfDl6wGDKPhP/8fH5p/nHkJ8s877cptUBuMfhBEns7fv7GnE/UTMRA9i+wy6bneurUylNY9V2Vw4AjlWLa1UUr49DhpR84pcpgKOdDB0r9GcELMSeFDPoE+M0vN7KH7POnrHAbt6d27JwvGXbqtKXV9R5otMCaOpyX8ktOtLocMgyOwAkCA+J9NqjuSRxiW20W+z0Ax4vGpSI9z1hF7JlwQ2QC4YsYV+DYwHCNJeI5L7AFJhr58K4LpykLJjb5y4TWtRVJhKefQETaa4cogwrTkfFz1Rtk02Kf6YgLtutVqQAl/67hNuepOMggHfJemgYFyq22wxfPYNDwYgWu7rDuRGTzHAw+oty3I7pdHcOxU2ZJH8HndxobAOXiDLQXSGi0PqH62LCkRIDZ6eGWqhlCSRCUii1O9La68uvhJ4o8HW+lKu5zLwk55LMmihGx+BufXPIkZlPpyLjEXB84W5SZWwRQPFUSWEUjGmluhTZi89msOx8vf8ncVopPuGVh5Sc+SxXAoiASpE3TwLC/CoKnjkGme8S+y+WUEx7keO9qeAWfuYGgAPlhlwBrCOeOR9sbACySEXEMz9cb26mJWi5Vlrd/nps0IMrPmxQWlsm0LIxJ9xmjD3sA2N+ArzZSdYT8oZXK8kfmVzuyNC2VoVptvpt+lbc2f2UytVKs00Bab8z8cp1uk4tO8AXiKL7XwopRjw8sK4ES5yG3Vbxw/CEyZclapOG3TexIJT34yQIOpvmnDyhrEjMZz3B4vzYC8c96Ryyxjca5LznFsRtaWmu7IM7wcmdSlgI5hX1IQoYFuMdaTXZgOzvrWGYFja8qOzvOwnm7zdDhclvVYveMEex2prI2tsLUFQ9waI0sFPVkjdwcZBPvS7rtrzVcskUt6QoqaCjLl5oCBh7N6ACU47zffROpPJLKdPyALgfzH8JN59CANYVeUm8ClQ8ruVWiQO1TEu1lnfQUNqQbnlYSJhZJAqU99OeW7x6l6EaldyfLZe2kdA96Dd87jsQkQshpTYpDnVXx+qaYqXlORNOSIJLFsPDP3uvrvo6ug4hftC6EjtBgDWGDzdlLPDwvNBd4CmlaoOKmWgOt1NLW7UX4ftNSBVneGtIG9k/lB3Zl4KRJf34Q0wa4Q+kbBP+HKdB/W4x5ZpHhLAvwjc1VbnDOsJ/P5uhHELlxSKTZ5mOVXj+sUBZcsJGx4gm1I+QTXcWZSDPgsOZfuadjzm0llAhYpwp64OOT7xXO5Jg4DfiKaD7wPqATJ6rS8qsphu/q1C3uKmaLwQt9BuM+GeBvPTJwNyKfhjeMUmP7t87835fSf2mvzEq5iifVy1XXbZ2nRWf2LDaKLc/R1HBnnshtg6bnnfJb0Tomwr/UYaO7jsplEVsWu/NYXu3H8JT7GFRsbPvwxSrunBzKxFWLxs9ftddKx+xl1PsbkBZVvowSipNRfS+XwIMNDVySCLLtnNHjrsEfaUgqXimnAkD5cbHZH8WKoJuO4LZI44EXEBpfqNPFYk1vxmXkFQwJaF+h3nCPmI5mvs+7WOsJoY4Vt/hh3CNVheBTVt0NM7T5Akc8Iioj0I+7ErdWpXf5GhPHLBu+pWXzzSIIYhMegNkPUE5H2Su+lWM6QxZW4c2dlNxtlZhLZfkgIwL/i6ydER0WESZTGlVWTW0s+dSkhvB8a2WYuZ1qR/68gbArPTjJsq9fsgtXlNxgXIpmQ/LUvvr0VWjrw8e7pPJU0tc2CXgo4gH2/DSLTVvd6893wMpzY9GvsBkNxr39RVwFwdBW302kFEUncdGngDg5qkZyCDfINnd2B+yH1lqhPqx2S2CJzocbbSWndGtVQ9ipHpQuw+g77nGZF/UfH/QaK2ycAlA/rKCqFODxcLx7RHe18x/d3zZYFHtevwPsxLh+P2msz5RSYXZ/Vg0FzwsbO9hVMCBHJJBLXlRDgrRk6WyDCYPy7JpPRpkUFtCHeuCgHaZzZd26MfGzFVv5crn9+bTEmwaZSJ60AFORmuEg/x58Rv++HJsaUjwyqTl/hRSqYaVziA15GBH4y2FYx451ZXQJSwyVGkpZY81MM1qFDS/D5bcQrU74TLHFQvCkF3GlE4QZaYagfs/FktCFzpv4k6mVyR53juaD36kE7ZHienO06PzXZl9xFmXwDhoFMjqjZEg5Fc1sLlfdNaP6HRHaO3dG6WUVRPkwesl6P9EbS7T2r3TIoFXj90Cv9USiUDqWum9Ea+nJssNxaZkNYAeKp8axblvC4ocf5lR5HSjATb89qeSynWf9j3Rs5u9JVbMo4lV3ZD377oRXN9wDDPSarFPDfvwaaOe7W52IOwLL/DNOkoMbHccbREJ6Epx07n8F86A2YyOU1FpEKA26wFsopSC1WCbwlLQVYq772toayo7vZ8xf13sDuu1VqR0X65NHjIoWF2M58GskvdXCrS2tzIS4DF0MfAWaBD/B7YSLAmAywGI7hnF2DBWKGJHFTgWCeK0GHkyUWljkw8WkrKBwJ5MWQ8GVhriCkGnPqJV0ZLxzCbcCuAbqsedyELpmVmpGLRTkBmhHRoa2D7teGvD5z2kxOJpidLE4lHsvBgXyyUCl3rc42kcCWKHJJv5yLv8SNubqn/02xip6Q27/zdqqghlXSMc7nw/HqTH1hwkdAC9E7QveFR2KVC/yn+BJ3G9P/6OAtojboY5reOBx+ElLSvJgaJnL/pVFRQCJx01dhj+PYfm+9t5J7mPal5YZkwh2HKYbV4/MxNMyzpvwUVKfF4MHfuIRKmSgus1+S84tZM9Fv/kMY9ul7Tpmvvvrpcwbly1bFP+mQM/yShILvPgC6A/LJeU3pWw8XiKXv55hptph98dulvO7tFQzAiXlZAfSzCbxI3PsaLyIuK2CEo7wq3cKlLIsMB3D9S/2j57rBzLtWyYLmIPuhLUhukfTbaAweogSLcJ1XM1FxtNjKd6G8vxmsc8WdOjzhOp2xfr6YyupTM8eog+SvQ9YAk+4glPHyQB5DXUsAnnEmXjw0YDGj6doZhLOvVduT1UZOtjGU9ngaRZf3i2K6SWecuO89R6LqgB0l4tBTlnL8KDkQhqCPkSk6AYc8kx8rFDnIIj94Lza3E5mm4ESiZKkLTt/qw2VjLx6H6CQofzpro487vpq5VQPikD43FZAo3nc/IX6rhT9G+3RcUTG6ecZ5s5Hx889d+gboTMvT82v/NZ+bKM7pvslMsEUAsGus3CuLB+8Dc6fJfXeO35KD5kSVadJqYOltu94iW1vSL58drYP+wrkwxSF3GupFoPgaDlukvTc1vz+R+yXB4OTPUkWEMVu46Zb2VOgUFi9SsjpN4I/S5drin3bDT5X23Y9aJGNVlfAO1YGTf3O25xHXQtvuyHp3h6Gmtnt4eDW5ixuQr1foBAEB5AE2lT31JpamQrqlr0ZUrN4JPWKAnMK+cBTzjKqCNVL2jN3qdqgymUUC85LAy9wESg9JzdMrzuMxr1BT22v6VxgDnNRK/qwUW4MlscAakbzHb4vDxTN1N577Gmo8isFfHcnMo5zPdt0GPsKsuKpehFLsqsd+dmlpbzUVAnc5D8A4lxuirmGwr5hQwY0kE8T6RbYNf+AwhQgzlJa7sgKJt+nWIyqxMbk79UMSNV1MyI/cJsk+e5GF4SPoAC59qOQe2XrAQxBktL6cjDNTLEUkQyOoDwakxT/5qdS1Eyoa8RvdKZqhQZKHp0QPwyzbLNaUCJOhcm63TEMGA8g9tsaa++T29H1NcOOVFFPGSvAdjribXrXjQgomc9kt1TSh8Y1gbsF4v3/FroQkFmOo7dvZDrpSLFLM4CfKgfnO/E755eQtlZD6El4EOrVVKzV1VZ3buILRjjWQZjzk4nQKI30Tlmt7kxvtRfa3O+Jai7EtmE/3yD1zTR0008BDzJsPLtKj7bbh1UPj6VumLfzFxW+X8DlJjEZQIrrZB/5n9chtwOwz4qk8aYlOE6R0+h9ZROE30yYgTju8L+4u0oZN0AEGzWC1OxYERWxOqIu7ow92C26/FZEHMuF4+WfhNuUxhFEahdqK5iEuuMfQUhh8PKa5Hh8kBkHvhf+HNTDjzRMKBZZD5aXOKiWfHeTTIRj4avSlRq+02C6zdEeQzKhl/ncIWfdeGvP8w5tMUNAQv/Q+YRL5OD8hBJUkGjCy+oRKw9KDUZ5FAhF6v+ASBfYWrhs+74+//+9ayXW6PPN2CvaD/OH1KIoQqkSRE3BzihCY5bsfwtdzXDVAhUm9OmGNLOORv6EZi5zU8KMcLNnSVIZObo4oEsgJk9d1laC0tc3fpPQ/+fbR/8qZjQ1KOsl2eCZCAAt7kUucu+TsCYpA3wCwyNJA48f2PvaODPbxbAWMfPKKlK/xx7k/bJQKBI+45SaB1sq8eAHykxtnQqHwI/5NltFp0cTn1qOA0VN0/pqPx+W7v4ET2A2kQixqtBZOUfUNfZWLfd+Mmt6uNnDcvGZPWwMxYIiw1p4ty6eEjtYnDqcLDniu7LHJrPrhOW9steY2fw20zjk0jxaaXBI1wAIxcRl9+xNY+uFyBnRKG0gWykBUsNP4H4nBolcBwPfWyIozvmqE1X75NV075U215aSVDoJFgz1V+yk9K+GnCePzhX/lYWX46ICwm/dpqvtH9kdREfnBBBpRbcRc+QtwXe+U6ylFtv3DWlEZ0SZ6HbC+ajhy2xG8NeLbpnESExvVfVS5HxDMRbevi3iJk+rCqE7QTWGr7eNZxdmx8dC/e97gNP1Fl2v8h21nx1QlgvG2DQwMaeelI7/Tw0T+Q6VRGARVl1B/NaIVEqJb2cckc/os+usEnaoRqBTzxmJID9Thb1f2zC90Gf9/6HzCKDoteaCqq5uii4yvKOfDos18bpSY8Bu98jkK/s2dTxVrZ8SEVmZpedGt/2kPXPHBXegTnODtHtNnSpGPxNAOISC6iUHjcKgG7v6+L7Hw/M3r8gs2M9TYN+R/60DpRnbVRXPlCzGJegwrG3e677FW+gbq9l0gvgim1ijm11wW3ZoZTTMZFI1Q5WlFJtUojcuSMkXWeR6Nbu5/jCYS45leznqz3d/uILwQ4ER7+JUAM0vUfUyebUYuRWIxPpCtzrKZHeMs48P43HKG2/6ODDSlFUHIF7ZiiLuJOdCWAlOEjLO0puBiwWE9Pq1ZsmeFlx4MRED19mcd83GqpgUz1nUWAuQZC5N/sfrnLTdcAXGBtX/PJGo59imQUfd2mIA5iX5pXXD6G9uKjZ430YMYGIfFIDEqjSuoO6YmQGIIF/cnnVJUU4NAR3wXPOTMwp92KZpM/rsgcndpDkcVipmMfxR3UEGBcrLiVM4QXuKY6h9zf4FAs56jYKFqPxAxKVoKPSdmGcYwneau4eJG/c/6Zf1dUOGfz09qgZyDKcGe/bcBuPgl+Q5ZRExolSlNGwf+MEubh3asT+pAw5fnew/8jiyAz4PL18H2lOkVbtZsAtZ77Ch5gxnziZTOkBcw2v4s9k+QA4gmmKWSL3XLAERUcSMhQgO9192MSUXhIbmUkcpVllDljau/aSLGNboXjrIyiYzppIZbPUKZSe3WSMr7oacNx8o+mLtH7RueSSb6CX6SijprnU9q5vYVBgv0HMxqjD6zdFODSPtzcxvOM1Ae4kjzoPmwdVlbl47SQHuGFuNMLDpY9vtPVYSHRMh39lAy4GKF4DRAXwcJEUnTm9RLEfDKun1839c9B3FHRYwPqrCCOU3cxNgTID1eyXjscxlpO+DwJcJ5idSeD0bluHAb3khpKnDTylQ+d7PuCVzaCdnbh2/V9c2N4M+dDPapav92sEO4hnW437+UrCganzPaH1N5lvESAWv/m/nSZn2EPQXSBZWuHJ+ZWaeU9iEmTJy+fSbKXLzloeHcIBZF3UyjBs8VH7DSiKTW4Curbe1N4ZStn9TFe2sSshI8riKVq3aKpaAGs74UXh1fihvP0g0dFnJzZVyXJldJjzofc95OFItFTK2P7JoQDcskmfurG81etNg3HiILxe6CHMyEmvYfQKCREigG0JGUjCUov+XDEiboqqtghnO9PdOmkylJdGazwD0uE+DaChArdgbOkJfLoziDe76PY8ttQa/OoOKhhXsSZZfOolB+PRPvztFCoT4ykl+YYzlo99A6pr68umXAp404pKfmEUfbzOgWDtqx4+Xkc1TtY2K9L9p9KvpbLSMktNjzG8ir+D+32ro8aZpS9dff3R5GQEtLPUB9o9/V2j18U5GkVmVqdsq78NF9qNFC5xL1A2WgbSV+AA9LB3luFdypJuxgYIJC363drZ9bLcIeZlzo1hR6n49P4kYW9jDW69lHnbgYBpWFJ72Gw4e25QKBjTZ9wZQttrjg1ML+nL8sbQKFgnz0DXPpljyW/+C0We5+h4rmr/E/iJBl6f4K9qAh+lO1+0QHqtaVTPVB8xHgOBeUKJz2/DqphSTCSGQG8AgC5IqDHjODHt6oAjwnU/bB39JrefD/IbqoUvrF/sHvt5iF0HgsLPXc8BT5+rf9HajQ6Vg8nQnu2ZrZ13itoGguQYdcW1SB67qhTy2SvOaN74DsoPRhSTm6f12BY3KS9Y/rggdiaNPYPlJs5lsqWum2fP6Cb4/bZm55waoYV7CDt9rdEZ8O8Oaa1BvYgsdrUaVTp28vzP0QkgctivU41Jp81gnMXvMqK6+NRBQsbtNtnaZpQJayhW1jhaO0l6CaP6X0mjeMUyNqE0jW3wr3NfHsVXGwdLjY6QeaI74ivd0qMzqjLE75NwninwlMPf/STbyWk8OS0wBWkQ3/F5/L7KqCf+zP8BgIbPQb4xBTalLWymDQh/ILv6h3skKB+aPt2pxHYbCgRlTgzOsk7zt/7y6y6cFETxSLaj31PEYFJiUmhJFsXd+F6fblGziver1gwAykRbntSmCaaIEEb+K8+tM5lHBr5/Ajnq8XMTiBxs+/yxKEi/CJHCsYEq3MW0FrtkXRA+7ntG3eC5dHLNEauHAC/n0jzCbCIETOKO93xOCgq/68qnrV4hVZlKOQRKEXLx4tOt4aYGd3FLa4tT9rqZYBPUxdMG30giIjwPdLU22VGUvN6uK7tzKJIUGGj6byDFyIAEpHtBRNv01t2KoCx92izVHlHwhVNTsLbpRf248PG7lsU6Hhq+vEgSUUTXCk/bXi6/PqQT/tTBh7Ls9s0wv2Bkyeh+Yn953igUeOns372uxiq3p06E0D9do880wS8VGDKSWuLqOnq8MoHn9R4w10RHcvU3QAHnj8MKKgNsvRL0+yMpi399yceB9i7pwegO10eCtVnvHG9UG4pEXagX5SeM2KTnCj7FO7/Ts5DDgSqa7iRb6pbVMVaR9GK+7V7G6CMt+i6vYT6xUzswDaqr25wfnwrDqTnDCGsqzndgawedTttNFTDtIpBL1TWW/weGHdQwv4CmvURkWyiFjh++Ywe6oa/9f1Sp3t8nVhCGQq/NzzuWFBOtsHgADoHCe2By1eudnxU3nnMEXP98e6oLYBwCS19FRkT2C03EHixRgPoLN34bt/8HdieitA/v0t3v0/Yf6I7oAaw4SnA6kDDaFhHscG+L61c8SSBzph3j/6uvobWdt2Zu4CheEH0YP2o4De5SAFWK+TXmrZRdpm8GCMVFHL46Cxw8U/ebWomP5TiCDpSlaXWDMYVZTA7OCr4/UH06n3id0ZzDP+Bqf9WgFS7iIr6tlBTzpGNB/Inmnb65UT3MzJra/HYkEbx8G8XAGILfjyOraxHcu3XgmYW8g+onU2Jfg1EHG6g09B5zYESVyuCGHS7QhVvUaUAz1FR6zgUu0wdXL30Ywt7ijVQcNLv3F+WM5eBAGIW6corcf+6q0skYF5tVd2AQkn8psuoRF1/+hFC7884AAQo6AadtpYX2vcx5G/4NHVKtYh/9gMRf6Cqt7opcZmeoBybvHGgXE9jPLGDr6HorTNSZ0oOCKOTFr71FDizjbb1JABJjmv6h7LgGymqKrCJ8skCQSCdOoP5ahaeu7Ic+En5yfbQT/O5jDr4GjVLONELTgVUtD94U2qFtksxcp65hJBuh5Xqgm75kq1w92dWuoVo9y7uXJ3TDsMPkSgh1sFsK2euWWcffzla9vfyZxxyciajinbPYwgK1xB3Zf9MLEllcTHbWvnhPN68YNLZ6ZRXkKGbi3GMyz4RiWAwlX69DBbwovXoOHLm8lv5K5sA7tgZMFYAA7XpBmlqOQU7U8rFLOZs69iXHDok9YhJv0U+B626YmThjcALrEGLG4J9bXaT6bGyz3GBHkIcKWKweRwweJ3cFHFfCD/8XYi5Ix1ShvK4W91i9OmyLgXHXyzDyIACawHOc/OzOEO7IcZ4PRETt+IQ7UJZ84d2Eeoq2HCMUous76k/5fVEqU85lKgqWPPquaOPew2zZIgNBmLyyEDsnpxyvFeuOoxJbcbO0qAU0Uws5Hs6ScF2NpFg/9pvfRLniCyJ1AbiDr9EfcOZjwslMhPzmUQIIUq72o6xvMOFIjdFly9oIhh7lWkwwSPG3TLdRVcNTxdkDEEnW2LFTrWDmHCpkObRW+r7YJxufPGh2ASRLllS6itYb8X5hAOv8GxblgM3WUuRbHOmffYh1ux95xvkC4WoMNh55D2tCDvN+cY4H6e4JuM4cNJ7Kn2JW5gBX4LzG1yPX/eVoUiWHCf9UHNZi+8GHA6fC5ZA7bLU7lFvmjkdxlbtARQCzV/tzoDBdqOtOWqwbvk8p79tX4KNVYTW/uI7EMBIliFsXdQ9lnuNy3BPybcr+VMKNBBcEZiAd7DwKKJhVrX53wsBmqGYjja6NtFcVxeWk/7lo0QWOACJlV4k5ClAAEK+4ngOIkpb8NqAgzBJTCw7apr4G3VL8kngjrt5Pf3cKcVkt6NchpvBSxiFr+hOL/h/wM/T2CgYN/8wB4bmwrts50NA/bQbakGVH8sodaMHWubbCJ4qAP/cKSR+iHDQmPteMf4bEpSrn7nX5ho95cfR+IuFl9ZSk5Dq4Pg/+Gxl4qbKtdPhN4JwKYHzoCLmEcaF7VAcunkngAenelMtW2u3s6FpIUvNx0ItPm9Ze/rJ8KamwkFiufnYxJ628eOh62pz+5j4ZRpTnoI74IvPKXreWKb5HwmnfHd6/uS7JBEGrybRxrKPbVMkhuAb2GVLjBNPC/m4AFnKTPRsU96p4+rENyPDpLXbTgfaY2aI55eRWS/cvNQn/C7VNvQCsnaNilFbnpUxW7NmjTTSEQJHQkLCrlyTfSy56Xj8mVslWZLSxJH2E+j4HeB5HznYgstacm05/PgWl7xtEicaYS7GUGSwGIEgOPs7RrNUBlukQSRpzcYfD9NCuAL2sxWVguLHbZJA/o5WfY0+t44nhHoAdHHHz3sOSBMzOdHWemBYZzuhI9QF+N5zVNSxRwLwkC5i/wDKE9hk5tZ87nS2Ygtuu/eLZMdStzddR9CxFY6g/8K36OeObSrQ2wWRrZ0WUD4X++0ZVFsct975Tc6CBB5tBNm90RcR8Pvhpd3ZnHgiD5gcin2AxM4XX9uvKzzjEXFiKPlVaKUK0ES74bBMdj0mKXWYdq2kjH7EqSa2Hh4TMZ8+HGoJfFU/sUr733FLMni6rtZAgl9BtB0flETE/jjP3UwMp3cWdESTmowjQkGOyQDHi2H1HkBL0w/eXARncZCYSxOTbpBaXA/FI8DBE11uehpgVb9jxYJgP+w43siNioXw/C9UYdbdDRy4+T3q7nEiUb+C67uXP23XBFBL9g7d4W7BjZva2CmtNvF9VMBKJG3AMBUPukINGG1JR0eIxQWKY3aoRnrTcU8nSXM0GXgJ+NuOiv/YOUPJp5ZjKBY/MU/y1XOgVH1j2m4FmSnSFZm9C1a44iH5e8Nld3vZw/WJvt6qw+IITBANJFCrQmXVVr/csgBMMtsW0aYRGrEUMIY4PRMt4XAo463MPvJslMprzn0VYMRp3cVxtavXKN7o8qGpI3DX0kWIZP+hQudkSkMJZy33D329nJq0jMoeeEnChREWiDpjiB/OOlKF5iOskXmhQ/X8OUMNB0SaYnGGtkjS4ziBU5vTMFsaFOv3tOLdGi8lWW4uFNDym507yBKK2AlPaPztsEEC+uMlBUuWFm7Zgi3gWT5W2oMhiabxRkfAZySsShsxCgq5pwhSwMu1xiki9kLmTUx2/3J6bPaJwroxpCUW85ncoHujr1/hN35FSrdwJRZuGJ5TYQe1YGbxegf3i5GAYhM66J1sl9OlecYrivYFnl9zEYO3mKi1cF0DIKTe9KwRBfpE2LJQKXmKt8yNF5Ng4FTVht9/69Iw87ipVvn7qWKrDyilBpXfYI0rWapX2JzswqW7wBqkdo6jthLUizrU1/5sPi7p+2GPMU3eKEhbd2cZR0x3GjqJeElw5N4YRsaqdA7r5WwaDh6LxXNXV7IDxmoIBQzilEFJVagycDz7UOfGW6ZD9Kc2AGMzA8ehr6phiUm4JOKbS2Cuwy4g8QUQpr3saOoaPHRIkrk9J9zwO9+SimleGs4taAKENQvsO+el+pXnIfoWP/DvAeAY+tJIoDi51bPFMFzIdRJFECJKZio8DiiMPrACKnCCbWIUOd7vmYZz/QE+kd083h0VJkUIEvlBffv39mrQS+0FXK9MeLknvIM3Npc8YE/a0Yr7YTxhzYHRYDeh+rG06C/JJTLLHUCGl4kSsxSDlqFnoJJxR7CetmlspEXNGQBTvA16ZTNo2YlvaWhIvex2IdWkre+4TxaWVC86YXAAjuiLsZ14x06ccppmjNEIXeeoQckT/KF5WJqFNkkRO6b9f17nxmlwpecbvLovxtGBwEMSmkHcm2FKFV9GD3PP7epELpC6szXkeTFATJQE0mVOOVMefEM7kHraJ5tmubBOIBlcom5RI5X/cnpSThk0UECIO0m0gF5rkNhzUeQLxIsm9QNU8qaviRXM2Oea+IQX15NgeqngS4F2rP0cyEJKd1htwp/KKiro8H6g3fDfLpMTYDW0R+4MXPVQFcTiqVqwvVml0T+KQDpP8Au6mTBh0wk87BjWH7VqZu19jgzM/duYFwAiVNIW3D5F4RiadCLm/6ZOxeUib9GGcIomY57382SibnBPNfeezpjdPcnNugXOhhbSMbMGh0dZ+YblVMymnDsV9/lmy8Gkb4VM9pXJpjwY2imJJ8RsnZclZG4kaAhCYQgqPOCCzMKSdASenjHE8IpY0FoLX19FiOzoIgPBCLCKu0a3WQlD/J3o+twR6QsBbujefcPofZL69sJm1Bzfs/0lfghKGY83Y5TSQnhxBmdLl3Se+lAAAeyU+fwYZRCh4EK7PW94qLNqRBz4fWgbue/Ke79xsrcv93xgyduU4mIZZeWNoQwIL69YoikxPGsSG2Ej2DzFNqG+hlzHaRdtij7/fBYH8vsS+xDiY/2mt/2qrvoKejbhL/jqawwiZb1uTedsupCE1cj1Kr8n7PWXAZjBzAPT8dbpOfCPQhz18ozVQiPtdSmtcAI30DBSaW9UdGCFyK2PnVkp/+5YmJBvFh8fe3VFfPrg/+sBf1DAxxqKcFtPNtfULzRMG8WsYOAw2pZPHZaTsfWVS6h94G08yveXuU5Gl22OaGi+CZex8cPNIASe665RieuCtlSVqzvfo+1bm18IPlIxClltHJWO14TuthCAunLWSoEeF/6hOErvmobVPBbV1ZJsgIiyUgKNtEdnYqNw0+3gNUaOGdcWarPyQA43O+QiD1UtNi+3Ubk4ok26GTqYDa4vcy4WBr6evyGBLf4+0XdeRM5iJnNe4EtYjxivUDTv1ktmgonvuUn7Qx9NHDWwgPVDrOTHpw6jy6AxrQr2B/jV95pnBvUlCiISdDN50EIUHmjHtmYWI5Fvxn3LHUSsueiE2PUfWSmEO3cnfOxd4trxaxKPotgJagx6pGsbm1Wb4YC15F9JgY/lNmkwJBepcZRAFR8QVkvHGk7pVyNGQa0bXModC2E0fcCBFk7X66ph/HxrQGvK6OB5Y4r6CS5+lu/+v1aFxZmOk4cWq5pFlBlRcwbeFYQmgZ5zK58MgeVthypnZVU1c+wXGtE+dnjSjI7Ln4Ukw9ZNacSX8fNTwrptC/EelySa35m/di/3PGzftw0K2jNgeqr2/WcyHzIRwKjDCvRiZE/HNxt5zMW/zvj+UxrgwdIa7MNCJp/jhk3SIRWyAOCoJWZm8bhbU/UzTdc0ot606TdY19jqRsWnRWtTM7+nyS8iOxJZw1oV9mk8ldxtp2T9LTcxc+NSkVwpBsygCaiF05UXe/8PFWgVYEEhn37PQECGu+aC6DCQlNt++6UZXITMrqqxc9RMokGIp4TIGUzNXRE7M9n4JXdVnt5qM2i7Za42oCEVH5M7O9kPZEm7CrvgPH0/hA003UwU0nr+QRgakpN7p+1k59THaSFcZh7Tb/ibArDFfqyZtc9im/dG0nKoABLwoAqgy0TzQ44xPhJviNKJxeIWPQMUHqQOLBso+0ejFdH6r1nu/STjTyIygFjsTizcRL94Ip0TQEac0qOCAvq2LVOLnPfSHs5uSisP7Blsw6nXed9gCy2eU67n41O7A6FcCatLHi1QjkPisS+q3Np3NjNR3TPg3v3uH2u5udGEqvGtdInIExnzxGFXux8c20antG2eVgW7RNGQrHaSuciBVifyO5llZAarkUOVhnkICN10z6L6d8bob5e9Xv0sxct9FXLRndMzbvTv0E+65/G2QE+ZEUYZpYMBA1q2I5SV6i/59pQK/NHTZxo+un+MxRMZs55bsAIH66cSJ0Em0nljgOWP9K/FzHK1kWbMLhhLeIxRqzDFU37e5upUrnMHHg/boT+7RmRAMsP9ShqM3Futlr74cN3O3MND1+39516FAsOEP7/65ueGO1/9Ddos4VfCE1cZ8iWQm7b9rbf+kjivXSjxmhZYFIghYaAOMOcpYG6E9fqogzBmR84AL9aOOEIdjvSPSyMoJkNJnbTmdatbEmAs/bE+neTEIdBinQObHxck1dNmgjtOh4GuVwx+pmbJ/qusJlBR6tq9RV/Fnn9Hv76D/qdvF4Va58bQpy3W0Pge2UqBTt4vsc1agT3gCXO2uX3YFc7Ylx40937pUMxt/vK4jsKKkL3VNA5oiE6dQqbdUFW/lPJC8afV3qNlAZu648M9sNZXOhgnOnk/EVVy9u/w08fC4cOnTElChsebtewTBoSVSZyNTbdT/7MuP99BsTSDsPkWj1MwXoppjwcU1QNqYm3xNt+HzndPaoXHPVSmfqtNeVWkzSgHtBiPA3YVtwF84qz+nkln1+c+UaymoOC0lbRwZCK9YG/J4TsFgUR+ZA1NVfbXRWpwrBA1NEBDkY+Q3EponA7xXWvZBRN9H0B7//rMO7zGIMJv9rK8NgkQOxsCPQvJjl9ApJ2c1FQ3pDmU+OOeDWTdcm8CCbFuC/56PGWyInhFY+4YxY/MdWyw8+07Atr/IN1Lld/DGfzfqdOvlirowNkaUu5wsWRvj3g4wvH7V8HKARs4X1kERRnASGwQN9xcFj+apa5p8esh3n5r0Kpm5ocUSeGUM98DFMIEa+j5eYaE18FT9CDCljb8sy3HoGx3YEmseEdx2fNe+osv66aB0aXl6OclXqwtuoLm9H4jIeniaSAflKGJt1z2jQUYH8B/iXuzJz1YfVWsiZaMQJxuXjqhcrW8E5HBxOFV2uUnrQiBShmXT30fY+suwzp0ig3etMUQYFIUT2PS3jUxSkEWesb5LMPi662Td+ATk2h70ELbLQ8JnI6nkqu1tI7+JWN0uYIMbkE4+aDxE0Z/S0/dev8bDh4QyulxNqUwBJPRFbuJzgHHcB7MTCBE1rnRKuKODOhKvwwAeBIPcpuy4zdkNJksMVS43nQ7JboyVYcpNjdsgnWQkCbIhnqcd5YJs2BhKz/hi+6OXCtwFUx9amADpRIQJ5Sqk9SXyJ8+9IlUKvf7c7/jHkEW4+xFzMP+ouA/7CyDYEr0lAojQQ8XXnFh3ZVKRtn0ia9ROeZxt0KuioSj4MCutCH/wk429Kdjw7WJfXvCy/fNgiU8eM/wRWgreH3c1TMpKC4uuvBmICmqlUCu4eMQ//HjAughttrPHpvr+cZ5wOSlZM6/hP+QjmayftEppv4NZgZGIHIDEbAQF9WXJ2oNchwUwsrKrsa9cz8qQfSk7gAu05kHGsvlB8++NCDTsWQDpOivbmTWBegPK7rNm/jZVjxPDWjefGtAYSD3g9aqfdtJ2JOildb5UyWGf9pzcaBVkBUWmVS2m0k+yOdM4c61NO6myXinuuE+yCORZuxiTLIuOyBfhIt56eK7qiXIfNFWvqT1H4ReP3+RBU8KCULlT8bna+R8ckGQmshJBRoAfSAy21AxEi8VGndePVzNuWuihuqXV7eSP4u9CDouJr+nRaayKYfPAgW76lqvyF6B5ryY50gpVsKNg4hB6rE3LAWy7CkmTmYPvfQZXsH0hA/89ijcJiaPqCSo2tFTLiMx8RrZ8u71Xc5CSva6KOS/7Ddokq/z5ziIF3LVIfEDQKDmNfCGHH7qH07fwilGFDgsxCdhz3pPmUZrGQDHj/+CqoSRQFIHf7jyoVL71H8jS5Ebx/IPdwvSHwZ9ixlLf53olMEjPHxOOrbUkY5wFtkfQJ2TGSUwmnfI3FZyE6mZVDf2+B0AgkuiqmBTePE3cRx7v0PSBLMYuClDPCWUCQcDs6TrgjfiQq7WsLBlKTZpvy7WpMfxTxoohXExcaQvXplZr2n/qT6nvozN3aulM/E5CALONjQC1dqmv5GZuilkj8BL8E24lbm4Us/S25sySJY9wgagTaUjdL4bp7KJjBLrO13NIiAvWHT5Bbxxt1+JaaJGG+cZ+WTM7Zk+xwC7IGEhf/VR/fjupqQ50eZcBFP8/PL8A6ddnQ/LjAqIpjV6jEsVKsCBwc/k8f/QSMfBItqMD+YSD85QFZBIvFTM68uCCu/6OXdZtMCmjtbbxfGMVC43Zm4EtYmLaLRBUhM9DqTf3GMqq162YCHxPeRjJWxudIyjafuiiOQhgL2QboFmg+6ZAwtmcEIffRta86AHgIsHUlBFgBE4MjBJvccbirexj2FyvvSWueAG7BOVR56G3DG1c21ru3VS41sf++OJFpSEZEUwZKtNRPX6KZfbOdBX1YLhLZTXcCS8NfbRWWKAKyVW45RAExICZessfSaddfHIHmiq8LpH/2f33Hlld1qn5/K9Lp3/Xaf9C/OcTK1z2CMQs4j1ImJVOfPdWVV6jhJweUAeAl4VZ4CXOgyAJPTt+cYOJXCzzfjZRmlKu+B3e49Y0UUkxYxgUiheOt3y61UmJFft50aWAtCeS8Ab1Jb8+xkBPQSNMJ5jXj4PJtofyyJ32NLqYS2fPuoh9B/Z0mr7UQ1nA2W5BKlMdabT9iTEUv2pxXBNcTWFLey8X+349YoliMu7jRbE/pKt8HaCZBp9m27o+duo+TVaWW+IznPJszi2OEbZBIy8Fun8ruzxnlmsrQEEAly+ia9+S3rQgjvJIIG1uJENUXonfHsHJOQukqRJAOjdeu40kSKEfAo6Z11SABoEaRLQVgcBs5uQOuwNiy1/h5UYDJju/QHBDcHdcb+uG3Kx3VYXJ9hd+QR+ltkOtjiBzY4j1DXpGMZXD1FtCe1OQZw2QXlbhF5+tx9LxhNvUA5zQoONF4CyVbOoZls24p6sEHPystgey9NBHFCqsMxFGVhZmFOhPFdVW0b+rmW2tE4hnMvFudtJnIyZ9n58UIPn7eZH0eiqSAbCgQ1NeVjHG84s/Mh0OMmsAH5A03AJVFIPJEE6V9ZLR39xsrKkza8bs/4nZtHVqQIAwgejUj4puxVfFHksmLecmCFtsiA3xJkyC5kAN/vr9Bw36hmSto8Hq41qyX8wjvVaeEuCK7FBkTVLZjluXZa6VNVt5JmMwVkLGsGoZEV27WRlNPJp/v4HwIxVOuXW7QYfQ8n8Q/EvrlkpIvFiyc2X4Q7Wg8mAm4YHIURy4hO8vFFVagvf9qrudjml8Xa8fJTVg768JDuNQX1YPih1RFuup6FSsEBePmac/ZZpvYYOjfGDo/0+1VqHomrEmvUJC1iJbBYnpbSMSaelzsJfpUWgV1YD/PiOtAePqTV1LY69bhMNLw7TNBgL1G6g3TZkiRwoKGopsmcoNiPtRWxQizu5qJLeLakgQbUqLFWIOo2EX7nm7F2U9e3LSc5dm6ex/vWIKrUyu+PNMV6/7OA/mBp8vIfFDMBza/7tJp6OezU/GMC8ojfZYf3/S4J4pfE9ge6rZWi6XfRn+8PGa/R3ODBNQW2SHRZhTbuK2mTKRIa7WIW8onUr7mraWNrVftovmpD5TAh44r+hmK3rUgbEp8Yov1WdhXFbMHNji+CpUikpB5PXqaJQtUEHi3R/r9tgmALZiBOma+S6ZWNi59ZTNkemG5XgotmHy+60cd4WyweREWSRedDSle3aSzLGk3ehZyMmhmChJtwrW0q403Kk5gXxnCaVcrJ19FuxNFXM0LKghwx7cs3d9H5cz1s26/rAQXfejflXEpbRKH+UzLrhy7vD8w/N388YOSmXQvDeVGQykWuB8G2YAhpXWvfHRw1fak9XWUbW4pHPGtCFFYnNohkCzJemzU1udgxwepQlhEHeL72Te+HBeOK96v/KNi1oVt8TR3hLGB4y5FKIm0PBs59SBC0KODjINB9ZJGv+w/GMj8kVBRMgl8CcTNTjDlcv/0aV9ok5XjVi2/xiVMV7mcabX3UO9YZV+xElF7oqcbm5VJnADVg6RodhcVoW/TxeYuF7/8VMszS59F8w1sMKynwZxmR6DVpejN6gi5pzG6weOv9fKKUGAPd+Rx46nBS2/ptMnMlDQhNtnDjVQM2IO30TmgNerH18iLpWJadGsfiRxT+r1ILbFoxTvv0O6xgBMPzEPtw4mU3pkWMkkDciGiaGgatF0ENCYuh8xzuLnhVOZciWYrA3UQO108fHb+PApLAHmMpxopFanpf5OPxzrnueatEtZpmvuE0/xlvtosYODTgPJqrqbrpIr/aEB1LKx8eTosDV77qJy1pF2tniE+r/OL543uVYKIjg0kxJnJ4BHpa7b0/mJ4VbYNFckJqt4oCgQvDrwC7elfsfyMqHDGxuErY7iZXCYj+OVe40AbkKeFWTvrkyQQeqOfVynMFWEnxVE/8O+XS4p8bR3IXz96tLfeAmb8IJcaEjmJKJbMZh+eUaE+qq+s2xH7lJ1B6j6ETQO9qSt9E6LSvztnVnsK3MBDu7AfigvfxW4kOpceILbNs69XdsOn9fH2sBoRBSe/Zhium6PvLGcakUro/VfMM0dyQ06Ryt+Te5qAS+l67ot5XJsMer+GOrwtZZE/Up1hyI8dD8t6TRAYAYPcbWx6qcCjySWRDC8Dlby0dJE4USggJzv6x4DEAdPb4LKc8T1hLsGM2VZf9tVwTjgHoAaGY4Koncoq/cUYLRnpgBdjldeGNb2J7MoZpjrWOXJANQp+iBTwQG46eOvEc4isg4gvfHQL/M1nViPCFWEaeiw//ZVfb8InVejeTHoIaZbTz2Eve31r8YcbMHa02ScxOFzv0+XYZUVCHsSLFclcg2RMuaWWpD3WoZnCIgfD9EMEhdcZAR4gw2hNQcKvfRVqqOays7W86fV8FkeNgUnJ9cOTRXQS9cKRoTyDOTdF6lx6muVQVlOouBK60clHRwD6T43/q447aYnpkBaIBwPiYUnZfKoa6iPtvDf2ZIozYtn8zhx53vA2McGM58Dljjvtl+AWQq7kZAekBede7shWf85MdzTl/2nAWelbXARtyYR0o6dBLDHnuVQ6tnqGjii4QzBoUTSn9YxAfkBjhGrp+ae5tyujC+kFs05S6ZFuGZUJesQ0LkVoLjEZUetc3Y5haI1Qr8dUR1PwXqmfqAW7MA2VEt5PVoHsqcrQljsEfrx9dd0hRDpI7rAIp8cgmYTFFrnswyVO+d2fO51UmKsLhPWoXBcxDkJA/vR7chymkCbDJ1raY9OTZApc7ARF8qtL3CAvnTnM3GR6Wvkw5kWeemn6XBlLFpZKCpB9XxR5GDQC3AapJU/Ca/1ZW+oWhrKVQgwoJ5dm2Rr+ATfkdDun3VR/spuNCyuuUVVVp5E59muZ2xl8TfTHMRAotWDroXQ83UoBBzpt/hN0h/dj7fC7cv2fR0mswrJshjlJFWWS1nWcj09CuMXufHIhX8T4pRLzBWWbyEiRPDC75K5Eb4d4z3i0EGysHR4yXm2/3kHqcZMKdkbG/1ZwGFL4HLPzEzSB1Hi5s/GkZ5cn+2r2NwQs0xBzTKKZd6tcCZ6cUqGvWgpO3A3WN1oDVnCDMgmrl+PainXSt2lf/vEOkOG6xaavetaTIIqIkNxLjn8P1jO5Y+N8DtYCR6h9E96XZ/PSSMxXi/ReQ52RW8oaneFREcBGEtXIp4MAFZBMGaII2bTudDCKLdnvlsDlTPxHqzfKU+iTMpdhVhy6RWS1PorRVVghP040rcOj+M3DbhYytJ9Y6nHkVnDPMawWCP7aEU0Kfc9CXRNsjMkJGwo6p0BqH3A2vVcOZrRnwl8FJc61q33jChuopG8js3IX5fxOaTxWEYTCqcdxPApWg4UGOIT7LggA3QBU5PLxq3pPDg92XUi1RBV1iKu7y71ZVJb33Viedf8m4I3KyoHKBJrDaN2d+KKKvMj9KMetKHIIPkBtNAJdm0IFiAlcodu9C3/7bNSB+1qL3aTS239FOSgb7+kSLXfftmwwIgCqYJ1ZR4eJxteDYqnQXXjnmTWgW8Tkhh0o0NjiP/pr7Cfv3KuhZg1fvyIPxo48ggHdexXGK6YeYiOf+G+ODeVTcdZAiYYG2+okB9siFbHn6eFsRG6wz+PZroBwJciW4ErFfqxuhKzjq+whui/b3qpBXDIQiXzFqYRGbYaRn/siUZk6IjuLrWHJqJI0XiYFG8GdN8j21Re9cUHkvFQiG9o9T7pk9/XMB11Ns7t7TUfnYrTsE3BNNEfX1Ts4BHwxFiDeCfbePbZuJ3KJsx7KEX9YNpyZhSy7tnuujFbTspdlVfD/pxvyg1Yr/OQtzzwEx8z2y+XDnazcC7IRbZgwC617g1J+bTfiZGoEiWU8nMSBdaxMizdlLFbYEIpLXnC4jh0VdRasYsGH99EgL9cohUIzgbsm6DDWBvH2ustjFHSq4tZeTBJcLj/YRB1b8kum2e62AmVoFepMv3cW6KPv2y/KMiAKT0bdNbiD4xvXiPpJu32eQ3XlRnMhGa0Iq+rkk3MoXDpxcRitlCNQMYipNmQfVItn4ZcjwWUtTV2j+H+EMH+L9Er3AcdR9+YQw2LhcMrY8Vb6e/MKLil4CFblEe98ARFbPdA1vcphp5eO7nGuDLZ1EFzkI6yYBzfQwRpCbOMH2iwgPgInMf19ofU727ldbdpT4//5t09N+pVF0iQ1PaYVyh577Mihxs3wrOyxpqqAsv3ewcOKJr48zzhzyGpfHX10upIicTOChYsBOXLzBKf0nZuTpHUldVIjbs9qgq17/vepD6c0e52FMybqEBH41vbajPEDYelj2CwH8J0jqcMx/mSOuBnXGXN5ARzboTTnmqP3nS4cTHMS6380IE71VJJ8SfI4Vft9NVPLNXpRSjMWoA3NnkdyIi5qDEMZMZRnddTPQR2/OBIj5og5cy/aw7uAXT5ogERswgnsvA7hIWyHeRa1prwCmFyGqVxnLiNRhmyyLFVtMWH7peC06AslSLfWEwqbm8acVty70GT6CJnEM2iZ1Jg9s3dXNZJGCOFg6Oi5A2PAS9vMr2+PSdVRw3Fiw66qfgTeV+9q78ozKSYH0ivQz07GsmE8+SMjrzCNaPixUoXJQ8ksccZBxpu5F9gJpWi2dUganaiJFBaDitKXOB3FfO4NVrclFDpp8n/bXlNo50cN6NwEC5wDe1FPEvudUUUfkIZ0RbOQ37tu04pM83bEyAz0k+39AHv19AdgxkzfOK0U/m1UuwdsAF8tccM9sMAuTwseK2a3qkVrbdwLATmXU0IentGn7cUX03lt5IEZ2b9NjCX6nPePHiLNRjUqjOpjC7Ozbaj870D5vKWgSlMBtZz6GwiZ3Ve4WqLt504Sd/au0V3vMxxMd/d+uSOt1iEuaWpmtpHmE8TUggLTc3RlgydQ1KGizIzTGdSRdJKtTq+fffD1nr2mcr+ggNofsj5UaEC3FTMZZ58HgamsSbo4nVnExh0Ns7zv64W/DyDLNxDyIM+/ZZxrEbmd0tLhqUA9U1Px1eeIlRXX/dnXAN46k/JeTe5LduCWYKqfu2SLdgJT86Dtu6VyK6ngDErtwCMUNebdg4b9z5P/+JmJYIvsRDVVONF9B6m5r8XYPgwmPB0qoNtjhQQZDyEE/Qqp8/r++i3UcLONIzsJGphhniYLEBhX9D4Kz1+w+6x3cNu82HceciGM/czb+Jwdda6Od6Mrv1nwroUQfhIX+08kw4Nb5IqjSVf+u/N7n12z0EpwEr64GUKdy80XdCf1yokFIgOs6qwyQmniLhXNUXHo19WkAG+ie2Xvpo0hBT6nTsdDx5f7aEqA95cVEheNeRHALSM3I4ACLR/p/4xjyzNjpVuLx+SxAEyi/trfKF7Vfx+Zd24VQN2KxlO5CQhJffXcfCXBPCovD4nNzFXYCZSQQtEyHZiEriqmKNvPjrk0BuYeoJAQ5SlcB/k3D67tPrRa7OMB7kU7/jxyGVu2N+mRn1hKxU7ITg3v+ypZ65Zm95xOiFHaoyGqvpLFONWg0W1AkqXhl38oHcSl/kTAoWBWnLOmnxa4KoDbth1Br6JFApFTr9n/L5gCtez4KOK3b1QpQK7gx4RF57OiK38vOaMOJMQQfhMnD7GOJcvuS5anNLyOZ5TNJ3+NquvjHzw9Kf8RXonAYZkxURBQyycEFDFHGQa4agAZy/jDO3pqSgr6zHeFLn0bvsczFO/+Aw2XSoRclC8F/cC87f9NxSUX48ALAnvaPATHNBhTz1IxUiEPh5BMbwMQZfcWw043sPnUAo8GHZacqFEjboLQlhpwVxfqDyM7exOObs5vhCB1rG+aiYAsHBi5CXUMKVezPdmmJ8i5dvepZdwGWbk7PQ4Jqge4aqwPyy5Nkdgldkhnxe+9YYIeT48oLWi+BN22h0oPiU8dJvUQPD/60hpt5M0pkCwo2+RCSTkmA7qnMbL45b5PoNF7YWBnW8TXt/6kOzy9bP5gMr7A/JILpMfoKFlc0/wBuz0k5L1TeWlXNARAszspoPrsf/hIdJKJnQtfjMseytYnhNYxpJO9tNhya8Z43O6oYEjSikxrZYd/qVDTobRWbicwuKJkUxo7CitONRt7ER2HU/Uwdb8nQYM+UXa2+5Gx0eqRspz7gIrv0fDFcPX3HL8xCTyvbE2+1qcC0P05VdvPMhby2U0qlYsbgeVNtB/EELDEGI4zNynwM0rd7njejwQ2OOM4s0I2K+gZngJ1/PG3BsR70eLcYsISbl/Aa1L5e9vkrucmG2AhtfxngUtLs3aaVyvDIBzRPWG/MTxE2phEDPq2L8ckYZ/F2ghSooj83lOWLglAzHCOPiq9iNNzAJPx6ROfMG4585inyPTFXeNp0ggwZ59MenLl7shkUcGbb8E8PnnDrP/TV1M2CPtX/QMmnaE2VbsCFUffoXrjfIGAS8BJZ1hS46oS/rJXsk2yLldWfjWiq+rlRIwaM2QF9pwSs7pwgxGIOJi2NQvwbTGff9OznklIzXxrVtBrZRe6cApl3bwu7pLKokqkp1IkNJXWC24n2fUcZYfR7rB+HbL2yRkTvnHbCuUoTJ/ickcQ76n4mdNk8oHn+tMvzEizwswmMmGAxRWpN7MrHt9rrWlJFQP2c+eSh9x8Teu6XaBaTCb2IxKZ5FhO4sBaU7VZ0VSl7giFAMO3tDyE73vKFRalPeewnBa7nquIW7xZq7pp3CVlmH7qJXF41Ewzo1fv6t9leQK4oJVvpaIC6mRe7Dw8DdJx44Kdck0pKGPnA+AE5ipm7KK0GaN7H5mzllzd47G9tGGDjIfzI1+z5tlJlG4e8xzAXqwlLe+0sbgKsR0uTSNqasdJAZZ86BtZJj139Ao8AsKppNCwWHDltp3aeEfZ7GXQqT9Pc5WJx9Pj5VjkDuasICN8Jk1hhLwgJVaqGLE1qjpbioD9u96T6JP09hNJJWAgYWzmzBtWHLNCKhbS/8PrJekzQJs314OjIHWgs1I6ht5kRVTon7bS+ypSg+KpUMOocsRBi6RApDTzyNjRnhEvmJmDdU8l6thBaNkX2awnGVKMzFgj+RdEPQ7s4sjPTg0h0DGUmzsZbQGnz00VJUGoj6PZ6/mBwOEYGKPPXB9OvQuV5QdCKbNgj0KGHWkmNFoL1V5vb8vdVG4O+13WGSeyEL82tU9f9p6DdZXPJVslm/09DmP13Yf32bbuxKaZ+PjDiZ8bzwpL+vY86SkcAD26ZsqKcWgxWtm3BdYbZEP93oB02oJNODQgrOOqsSHsO75k1V+drWxk5vXqz8fwrTLCVWrSUIno0kJXcX9K0TAQv2dZLvN5OOo/4jNpljJ8oey1jsFhAtLeatzRn7VK7Hn/IRsks8XzUm/5B2d2SfBN+kj56abgZkQBMJyUxfeNdHwPKrKZKQsGzwwBIz3sxr/BO+Au9JhteycgTOYbGJ8Jhw9hVbZl5NGmN+huxFP56JOP/JreNFrpAPHUE3pt9WaUjP7zVtXGFcdMJfcNsvFZqNef/55HcEaHKKCAGXLYf2eG+vxaHtBmmckMe5B9peqWTc7C2rk9+Fmc2EIuSLUmlHSkXD8F4kpO/EkqPmK7BpCHZMRLtfRE3NCCH9tZ+Ej+y5CZYyEz3q9QPt2WfdoJc4QTo/rGVfz9weY/0fzMdgqli6vGnRpub9oRUJ5Wo5b6SINhAyDlzEC0rT8GNWL1aOBcvn4eckDamb16Hm1MrKznRzVL2dF1KvpSj5/i5x6TRflDJZuwom/+Lv0ksHKJxJ9B5de5sgc9lQQINthcmWI31bxIFVONRKACXl0oMIhb4Qa20dviDB2ZD5oM2HBQPWNNhxle4lsejbyy72xRtrp4aDi7GKkbMLI4lsEcHCqktl/JkOXSFIiji5IPY6ntoSkT15e4weYdso7tF28JFLRV2QN+lNDtlSCikAG0ZOwoTH4SBBFuCGLMzzD8xUtSObCmNMIb0g52T4voHHqWkXjPy/UwSdzvy+8/BNs2HCnraUwTRB/PPDmVhkGuCJv5AG2ifaPDARxfSGTN+nkjqmh1S0y8uV6ecp7yWl1K8dwNkb+cfcOuFtPg3tBINqwc7DHGHq+92nJIKait8JYQwxOnrHKv3WMZOPZVFOetCmH5TfiuA7Z3GZgEIpNpMG9oHTIddY7MyuFODsZFgHm5aqEWGCA069ThPdcJTD73pV8uBVcmN75mMyeGJfhCqAxz+aNd3ovdoZ22bjbaJ+fThYaBrIvjWPVuTrb9g6ctPE5ex7VwrcLfTNjucgkCWECSJqZZZcbnbz0hLyg7ElvvQasEA6iwpGcw8VsquKB+4zLp0jsPPNB8L4GKLOE/dbtr2JkXLW9Doxg5sgw6Nl197MeK/VoixbU5y5cX0Xwqx91I+hkADZygfpWcvyrwlsRLA8BARxXzMo8wSSX1+xWTDeqlzWceHDZmp0RBBKvR1GUD/C15lkmg88JDgk/I7HmGKozFqmWPnc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SUoKIVno2gKBPyQolx3v+NPQU6Q/hm64tsWvrtk2WvemX3R1i30epLY+Gvs/Bk9H7SvI+l86HnzJphtKa+2gVBliR1UB7wpAR8BTu//viV1dRXSbVvIidOuxVZWzXBoQ75zemztbVkmTW2/fRaYKe0Qf43blYygBLSISG4OzZ3mXsB1Wh4d68x2fSkeyPQek9XLqLR0ZkGaVo0i9M5DHPeQXhubgVVJHVs1/boEt1x/VxPgLqq2gAqOme7x6gqOo/uTxCvoBOxYI5KOz73YH2WVOPFZw9H1gJgYAqblhbnJO9PEJbuRiRtMy4973tXU+JnYDhHLA90fDe3+oP3aEj33102D40w1RgHW38BB7Y2xNnE97IhgdUi9DPdD+weH+Kn4yzH0JLIqQgoyTOQiYAXeZ2yamw/1QDtLDnq8TLhzXYkkfT4SIUtWah8kzW6Oo1e1VwmD2Zf/cXyMT0miMAe8TTxPpzLd3b4CTryiS+RD1IoQv8iAk0FpqIie7JXtXXyDY0dRArE94bBibmPA/A9iiJ6xs1iRyKkoEDzbWX3DnpIHa0YwPogC4Ex1QcMBSRHDhdRPEdhL9KE8biBUzk2QQjWhZfXR+Ft9UdbW+kJ2HzMdL6n/VXbaTTJEQ+8l1BRXLB1ARX5f+9px9/LObAQx3xLeCkZ62BZTxYWZRZHL7KkLusYfLkCq52WMDbNOukumawmoMUorx4sLkiuV2/C1k8A3LO/2I7vpS//Ju4yWeYQ4tL3k84SfIxYPBPXQAzQpAscalewbdYbr9DuWjIpuUOI3THSjBtKoP2u+i7h4hVFpZRSElTrLCxQvgExijPxFoDVWiNylapD22+KZ2MH1xGOyZwsrn84MvPzLOw/pByWgwCCvD9u++fJ2oTrKczEuTJJDlDAhXKn3uRNWJS1CfRd+NtU95tKhD7bHYM61wCGS5UOBTZXggDAKNiK0bpXiAiyP0WfEAKxTlfKshNEeAE5CtujtjuuPjelb3OEOZLtLHiSrIiHNq1GYQQPn5sDEZgVvAyhGS3isER+RecAv73WA/USo+2IJlZ5hCMzmx1MqyZOeAylQvtKgBdMY4KKB4sP7pApIsVYmWgeWKLiJmle2PP06ig2efi5k/hgvGtYfOBOhxWfc/EG+uTFMhkHw0dlkgWdY9fTPYdMdQyKQ6d4+eFatYRV75lEMcRk5lWVu6FcPjIa2gmf8VMQUVHs/3j4Q3julAUbt+E7i2oJWOOdfQJRSqHysfzYo2PJTIeRPyVaV12s7omVbJFt6TqRMDkDo/27fh0foQS9/kjfC0q6Y2fOZ6TqXBLoseT1VlNpiBaei9IzhtNM8f88AhNygwe74or9hLMVdiBrVWPYyxggRfkUdhXm/B9qry+dwQcyDcdfFAYciBoo7hvsmu/1KptPAu/tktnYFOldTskhYtqKs9d9S1rf3ZAKiEyRCASCGbjzzY2IefCpfSDjNcg2m/LgAo+kBqQQPMh+hlHeYAoFh61kUTeRQMSTF/XhIhdBYCQYlY4JKAFxe3OxNGKcnZkK6P/bqAF3Muu30FTUQ1yiH/RG+/Y7MDPMonbaJEAvlYcw3tKzkWiMzoVXxT0s/RMOueOWHlmQcYWOcc40IB8eYsuIgnpye1+QWRslZo1yaCopONbKBbeJ7xR1ipUuDgsxC2FTbU0aIS9am+7diOREJrDQ1xyF0pP/zc2SKqJEYH6RQfb/jhgnXELOOf7RY10W9J01mrKoSywbSEpjNzMVXzJodN2CZoIN5wQDr0NczFI2ShTlDEaWDQLnd2OvI9Cy/zNGH0AFrhwkw2OznIUGFLk7n3/sCxfAts5cHp/pyL5uISRQ6Q4Ra5ais8x5ruj6b1Yx6oGrEWBnzJhOVZIYqn2fB484IjQhn/WiYs66tzda5hgnjtoNpryWCCyIzOf0Y3B6jX8s65yhbAaxqn8g8ie2LlA7jwIts6VTOCfoZnxXT2h1xBVRIu6wGP87DJNTJ+6NQxwT/O0lidAXE2V+KzkJ/UfdXY+qG2Oc0wUj3d71F1tiYKmsQa8YMsNrsTthCB/k4r8J4kjL9qjHNgLlr6bf4MhGI5xWUnekSkiOeUxuyzv2te1ZFjBAVklEra+QL75N6y/xfC0kCNAx6RBOqg3nhet4r47ZI8prg5sDJXUrN1b0m49dSVRwm546BySsCmaAwK9e5LlnRMboRjITOiT6E6cE4mJN2bihbTM4gcsoMac/FTdqYGLhsv7/kcwbsiGFeE3Ga6PSjv9yLZtIW0cgPCijbvQ4JTbwR2jviRPA0Jw7C3vZFwnLu9jNcrFTtp63aMwgVK/uzFy6RWJwsLMG3HcglDl74EBldbg01XpuHm+1b7AOVOJGjSksK1dhv3rKBPiLi+JpKxvlyoE6rUKCNEPu7G+flBhg5u1AmFoLZmxclOqpVS04OGTtoCGcW2+VpVKdyIesZxoskZ6RTf5RhvaLTGvtnjx+0lrJxtY6sSWYucbYEvvFkVd0Es8jsmSe78HmgONSLbJS9QQ0SZTW0WQYrhQQM3wBbmdjsKqrGWFDAIDI90VGWqiIi/3ZP1L0EU1EJymcm8+o10K3wXqvbENcFh4M5k4s9sIo74lGe5c7I9rjMpIX6Jtjwd0MpYi643TwjSFKvqUk1yl0GVLqrES2GYrZqZv6/+/txGCo0wVSd8LUaVWPky35q6hOLZ7g+YhV+yvqcKQiFSkJTTTWepK6Mfd9YDfxsmIm5k4z5KyVZ1c8j0Gk61wU4UYOHbKgGvz6s/Sbba9W1e3KA1rNVDiIsfMX1qoZEKnrHVeTwyD/nIBLvBv66pEO2q0K+44BxbknZ2BJkfw0kR/h8i0qYfW/OpbHP+xf0mztIXSolKAhz9PiHVjaVlpQy57f5IQjWFuQ44Ne6hkX0CR283RKB4m1R7l8IBnu60cefMVaMjmWTruEcpBPuoX70o8cQgkBDK4Lt5w1dpLdGNgvKZxZVbTqvW8N2edgBE1udAGPrQJz3jRvTTZ1LR+8X8PzZEwJ3jUwiQU1fFJY6+pTFsjMnNVovji3KmrucnKz+l62njIZBhjBY3tKR4QeAN+Ve3LtNips3xdcxPn0j/LLYwkrnH+Wi7wT35W1VpHFr5WoR06uICl6D862thCK2SSjCAEq/t0KdS2RePCaVjAhJC97SmeKSksUla9wb83tjj8mtztT6BvsLSYztaQZLwrFQFBafZzQ8hy+1OqhuPEbJ7oSY2YHl8Fi5cxuyQCEqpsAvgaCLisySum2QPLmbkpEeJ2sWN2F0YaT4jW8Xh03zQfk6mHRChHJitZIEp6G2la9ZzBKqzg43fSCq4U+um3NlWNuHsANkb2aVtfZmGGx269va4H25jU8xCbXAaq7djt1TxZruEZQCHFn11zGUFalgh2n2TORB8Hg0PvIMz3x44up+uZ20kogjgxUln3XkB0zaQ5Cr5vbXfPAtYkzAAFL5JVInJtHnHw2w4q37rBQlzHY0Bm5P9x/dSSxyirNmic+PVy6RP7H6S8xJE94gADOIShXsqwvSZDt5CSueps8fl+qf5nAhjLi4p4wL3+HVEwGWTaoeFVn+niaytHNOol2VdH2Rmy2c19KswbQSEnvzPDNA1t5YFBqE8BeOZizKmpjNSiXHbH2e8ojyT7FCULAZ6srePivsjGWi6EtAf/5KGBzF9tYctqTPqPjHlYhRvbSf/QOAZkEwsKvQ4m1Wu2UkKIlcrlne6+bE8ekzvUVaYj975lFPViJARLZBfhdz4pGZCml5SzNr04dKuUll36AoPskMxJoQClM2CNxXLfAGVtxA4qa42rc6IWhk1ES6i0GQ1jgG1UfNUkN8H5d9Wg48nmBGGyL6s4uSJ2K154S5mb1zUBbnr8nslazVrRsvkvxaIRoIUt63lcPTUnntunB2tNLkNA7FVr3vMULvZQ0/C8wkP9EbV9UEr5/E7G70ccOI6VN8WKd0DqDYbBkbecGiTooj0KCDzdF+WZSkmBqtnOELwN8AGWvQOf6yQFkw68X/mUXPrJGgfzcuGnUcu9xpvbh84+YMVGIXcZh7L5JP9iGEgFyrBwXxPVTLtYQts5a+GMm6ahYRyjk/LrZs89dqhXFA75nXAJfS+YUnPElFWVJyxCgC/zIyRxRY+T7q2xgO7AK4JQyprW9XjzLHGUyK1Ne0str7onLf6bh6j8T3cf97zLqSFWHenhTyyu/rulcRm/pbpXBRixBF4HExwX8MzxDb3BcjQSX9R7aFQaFSyEIJcofAlmDZVXtbhRpqNAnjQYimG91S07d5gsaqZl0RXbLdbjMbavgNyRx7xxrZzZfNfY92PMukv38aYm3K/Na/DSRbj1wVtbb2nzwnevGZQcQgOdMj2OOct3BJ0ncy7SCPchfKHoj1xcs9Z8QWjxEr8Deiu9V7sFjMAVK9ciUkjbyRc0Nwn5rLqoTDBgOOQmYm13Gy4YxVmsSqlwV0/za9n5bzeKkl24ypWMsEHK34t2GWKOa0SvN1zeO1zfJiOnLp1/YelI+hm2nWnWCVvNJQFRXtdfKpJnw1E27nYNXkqJVVcGHo4uZksdfuSXOoZah9IQIV2FgOuPUzwKXN3mb9oo4lN+0sc+c5Izr14zsN2XMSrzxJqGUy5XVtLDAf2i+TRHkutPBcH0LAu3JoJKPioJE8DsCJXj8DlwOIYNiZjeDfv4LZsMLCddcP3+03VHAz03Hy0RM/WOiaU7MRt6KoRJYk8LsOsu+kcy1w7W5zu8SndbY1iW0B2gJ86m+FlAUyrZRBe4493w9Bzkyzxjx2v1y+2jcBKKyM7Jm5ZmxWBhUJuKsfLEqfE1cY9DCkdfg27Fur/RIUhlI/xedroW+12csZR7DRhLAB1hCt71zS5jwGGvt3s/3RtDEJdItJ1LJ7DDbVcsCvDryB/WpC3l+n1uRiOdLGxDKP4GC4uYbU5piX9PsQo3WciUPEbX9xHj0NKEfAzHCopHphMbGj/4rt7BGeeipvcP07gEeJaMoxjbVNEcb0HpJrwJ9OYWIIOEFmW5Su8KYW/DF2AuAp5DN4DSKpOs8/CyC5nq/cQxqCQqm/nQKbSp0cmZ0ThupS66vWRvOupIpdR4TBjErSyIqLJ2Mp6BB62qA7zkF3YJQteO97JFj7wjcHaQFK4KD6f2vzfyE9c/GP1BgRs8sg/rYXD2g1QPBOGBTdkTRFB2KlIqQSgyVSuAiNaYKPgXcd/QHxFaoe+xo648JrUUwWDHN+BDXYKWAV77N8K29vwVOkoV+98TomkMUQMPU/Wb3qHbiWRPGxTqQ0SqHrv7VNOoXOg9uOsaXBoOzpqSslXJA45N4ZAQeFrcqi201YWP2MLMVk+c8xASSsaxQUcItRA4e0YgwVOJEwSq3rNmAA5wnbqNwXgosod7Bg/OLXdlYl0wjR8KcBChzRv0QEoyIsYmC8BoSO8pexsaWpAzeyNFGW7WCTRyNv1K9ZUO7TetXfXMYawwvjczRvOEpbSf51aEBxBXOhL+xYKDDZ8KVZScl5+MSl9sFe7vw2hYdCw79TYe7tJRBU+yL3fW9pa7Itaug967n2acZ/HeX0nvBdYZYRWvvthkjMTM8/4QePhLrjPoj6CFp2npPecKrYFOXGPM+OHZJb3AqsPfIEVtP/N5iQA0JwAZIL1CSqjHHdcFPuwf2tXrnYwCOgFxO8C76uV1wu3kSRtb0FejAjunoOozYvkHkQsjJGW4RZPsmGVhBKpw9OdcFtDswL1BnWZ2VhMlw36fVfa/Fsg7Ss7prk1ROAfFE2iI2pQR406DsoloSVz5W93UwjzPUUx2EVBq/mDncOOHMDydxMRClmywH3uxYI0aszjOjzskNH8vHGOL3BlFX6po1MVA3yO0X7v3Sb3zFEew+uaYuTXc+H5Nn9wAIITAqC/ZKwkwd5ypegZKQfyaikGWAMhlRvpDSddAiizQ8g+q/dCJMKIeIGR6U/yE9tmogHimwwVCwI3kowDt0wRqqq/yhKJ4XPxmUeU6uhHTapmYXzeISG9XJ7TvE1CWeV1jyruiFahB9JrIYENYomyKLEsFBW6Uh3sK/JUtg0m5pq3JDW1NicNNS98rbsZo9dy2wvcNS7g3y4mEQ+PC9Q27l4elbjILssaELjxsreOJs49iUEeEGLo0dWzBafTYOp3K6aSmt+edYus//39bZWrsesCu6d8AzGd/klik+sLDR9Rkzelm/0xgjT2p2skohOOqDdWu7Hk4oamDyyL6L3GQmJPOBNYKRv1Wl90cLJs/595iHmwgpJfAHRQ3BPqRtopJuwjkGZEH4fnlNuSvatuXrNW23E9mAJv6IUf+amfuoE/O3GqWtanNPy9iSzR88FGJpDJ+rUx8XIh48s+XfDeWq8tST/IiSldmIZ0RSH8fJAkBt9yWAP/fGFUb+AQl2cCNDe6uFV11nYV7nZZgPUKtl3ZROj2rmpWg/tlgKmO1FrzviKia4uQ5P78eAs8aW63KUaYBNttxWQNbmZv8wweAlnD7E+gzUCEdm/D/tvh4UXOQ0ExgZUyIV9j3RSTG3eDlCKy4AZrjvM5dvrPIifsjmOMtwgVI93qYT00TUIID7OWeJpw5HqyFp3UxkVsNEysqQxBDxcROqoAw7v7pKIRlVHXK4LkVOV7pd8uMP/uAL+HVNDrJ5qczyfxNeCgcWwX1SP7yuKZcl5f9ba+mhzOr6izmGKHH1chQu2diHUzo5xDNw7K+fNKE9k0FC0oBCpDrtRajunLRbqDZMVa8dknkc5ATLHvTHjKxv8dPuRrkeELMQZTImOmZod1GHKK3v4zjf3F4PqTJtrb+oAn5NxZ3nV6WadbmVmD9tA8XHQFfXIoShIMj1VH+OoI8LzIKFMc3jvQCIWT0au3syNvRu1rzFohxZ6jm/Cz4f0tOcawh2dHvFXyRfpumAqHg0fGBeGAbTLr/rmmr+yRl1TjfE8dSU8sADuqI3zj5Pr1mKJ/LXckV/F0lwYkaPts5C4okDqbzSM2NL3SmQ+f4u4D/uI5W9gQaQFLLxF+lRRf8CLKmFuIeSDzWp09hwjxy1tTPj8biAFp/j/X279KmmSNgZlx11x6QBm30UxsQY2PkUchkFdPs4oVn19vEJHtHd4/dJHhEI6Zim9ZbnUzPdDU8QRSg0zWgkZyiOiFO4r+OwW9yYXzctwGcpgaFczDptVcazCsP+eR4OtmUqjpSroeh9nFKI9A3dkWw4YO3Ufm/Mwkvk+VtVkuVOVH2gw9JiS/2vxtR7Mfjfb35529JQ/hfCyDFfNdZScc0bO52P4hLG9MXxPneeNx4uNarFlQC03yFQebddcJgB9wiCLYy3wRFWcE15o9L6aFv84AY0zGAPewW+15qLhGMMH7Qb9BRu/KaVjT9LwciOdtuZ4zlZJoUnbbgAHwLax79Nm9bdeNBp4aU27EJQ5K+rfEHvUWMbwLERYrQNXyiv6hZORINw8lHXiW3e8kzUqSEaAwkCJ1Wu0cp3zsmGeV8ptsP2cioqbkeM/QEPBrX49RcwG+WwHUfhJscB3UKHsOqrMHTnRQKJQlpof3H2yMc9VFbDjBItu1hlcphx9b52lcCMuuFO+qXXx45kakvoYpezf2cocHgQv0ET1pllsOl6aJtUB/n8J6QipFeNvx+08bBTakwLMT0mhLq/aXCnxsAktx6jDNtpT70epVI3EqaEJM5xIYYSL+JlYG6BrAQJovYk6w70xs1uuO7mYDDq3ix0B+Ls+XgVGTkEr9kjzJojRVEk8m+Ycr8V1aH/WNA5og6gyZm/1SGDDIO+7ZmnN1wCck4CYi78f2BHjMwZJ7D5e7sorpWbJzaRI+24Xy6S8/+4GytxTRzV3RJ+hOCbNruiGar+Pmx2twlhNUetcfRCq8yUMMbTWbJb+KkzLnnHuDH9yk/uZ+beKVakuZ4kbeB8HYUf72xUFeztiZb8jDiSQtxCIFyILXcf/7THTzRvliavAy9MZg0HG7FdB2bV9XWS34GGAMLWaZbZPsHxORAkm49KCsfQeQTq6xQLp2KCkpnLY5XP+5QN9Y0V9B/wppSHliMpKng/x4Q71QkOkwDWeU4riZoi183zfRbjNF9fuWpfYwIFLC/cNirANsNjyprk6zHQwKqDefkqPEI6ixSiNfj9QoUXN4xpu6YN74u/GCiztMvbx2LKdi30Bz8uEFrcG/QQYTNW/DncD8LUh4SmaBMbCih+gc5r6jEKJ9stipuLZSGgdkjuKl4+yloX0auIxdcuDAl11o8ql2t8515v1yrdh5eppqgCOmNDlgPoXe4rcgAwYJpABf3sVMcLjjClGkB4Nm/NTzGIp50L+kzsE0iM53wkvUe9Kwsz9dDX9FLbsRGu3qY99CGLTYX7JqlZGErxKjvqU/BQClEAep+4gAbpJLEdWpvwtKeNc8QxKrWwIY90ts3cQ90uhDDz+clAGI7oU/N6TwZ330jDVFMichqLPUIkt0/6LVCLP+OG7GOr71/DVNznNeaoLNA+LezmezfmVwFW5V9BzvqXeiODLfXzyI1jm/RZcPOdN2EiA3Ychk57V77uzRlcztXiuSkBQfJPBMpfmFaXt/j2p+ctPAxRtsb2/d0Q2P8cRIxCsI7c6dAOpIiEqN2l4mnIkSoT1goI8yKJ9qTwusKX/PJz/xcIBU5LiZyCrFvxqjSxdWd8W7zGQHcfAZ4jP6bGXYUKJ0gzfaDZtr7hzZRX5pKNsTXgQA3zTXgRPzSgIhkN7+zX2Hz+lU+JlCjg2EvYzRwFsbxKQke5BIsjxT0Y3LxfBCdehMQ3UktRgM+D2NW8JmyzWu62Qc4nLUfISDFcNePDhB8/sNVplwS9rkHH5MimUzTNGVan8XCqkXRx/K+beH+xT9W/UnBeq426Y3QjHnL2nj+LfkWq5DWRRZud8joWwPAzw5G6Y0AV7Zvls4LPkAsEGbYVCoOA1vzZMf12tApwrpUfW80oZIaUR8X4o/fydggoUoXToRY2CeAuScYJTokaxMF/UEaxfpzvJfZqfIAw6bpeDlEWvovyHOTgoVXvuUn+usw00hQfObKUzO6mz4e1r9R2JbKAgD+Mf8Pi7L4VczYMnANby0VykzRtd+8VPPwpnDISDBy38VS45YxT6+fB+W2j9QnvAPNF7UK2iLRDRAfyub9zF2zXls+ATMBaguH1OSMnK2T9xRrpCl1xj33kencIjqmalY/s6z+80KHdEctj8E9JTmzigEyL10AOKQ3gFcAnGCGu20Kuy9Xxvn7s1OYO5+hG7YizCWeLfrVJz57alitwCjRi2uejzaUjwhQFKuLDH7WKDnTM/KhEI1QggSjjQv1/V7wuzzkUvju31/qfUKnxCVHIhRdnIn+INIAEjqRLsTuyJMzPvS2vSSvhHPdU+3UCbPMBr3WaLCQWnK71XaFg6Cv7rJlBk4mUjpw3Cf70ulzvRq4RwXh5N1J4R1CPSlsF+a2X3MEiZnfFEITlUV9hHUrlROiwYJAaK+6jkso95395PgBqnYirDt7UeRZnKJNbF2QmKYEE4iB95oah4wy16BlG0vwgSjB6puB3gJE0GvB4Wikl8b1SDkyE4EoMlIvwjt2HSrv6HxpLN8urjqN6pv4uvyDcW8icAKGSuILNXZ9idAl+x11CUe830Y7UqouyzBl5OZj9ftW/hGv7cieMkLU3IzKVnVFC9Q33ro0HJpnYsjphr6biJ/Iv+Jw+Wvt6gOl/LLJsXWK/CogUMTs3BvnDrHrJuEzGqmC6iJOyRCuDw44N7t+7lyTUxrymshQhsQgF3LfgGeVDGEAu/KQOSXYr8wz51kOi0gN3DOeduZVoaeSy4vfTcY5AWcqAdW43Ll/7tvD/wCPocBQCZpcQb+KFTNqvCHiBzHi/F/NxXiReCks7LCvooXR6LHMxb1IqcVLvF7liGdweByo5ynN/a/kSnmEy1teTKgpTIphk3xpG2lmkiL5Zqy3QCBPCc8T1W7+/wsXyvjUSHgWKuYmYwVjMZkPD6W+fZ2eLu9ueNUS2PovweKhufSYDPJeHfIPdjafddWlCbgDTzH5FIKmB5QL+kG4oiDTTn9pzAQIMRK498erEy4vU+5+tyL52Y0JqUgs9Y2jMda4JlVMTd3s8Tz7ZQ85qfK5aOtgkNCFg3oNJs9Uhy7RJM8X9+2kJM8Mi22wWfm+fwkGtUpRMI1CYB6Ww7yyDyw/no4oI7loctVLR6D4tyPgmz2n24LlX5YXpMhFv9PLHyULE0HijCpcJyNFIgQy39rSYjMvhjPIYgxmXMhoMIfwnU6e/yo+pP5CiMmEY23rd4xqHtpfu7RMW/OGaI1sXqOQ9lq9Ojq2puIgadzM4h+ucsQMCfLlVaknSQqhXMDCZe9Y7smcQIsFNXNL3G3s/KmX+YxHgv3zls0e0FZ2j1DvXHJ+k2I1o6K4jRCAfACTCOHBGsWx0b/j9VbynHditcZpp+YckdOWpQ5OAGbyfBC4xwgcHKCKaOB7QQLPKw2r0hNeJZNW6HP3R6cNPJkrb01eYTo6F3ktdISUjTqJq0PAAJ0jFrLquMzizN+01p7qKWOAQ6g9Gq1poLRg8CEb6+aiFTJvAR4C2S4Vc1Jwr4rDbGqIMr1i8UVLt8fyJAmTgF3gzq0sW9VNZP7WilBstQxdjMSybu12SLgmU7QnMxvOQBpK3ZAAXuXTkZY+uMdi5cYtHdj5VKAeWTFE0wGQn79k7EbkAVagB60pwehnTMUt4yTzY3LXuAaU+dbHpKi2/WpuXWXsxLaqDxECbKCNDUnuC00Nebr7n2JWvwhG+dWHvbijYYTbaRGApsKPpdB0paG1Ks34jy701jvOAck8oodWNci3vbGHO4Drzd0oHPSfjMNRB5Z+4XLlMHy0Ic4fl++ux3hj/zlA4w+FjrQN1PyEeoXaoZqfo1RzkOFKDIbBThKJejE8dNVtTpRcro5C2FJb93LEFfPh/NeO4otzePKq1v8b4MWGh3aEgv9EZLeTVYVM7K1wNtnrRU7zkm1kzChdc3ZfX1EXEvVjzdlwe1hzRaR/F0fgKe3/A5YBdsqTHogkA3EBEAOZG/j5Ca57Ck2CW4PM03yIM8YrRSZiCAKNwYCYJkymkFsPiwOkdhrcJn+fkyYfEpaaVoBgyCqIKmsFvr/twaDa0LL2JfkgYjxFcW9aT/bUcfnhoRsVHXZWTS0cc5iVN2T67HCEfIU61RpCoD/fF5f/9Qch0GPpUSMokBjpFmHyZvcBk5tRi0hA4oKM7Y/OIq/5Q9JJofrT2a+eaCwqQDSo7mRcEpACub7VK1gnaajjjh/+G7EiUqvD96aw48Ic7SG5ewLAR97n5pIMJ93igsQs2TTbIxmeNzEDNys/yBzLwOHifCX6r//zFkKtDFOCXtTowFZU8DiO065AvOsTqIrmYMI/KY06WqSZug8OjpuUvtBo43+fH3B7CZJ+svP1JL70TPUcd1L5GkVhQmmWSpxBhZj9GPdC4KPtoxz2FrAwpR5AkhrIQ4JF95Z/mDu+moIBet+E23FLEP9isGjxvga2b3sj5/RJivvzt+/K6IL3DMCHwyH599u59z84uA0yyVjfmsO7na85plT8T1MC1keJjrvPB/kGYF3/rlbgiEu7mTRi6HDj3e3SWkJVOicQDKrLcLkM8FQRW+iLx+/cGj2AmiX721bofqdQDogPwKD4xliBmDKwuhljUJv/bOCLJJv0CGhW6OH1PnUsAQ2PjgTmkJVCr0LswozhxBnWAivXfZ7SvleqtoqOBNHihx+E9Fi/4fZyKZ5/KcifHvrl2Wzab7Q7jPH6cZTQgDVS6ideGtZmSvpDM4XqCmcbapZQWTJViWPOT5lZjPQ9SUQctUpbKxKJ7KXu3N0LO04HEWkddycvzZpaW2N5Uk70l8fSR8qg++tOwcjnGs9irmF/awF5O90eeBaTf6pZ9c5Z0ygXCf5iMvO2S5t7vdyQzPPAyExQrjP11eN9SLZc5TsM4zTZUTedyAJ21pDHhtm3SkpU1hIm+meNs/7FrrHF05JzHWmczM8B/48bM/Jvnp0uMFW90c2m6z6aeNSWRtqb1hfCa/N/BMOQMQWR13/3NzpAbTlkOoIPPUzzb95AFoeXlN9R3LEwKDJXelTemOcCBLdheIWf+EF7DHp26RvGjeWrsviXll/5LJ+JV+HYhdG3B+u/uQQ8JoM3CaHThxlgM9/z/JGJjGX28NncZmYZIhWS9dY3HGt/UOP5oSS4wjqyZvpgw8jECqbvw/NO7SXXoIG45QYhK+KWBHX/ytRoNaLjMtP+lr6IRU2fc4WF5xhRd40bGmFoRLdtYx8eXv8P9jp6o+HwItOZFD2NQvsdQq8ak1etaoTOxghkC/ESHkEwdn3VZ2SFVW1bR0SQqdVvHPzCFVvTWchFddfi1Zzb/KSO9YCiJqrWNSsOE+5CffcwQFk70YFa1Vu0rodpAYdIepLYe/8WIa7TvS2dsmNMMXweMxnPayV/CYLiynIOQ+BKtBbLtKqQFx31MMeTiAzQU8yGwFYuELCba7wNWQl1eIoed+0gKuGCskwVUuGUxhRVJJJmS3VYSlT2VEZfcYInFFaatSj6J+yF3aFLXhTlLAlS95Gc06Y1gIsUf7PWnPcj35YWfeKqDCaFFJPikmcaCtT7wxE4xeCU7lcOP7ZS71N1frJdshOOJwxZz+Z8Wt34IuOwEXvf2GZRXM5o5vqQo5Cl4oYy11zH6DtGBLXlPDfisVHAuB5gCZf4Dca63q7IF2yM6ngnLPKG5gDRsbEGirc+GNJ7GftJt2pYPV5GJhMPNlf83zgZe25iToIxUEDj0LjkV+X7E2f+3sHn7rg5Alw8sz8RbBIWsjxC6XZZZjIlZKgk7a5rtbrXfvADw3rU5z0u6g2D8ouHYSkWGK6g9IzGYnFCZiu/PmywUakMDITpKe92gs+gQo2B7WHhJVR6YmkiuK2NhW7T0FgpkvvL2VJ15CRGgW5ym7j4K/n3enWfflA5GOxCzdOsTb06Z+5SUhRoqTyHAHZaiO/znQNSseGAE6c1GDUK6ZBhdo5rSxmevdrYF3JIv6fFzGwEmWzur9faAzC/5ZIkiMp/IbA+aNqm0g+WOucNfzf9KDzAnEVD304VDGhzGt14bjkMDf9BHMBtKEoTL/YHCjvYowqIoXKiKjbyDN5dqSaSNMG7C7Phz9WRJFH5gJ74WrzxvDQj1EUNXUYK39MhZWx3+/E9xD6AJuwTfhHXexfmzPMzB+LCWgESHWtzMk1++42JdWY+7iuU3jYV3BEmA6NiC3PbTMOCWpkEBDjUHrLZgZMZZGNwwNWX3F77SOqbedGbLqc9/sPrxYcOJFE8loYE+SFFXOyyU6UMvJ7hNfoAG/DFZaYc0CXAE9z2sj3FoHpDeYnMZudhXbN/iyxowjnn1WOOAY1IUFwurz8oECIUNEL4/zIcYpHM3T4wIT98hG33uQ6L6X8Y59h3xtZhFkmRoA8uw1clHTQjtk4wUvcGTTf6AwFwA3gcrrv8hn1ZLh99x8+XZrZL1ORXpr5u/KoHSl7xka6NY8HpnyfkEoo961F9nfW9/m+bOxc59e4RijgZTs9pvKUbJLFDVF17A6y+gZJCTgABWcVEJbmWcrUO97iofvVirPwhd9AB3Zj4wpb6FDIq8HkjEeyAh27v0xFb9swbU9K1rj3R8jN+4oXFmMMWVlwkv+D49cLH2QmK3NdEEqxFtRn28D6DG6uHtvBVf4pwm5jtcdtgJbL8oXyKkWPbsMjpvsSM/T9L7D0q0ESET53N0Q5h84pOhsZmxxohOXx3FBvPMSsrLFsSUiADyZSDtdtGEM2o/ki3nPUYqPowMTnVG8d98od+nlIvtHYdg7Nos6UZyWWCZNjpG/IV9Evp9LuPdSbxk/U6Ir4V44nN/wvocNXvMQ8rv3dTKK8DmYr1IzrT9JLUDhepF4kax1yLefgqkxkO1rVHyg/hTnbJ/CB659eyNJcrOc2eCtfdTI4fKv+4o6Fn/5TyO5FKc/dG5ogcouim4YPrzt1lDOxCyJyWrPEMj6WgwFidEQ07G2Qbd/WR505SYNytxiVYPvyh9mBHMLuUmWt3WwexwReC1jAMU1qbUAgQEFEZNd/vLF/GxeH+ns/IfwxhykFHqngw1vkyKLFEB7JOqUiEh/13yCauBIssc54ByMYDbvOXVAkRLp6ENdbdFTRO9pJ4iiLJ7FSQ7pZckwwKKBfyP25MrXIiRbzw8rhh4y6WIg0ljDzRnkS8dOomrQ5wf+N8W++A6ledoIqgqxm1fWPCXiu+81hDRclN3pIRHqhLSZGcfo4auY8G0egpGRM4P0GMHom4AOa6O0NmIzu7daxBF3H2KtNBzZaklQiEOwC0g7zU08CFW550nDGzgai4xUiuBdrs9JmtQZHwDIukNQBMaPspj3q0KN3B7V5UPlDg5S5UMveLAY9vCchfX9D/Y92ciNWwpaxiHwtXngUFFo6cWnI14XaMOC9s/NjCqnks+reHTOdnuOSy2rO8k6sP8L/NK3Gulpb5aptg1M0Qs7QM+j7btVEsp8SaKq1n4B8zIjUDPEod7NNdxjtMt600VzaOOfGAyJZAQhnyfG7SzJ99+PxyhEOPrIWQNBDVwMvCcZIfngKFok/mXdhKQbidUUQpDBtX06WdTIv9zq3w27LgbPZIixCD3WwKeIa0vtwdiHuhUl0tSnx7vGXWX4G9A2ldYIzC4j982zPja/Bf04XxR9NvNPqMHD60/sePIupv32Xjc+/AyJQcrta1CmcCOcPFhUWIb1FwqU0Jy9ZoMzZL/MEr4ST/C60maoUxhxYAb8tEu3PPNWTG6Lo813t5IgxeTnES5BgPRh+Oj3tFgW+SzBKxPnTwDHj7FGX89kqp5zbYHrFRqifEXp+wKi/bpKKcgyhL2VTFsEv7flO2WsN5XSZFKwrei2iUAEevRWiMbzMJZNlKcicXe98V9qtZwuUhaysDS6wqxtnn8ykx7lduUXRDut5ke/5f1WYtJLXhYOC9S/DhAOtNdcUFg51xnQ2cGc4Ws9iW33Sibv/FlOkL/X9DK7uSCxHygo6z4vPqXlN5ejXoPpaG30TSoWx/hEpPHJgii4EtMVB2I2GsXGJ9eLmtIexgowy17BgoAw3Q75gNhyaiNvZPylfeUir9/fhLVEl5ot6QTmAOdiEXgzzX7apdkOkAU+v/e0rghrKYfvh73pDKeImfz8xUxePWIZ5QRGWXqexAL6HhPagjhCjuQoGd/91YqbjgIaMfVwVvuDI1kSUCwCo9iDCGPiipuE7qwNoA+g+ik/KHzFR35KSjlv5OW/ap0dPiNhJXQb02GOyertXOekADpwo7z3hT4MdyxwaXYetLIgW6Tcegrxmk/qqJtOvakfbB2YZ2ZKqo8A76qn4p54yw6qHStZD9A1rqGHo6iKNNuQTwhoz2gGz+dHqGgcXmp3XO2hQT0voe87rbWGxvrO4hzlaXUxef+6UHxd/dOOgrEKC7ZGYUDWljV+Kms059fRNwCdJ6V5eM4fsYrXvVLkTlBkV3pKgL9h217ERmTUgBew1HEKNWATaoh7ljbCWuFrLZgINC6BgCCh4hYyDOm0jjMZE5XlomY4GCZFfpckloY47ufGCDcx3/MtXqXiJ1Dg4TFR6JpO5hspKCI3IzJ1RS27r/N5v/5chVjS7mwPQ+QbTxPpXuFzLNvbiSDkvZcKbYnHHTltYf9UnbA4lv2dYIPe0ZMYAdp827rt1oWzGrQBfiiJVtbCNw7SDUU4a+PANpepsX1AeY8QpCBR9rUNCFvIoKqXJb5f6CXok87/sdKOrMEsQCgM1+2GZnNz/nKIoiqv6X0CnFuVf+EokLWtYDSjz+tTkHGLhdJJVt3JOxfs2QtgeXf/mID8fRilIB/6gmTU0t7mev53zJcLOSyqHN7awlCOhM6jCO9kkQxhaALzwgMtkRJT79UN5/SqFYDs6a/Oh5A6gj2uAS3LO3V663TI16ERSsZByfQNOaMkGo11q5zD9/s2BXJUIyQXdbftAVAGzqZ1MDdJitI6Id9/dytEaV59r3+OZiciY4P9YVepNUvykp0SLxECsctEDW/8Yu5Bxbii9sr6Lvt92HHC+Lns8dSsrzmuTKo8mQ74Bilx6mgjMWfbtgO3p/rwifMRmBQftGsY0QFvDQcCZ3mXgm5faPKB8wnCXwHknp8h7ucVWahwD2Mj/tiOKN0/QLJQVwSVjlKian3TVY6SNRh/odnsaTpNXszZubRCP7kLH+lGm7H8qfZ4TjmBiRX1JX/9ed/T+ZbtIdTQOftO6YIVy/iBDO2Tgc8eemRNnhocXSV0aNDfemulkyt9rNnBnNMHwhha4js8tkLkFxS50CdoS3pTsXkWAtKhTV/0jGfAXV+FlXSXdD2QyP3kU9cMpL3VJ5bg1KGA47/2V6Pgg8U6hJ66qQxrRrEtlqwY3asvYOPdCi/1IKfxo1xMbf53AGiFB/c0lS8h6P7Ki+okxpzYyaBDYGHmRpQqul7Ia7U5DKpQRGAdzcKWCiig2NVn3IzD8pFyfMrl1TtiorcddX9ezDzdS2mory9niU/URqIStTROy9s6UbdkbaNQZDQm3XvnkfnaxEEIabhaJ7bGS61bh8QbS8ro5nsPEiHFyb450YlS5IfZq0fXMfOdMV5OIf2ybM0D4Ghdicm7DmZGaKV6hK8VKQusyCYdLPKvi4X+bz/2BG5N/nFlyuYFo9EGPIxYzCL9bC/6lQRULORvNvPru6yXT45Wn67hyxj3S7SO33A7wqJ6hx8DPIlpSRtTCTECy2ui91eNCSh2hSKorW07nT+CwmCKgZrgkPuXdLLknJDHmQ2XLVIn15DHI6nhMQ8jBfP4Lj511/M4VoooARKjqKSsMHdFFIfZFR7x7inlpLLMYp2z/5j5LxbAVijJh8Y7vvf+4EqFW2Gp+UzHmiqXYydj6TqEfc2aiRFnQ9kAa2+SUdSwaSr1z88KXslUFLH41griqBOuzwGKwwFQqDXp+IoxZk6UbtmAcBTTQpGrSM7P4yGmtmSH+bsqxp+liP9Dr12kiOjzALmWCaMbbTLpZ3HYAzH3QbbSAY1fHdfr/UOCXH7T38SzHEedRze0Ys+XG1oD+JklP1Axk9+JnDhki/EVG4hIYqnv1Q6ICdv773cF3GAkystBMWZ0xmI46M6BeIMRq4RpcIg48TUIm0Hug8pVTJnRxR3gHYDG/+bxj30m0glLVEg2mzvzrOdroPq2I9kst7q7WWd7MpPUcxot2ZmhbdpqQ2Eor12PDyvH+ARqs7jHAHn9Rl+9v/7SuYOHMf8Orupnx7YMKo58ZKLXpUyvXLnjFuTiw52jVdJXeyT7uiPsW4szlOeC3eW9C7L9WrVlek2H8XSkertWvulc3BHgE7vp+deGhQ8qXlSGXOIvm4sVe/LmgU+TghdJBK93r6sXQRGYzq+peyb3LH0m2P7468wSdUYFLCw6aOsX62jcQA9tCQCuBD7yNaKtypaLFVI8X3ubG5EDG/N9Kd+v/u9ihormFYGQawRAtVo/EYcXYrdeCdO5dCzFYTeFzyJ31h1J2smBv/f508YFQBf56o13w9l/coJeDIC6EZjH0UOOcFMQnOwfbfezO40dZRc1IufsBpzFpiqdZ0AG4+XWNm9u5w6WmtF/6sE52DAJMISZNrEBFjO8qJAx7LZjPb58JTmDRnAZdL7yEk7+dNn5T8U+m0qM7UC48+SDyDOD6JRHRvJUEidxDdu9xJmID4CMEHR/xsmLmPM07Z/UC/wRj2N9hBEz+pMOxczt8OT+/wj/nHSJtSeQL8huZdVMSIODLEpX2la6FfJhgJsG6nqM37cdvRzVM5xzFkOLbRVxpiOLI3/eorsg2F4VircvUGjaSUs8IKE+W/mTRkQYmBUzzjTdb7CLMn3GG90skTlUZ/8Gqt+iFo5ifyTgk8EVF9lMHSNJVzedad5ciPSews5S/ctKXsuJNBkHjsT7Xwns6my4luEYw08EhNmgtsOSCPmhSXdF3rl1E6/l9pY280GKhSLQwq96CyewamLW6F8UajQRXscbj5UN7nonn56MDlVmAY+J2/1w1l4oaprZ/OhMyJowNObC+/cdZJq9zRidfPg2JPZo3bn2WytIe0u6otvr6Cl8k4Yhp7hi9ao4JREZKevFtpH6T3Vu4w9JsClW8T8xxujVAAx0VYLii5+D6Ur62W/Uc+K4T110NufgUmyCUVR4/w7/ycBvZRMIn0tez0yLkzty7wZpZ38sIuqzeH4px4UPBgk6AZtUpZREcUGVye6/PU80rfTtmSz4fLmuSqrV/kprJ8Hq0hTL+ZtfsIr1bjiYMkXCLYkHp4SCcfUUedJVGJ38HFfEe1mFHoPZuQcZ9m+syXL2MqDYdz6CefaD6yHd6q5q2HbO4K78V7MJbOAz4M0WPNiYW+TUNnawui53DnJ5i7YdFFn3biUw9exaKEeU80IszE+dFIETZAvmN2KvY4uGIGKKTzFkFXdk0GOhwVEPSlPJVl25lWrQ9rpVd5h0ECBUDJTpzLMGms2XTm12jnfH50s5GqKDc+xjNijeYlH82CU6DEojxbdIpoKUS8uZ8JLd8JGX1mPLBwyUcS2ycfLh0ADOycnXMVem4DQ8R+nc05x7XjehKae/UrFvW7uCZnx6syrQoB2VTttLRtAtmdgU0UyXoY12ZDNx6c7sg3PGSu3yrzYIJDtvUSd24iqR6ZJS2MYyRhmLcy4Sd4ESarqOaUnbN3x/Gcp6zkBPTuani2+pfVrYoHCwuTQJBRb3oA6EYBRtBeBo4Qt7BtyT2imcP7fMYR2KCgUmsRpwsqIni+XLB2u+QoLfL8dNTi3qp1npaFBeA+c4DuI2sNez1ynlzqAd2b1FbY9kf6eFktIC+xan7VRW6uDREtsckvUMUQm004Bf+rzAXkEWoKc7BrGctoC+uwtSHaE+dkWxNMruGN0/qp6oG1gNRaaIlnXwnWBte86IaaLVr63TDEAn5EyyZKKCSMnAGFHJqO6xyQHitMzXjZ/RMpAMEun+50LWZ9GLRxo6MmzePRC8uvIC4D0A4JMhJlvvM7DzDuYisR6OsHbS0npySleAmsNDfFLf9QVaAa4Oi9su050KwlTA3bka40MNp1flwoHLfdnVl9yVxK3D7ZPWspTo9q5BMZ+H8rn4vdeISMgSrDrxSj//wW44AAFLmwNzWH8bpNLU4s6uvjHZ7UeMa7VXTCulLmTxrbN+834lK7AGytjvlmxGWHS/8jv9wh3AKyOGEHivqKrO54ZgRN8STwjINBiizB0MiyhMpakx7D+HLdEcqaWOtvpAlL57UwCIPrGLcMBcZ+IwFwbsoT293lfJzgSqQBYGeSwph6aP3oWuV1kVNjpDUvF5CI8pwM6SWetw0bMBm3I7rQOC/HeUwr2gBiUZrq/PjRNxefrhRessoHYNT+PGGLZFSBySiwFJlHBJjpN3XfbJpOOHvy1+HfmgJrTftbuu50EJb8BCBJQvp3gquz2TcWf/8IFEQDcd2lOEE3hjzWeqey1lbCo91MOlyrxnJZ76a+PHBH4O73Oz92caaF8nKGOZ4gtxPKX71RjlVtKwR75JOtYzjZFYV25Wau6IbqXuKV7bj+z2xIsEb6JdHyKKz18VCZ3cAg26FnYkhqJCHzwKqtwqSuXg3ZbcPMdbc0eTucQzaw5GGcUwdZ9r4t6baPgP8pLoxburCFdxJMnKBGRRMgX1BeQH7sPMFq7IlikqSLsl8/IrTFZOwvndxZ2QR2SpXx9yf9vIrBE2OiGABDm7IekvLiYOUeeOfYT2JwSNnhPJoR2meVlIDDyaSjuDpoHOimMqKnmc4pYWZGM7O6GaKXDz+12DqIumk++wV7zh1rSgAKAvDCJUl4lh1W8jDZbtkLYJ12FEtnQiEkz36CMjA2V4k3wkqodt+qSDj71Ff2HmflskatM8WC/i2QnZlarPkuWPq3IfpCAAil9fq/2ZpixKKKwz4NIgZ/Wy3xpMatPWbglqJbhmblMYC6B/i+vNUpipGg5gk4xnDEGzyWmkUnDjFRDyGMcNH8qprNRk+wK4tJpOIVqxQoVW1kgxZju8+D5jAzanarRzSp+WTr3r3bIrf9oIc0fLTUj3OuqTbw3py/D9tNaQ+334sZ/sG2X9BykMgD631gc7qgnlgq7OBRM5ufz7l1IzH+UueyN4z/CKtofU1bxrb6f4Bhv2PRitATdN3VAfMXalMcNOH3ty5Bx1Natie+1oaEalIGtP70KtKid6i4nVqH9pYtdjksYs1iSnG8TUTehnbw9qdSSI7uUpHqLMCww6h3q29cnqsst5EAD4R592DLnPWRpX4QuVEtLyl78OCPjqns2bLC+pBazXSLGGywkxDcKm3D8uEMTLITVElz9Pb8u9vCXM1ZvhlNwzYCctqlcMimhiMWVndtXs7/4iYUggGgTKLD/5lAP/YCkUlSDWWzc4o0JyPFTv04CcmKcz2Y/6dsdPdMM9O2DW+OCMKp5s42oW05RGFMqH0dtoY0/Q2Ydw5l2Yw0rIxbJD6xETmqw8BDG5/4S8DyS0L4X7gw6mMpW7kN3tZEBnU4GUodMAhbSnNMeQDlqUXx3xsMqv0LaGZdt6KeVcDSBgo5l59MczJBF9SEwCx7pb4aPZCHjDpTE6grtKDcNfZvMa8G9DF7NcAYf2U1c1+T8f13ckCTqEfuid2OmymHo3j5/sA5f5TWWlBu5L1dYSqUFw940+WzpKOp9fsan37MEYwdLvKqSv5ExhXnUABRsTIWnhWsT8/Xgh81RSYIQHHf1+N4EtcpWy5+mc10FuUSmmRlFEky9lho/c9uzWeBwF4YcRf0N5j+pHXFyGAs3SqcSM9e+gendXZN8pjCp8tskvtaMR+m93yFZWCuAQwzm9cdj4XhHTMVEOB7tr9uamFX07W5XZdl5wgZI4L12X+mhUbvbPXHJR11qnl3TuJi5IjtPTRSyMiufYuq+dVOI/VdcWem40SJxk7OY5JqY865ffohX9c1D6aYxv0TlYB/7/mlEEsKo5k8ThRkVZ4zjiZvQoKJcIm3+3HM11NwyoNhefexbeXPZpJVhpMPpgv7nqFgsuccedhwSe6fVGLvu7DgtcvIAi/TuyXa38Zcsrk2ua6uMTJbWQa8TrIu1fGuYlUOeh/bAfxqFru0iLIwyIMCFbrFfLaFDw11B7+TriUsjZjspBxPbkAtQW1y2ue4ZA2qUPCbvkFS7ynwyt8Hf3WA7PnaHeeS9iKRujn1m1m4N7LHN8kO7MtW0emG33BNYM2G/u/brbHKQwP47dh6utyn2ydJ+Bqzm87eqgH3sKCE0xcD+CN5qHfaaCkdoLRpNTnoU9jRs5Wz8YjrwZzri3zwVGfQrHPpk/8T5zbZECL8dAamLTogwhPlg4pyc4dJVcOp3+kVDA5Tp4eVANuLiuPo6+DvBFLmFYumTYTFQdhJaLHdpLyfC/nPwL25uvEu72BBxzNSyeFgskZdhfiWR/RIVXBGN8wtQtnsBC72IB5obKa1HYnOs2q57jCJKBVATuDCAsUiTQ3HoLX6safnAKm/xnAE+H7AcMjW0zOU33Sqo/RcYVhIU+uB+WHzCUt2nTtaDSNYBpAnGXMH9EnEI3+kKyY2B07deHksXXCorMdB4DarkREzj86dtLT8TFWxD1UViKdC8rdKBtad2P5WBIHnTgoz5Wx900pTLkKgsxbfI584I1BLRLBHSZXo/s/6NYd2QmyxxQUZyqExTF4N1fT8Fow8I70w8yBNE/6zdsC+U+G0jJWJZlQE1TgatE6U+v9Tj+thpmp8k6iCLDmbH+GOplRk8f2VcAcPCSuAe6u75IQh4JL/n71H6dK+y5Y9NfcZStqH8C+uXjDtjagiaXgMVwlGtQuuJxz4ZlEBHT0d5B1x7KBa9wYg5yj4kQTbezzOiBhQ43Ehe+efEH5OrQF6g5hKxAMRC2W/cQ2x53tMOlP4rdcQaWtuJhfTRHWJGuby8rn3wxn+MYDR63exYZ2YFtFVvbjDar//PfVC1KLQkUyio+IHBpcGMUuqbCsUY/nVp5FZwRzxgr+DJvHT4V7OW/z5+L+8ZXx+vAnduWT7LgcmBd7LrIGzptPH/uAQQa42GdYtdE74mJUZtrWTZrv8IkdGVxTSrH9oMz3VlDxjZXHSTYIxCi2zk7MfDAflC7NdLkjJD9gtWjpprDHrR3BAPtDG7o/TdPEXS85clmcWyMq+J8JSB/NghgflJXwXY0otb7uNZd7oxIu2i9FAihz8OzGRLlK0W7csQYm4l+U39kn5RjwUeNFdGwxwCWwFGDm5rEU9omQnC28B6dNIVz//hh6WSeuv1sK8n6vYOnWQjvS8ZPjSt1eRug9sM2Fb5O1gYX721qHUaK59wjIi8H72zYHHPBVAVrZ5WFuB6kPZDLtyZipljH1TpYAOD1Kez0TijaeXv0EZgPyU5YzV3rmJMkjyyAuatHiAmDAJVak2mEgOGyD2EBDcjf1GiEZHRmQUUBoLiGX2JxUeOQl5UG8/D1EleZlGgxkb0sjFKoby8b3hV062gGkmZtQ8eRinZP7ta1T2dTcJz+5dtmXH21GdmPNIEa5GU+DAuo5XGUCqYLno1V/kot0gfbXT9NA7E0I9IrubL+tajEbSDiVwQWOqnq2XXO8ChSCPu3qrKU5hltPEgaYPuMw0U8Vl4y0UaaDR7+dE1XVeGRPAwtCjwsXUerZlh/QGj9APXVIigMMY92ayIaU4Vk4ffx3LqrPUZHGnO0T8PW4OH8N96/v6tD/dYbhSp01KNDSjpr1grjZCr8OMEJ6Ki888xqkLpYfjtcktp0+SYBmbRE0TDARJZrakBzEBpf+JRTX5U+6HnoWhzOcyBDyIPyaN8q8g9Cgeqs6VQJDns/QCOrrzUBnicTjspPszqPawyUbq15Keoa9Tdk3jU2yNuQ/CxNDYaLz0/4qCqqjryTBSshX9Rd1VZUeCdcbKR7C6DS5tCkZSqVJNj6BfR8OpcDASmpHmxp1mEPCvmcEAln8QVHDf/tZO4tZi/8PjVnZNfi9jHYGVL7iqqTokDjxww/pPwlOg5M+75OMa5L6xkDdsRFijFVzCmeOxfIJm2D8vyBvJDxYxWVAcWIXsDwqp7+5Clf0jlQicOSDzjZvKQ2YVfAVlL1a89GCTaLrRFpxGpookNJuhl1UY9UJqbXeiFIEZ4Tw3a1A/49kne74odnIevds2zznmDmnOqNLkgFxAjUevD0gAHyZQRChojIEFzVWLGEyEYDefc5UMFjJYjwAtTKeuJppjZm8psPAIEHKoW+Y4BEmkUAAWWiQWQdrohQ2kv6FUUTqKb2VX3VwhmYn0/eLum5S0fAvYAgH+Eg1vs5wdpmM4YYZznOmb+KgGjr/OYCtXtH1h54+xHqD+1fU9HXmXT0nBoJWRNTLrUaLj+GMOonLDLf27G6HQmMGFfj4SACTdISPJdJ2Jg5IV8gtiAiyt05jNR1gHL5MjPAou95r5kxFQYPoqho/aPaF864cIEOYOrh6U32BvJScHbBIwf5uquP6J/ju8b9YVms82xcRdpGi+Jx/bhCXIeC78PBtyCq/jxIX+e8e4CT0zPGMRNXcOY0Vi6PDNYVDhi/0Gg0L3r3FImms5WW0KZwyNQuO8Wn3+PNwmuHkvrNHQANxaeQkS7KOZzMVk0DUWTEEAGIleERFdWkZ0Jx5Mj4/2RRWaUcE1Wfqrbz4lMFiSTaNl4SvpDKgpjMyg3dRa2HEJYwG767PhYb/uQodtN2VDsChCnCgpgmXYZ2WtFIQ/PFDpeXhKf0pRxoyrdK7nEV4B2pD/MdQeD8iZRPiRMukCntrCEXwoLFP436xWO3cQg+ORkKraIquvroNmJTSfI4epnUbtxre/GfXdmJgdPnGt+PpGKApPmHAhHzv0wBzoR9dskrdosZjA3Hz0jUEfEgcJLsdjvRBcAh6nZYL0Dut9RDGfrtofdrm9gQjEbSKmhxpnZnjTMZiIQ47fO5hUwK7+yqX3zqJ2YN8h23Gl1BZTYD9jpGpAx0TX8prNwzshx6TEKflpfoP++qj+qdrB7w9b8buViYZzBulJv4JJel2HKufs5+w3OCV9nUI646uCck1jXtkcwOIqsNmdBEnwkOGictb6QW6jF6hGpNyDOfIZtgz/dLcqWneQR+cCRix71DwUdRDW24U79AgRmgO+u2qtv2I5P2zCh++lXmGmjKnQCo0zWpy/7Rsog17SR/IdrBAVeOzaZ7r+wo+LqzIXxJrBSDxBWqGJeXrAila+d0jok66h0JYprasdeepTLl6BCOZQ2IZga9NGFwWwNrkdvg+gGd7c+H7EBMT0lv95XvUvhhAi9JSQQ3N4gg2e9mpn6CYpTjgCSbevIN0595D2NrU0y+R7Y5sA9MoQ7V6BpqhnLS8aqZmwVwQ65jaI3nBJj4hMVgI8FA/koGYZKzJh+VCPkLMjD4xlkSzJ1wg6COKz2EKMo3dBbVACQtOxNFnM7TYG2fAL/X9e3ahG4AVFOXIyZ6gfH/Y6oTT46ENXcDD59fnbTtZuookKgqzokv64ryEQhdEQJpgNnxI+KwPvbSD1k9qMIpsGS1pBAfvfavbK/S3h0M69STX01QgRXFIrZJZFkCFyhem+Eah9V4XRcUePAnsXMe6yB3DYVB11+tbYAYh05jyqjcH8dTGPyGRxyye83r6izvwetI5LLvhq/g6Zi2aZPP7DzePD17CbvR+WNTE+AbW2COpuduNTO/aA0PqeoYr/OV752sbvzaWswHIIL2gHoBI69xk8GbMFJkEXvomIPOdhq3oOIMwcitbDriDUwJdGu+Zhj9mE2lr7/OqIl7gxxF0DwWgNJJ+VwCWw3S2EqOC+o864QeW24DBVDrHTf3WLN0rg9rYsSvcBjuBT1/jSc3v/Xs2cU/KKchVG7Q4NBm9G3uVla5jgHgKFHrsw5ryGPfH9zpkCwepqC3O7EqRK4aTximHPhcGZlqpOi1tnySdfHnKwrLlpxDWySvDOsJyJA/f/F8KBjn/1HsQSbGgx2FrRLGK+m32NHw56zLjSIUF97vujBHFc2YDfJPsBNn4XaVKk0NmC0jyF5apGThVfuMVz5hhZq8SVV5+TdnCo3hcbBtKQDjqv/KqduA9/CiBf9eoLtYVGuwbMBAQR8UY4C/BhRmR9K//72eivYtU+KfjoTDwYky1KMAyfJPsE6qMlF5WYtUirmlZ5PBoqliYijTDNnnVVuma/qaVt0K80gTSFnXQkYPSBwoYFIsWNr1MkLBY/X2egw5agYRsu8Qe9P4Gc1+A+Nybz8nQhUcR+qLgqQ4Wv1r5bSciFxhx83v0hrn2xjCjule/TxMVFddoxwRg3fmQ6lBYfMIr7izoxjXv+CaO8co72anpfp++30oSaeP6xk+dy3rrQGJXAthxAzjXzaoXpk90tqBzCubPlryOZtagyIkxa/Nb9ITsatSA4Le31uGlDpUmyCeptj2t/LGxeC6NhhSjMqAhYtCyKOE0KAsH8qmBmLGvZQEJeF3fPUCvwFGA1wPpzSVkFNq9T/HQy8djcMKOJCyEdA6Gg8FySqoOwtvuDGorxSsMoEEzKyK566L+EHOUfn8TW1ebBsKM0/dR1OugsWSlwZu7NCoAol/1PKHNuElrWdLxL67cAB2sV0uvKRdKCY+23Nr5nhBRXu9KkdtNSqEP9pYXssuOXwxLcbOUVTnlKzFO4zSAT/ePyJKNuYuyyg93xieI94o750QRvAVwPfNMfCM9dTzH/mw4NEwY4XphY5bHPeXbDCF8EE+ofzyLNGo/x1DhiMm2fHJmNMOwIN6hbuw1O9DMSWTakoifAA93vAtwAXj8HJ8GewSpeFt/hzHW6JyIfVYHNMRcCCLHthzwosKAUIThbCcmm5YTcRGqKPyDBkAAkmCwIuFcEDINqs8M+uleKNAQtvcLYxKXXC/lX+HfiignYruPcxo/JhY7/8/9SGOaL+EgZ27z3B6re6hwSwuB4ZwXjXE1KSqROwUzdc9kCgQSlA2bbfBJnF0BqO79p4wTFO4DdCvQjZgHsxzT5Fz0gnyarl2EZwisSpi8JD6ViZxBN9bvMhhL0KXHDwpn7DNUrO/opx1EznzQHGvAeqXSN7XZcEhflg2IVUv6c/A+1zBGc1jhVN0FlxXQcTnKXwdMMT+rZD9TatRMg4mwXYrYrpf8bASIuCscwkkAQ7HVkXjd9smuvo59apDaRwsT0hlWuqD+i4eNN9yS00/6CRIakVE0kSI7DZeTbC32AxOK2OXBCB2OadJ1Lpn1dtHu6eFth/O3ETeO2vHD9fkKTbB+A6GBtf+X3DOy3NooWWD2Ron3ZwP1Swj+dmYnDKmWK/W7b25Aj58fN/q6SeXcdtGWZaXCaUqbkdwYTzghflRHEc76oxcnQVNLPPeqz/9YFWN1q0qoDfs/j1wAa/ksIKU1ti+w+WNivC2QMNmaZEc8NWBpDA1H3mLrQk+4hUcch+8rjJ+L6Jpy+9gu4JNTRUiudq5JNqeU47ZjuzGdItjPVB7vfXvhFLTuyp7s8zmf7RlV7GL2EApgVvCPYRwjFl0VUZ00dX2MoatBd0TZtksvOAREMg3z+t7u6XBY/nJcqEEle/seU453gxLGZeyU7Gczq79sF+SeO0EFa+AG4g7+n4ifcQOcQekJQNpEUncMSbSfXykouRGHi/IAgFTGomw+xhCTQx43lcxRx1JtvGmdyaPcrQkXecJ9Tj9Hiyhuqi+hjgWDIVrCL6X4pKeMzkl3J5KU4W4VYG9S+srLLkPcDF552D/v/DiRe5d9EQV9wKZ9udZmRyLkbTjsDTpq/jWuOmc8+mq+FdsX2+BDfZFzam22ihRXZekIC5BXgPCShLtrr27Hykqmcg1MoR4LOoeQfRXNMsNGELTlTUriGYukaUdU1oYmNMh2gg2QxedVcFwpgE1EE/0G473W4D/JBlcSvLojYSMLns4qqyY9uUYuQTRt//sF1Lf6OepVKa6XMpgjQ2M9zhwXgMWfm5s37RkGYCR33/HHaHbsc6vd07NYwl410MxirqxLzGvSAiqbiKP6AsDYTHr2zivyi4LOPt5ie889IF58Q9nZJ8dVCEq0H5TB8Pi8m9A2F/wBS+7lw1xosUXF6opY+TMyl2aF9op3VIQIlE3TNPDmynh8d+ZrFIRZnDCcS6srh8Emmwc2EAdqxGsA357N3JHkGuQEa/HT5aT3SO1vKf5zXKlDGwTgZDdFQpWyEDjVbSZv2avSYwHfvMIevJuFOwJ5gUC1H8+Y2NSdPIF1/IMmv/aOsLd0Cn5OGEF9+D3oRdefEtKE9oy9xBF6yPn/c8Z8Z0EjvblPOcZcYy8xTwF3YkJ7jFS4MytIl0GwYzS6W7wBNAXQpNTHFi4xq2RzHR6BdvGiq9CwuvdMN7xIn1z+LvVeogYJd9W1182yq5kVN09HISolpi0tvDV53NMzRXX2pvCR3F3XsU85He7IlHjtN9FV4di3rSq4rf6kAeQUQcvOJbbQs3moBx3O5NeS2b0lmzr5VBAi0HnxdS+PWG5D92YKFzFUn6HwQiEVVesf1NxggD17vTpC/R2cu33klazvcSvQj8kDCTT0HBuAzFViv0gXmO8t6rYBHFgZxEa0fegPFuWvnht075WaXaWCM/kRPeSbB8CrxEBwp5zLFPKSkhiBDCL0C+QHE6TRLajZgYpCF0HgIWzmqBl2lysKbIWnxcqsWkFta6RO/9ZS2e3FA6aNcr2ko02525/W5OkltSEsMhf/V5QYWr8hL+KtnSqe2amOJbw6wwhDEip1tXJf72BPTa5iuxdz0Gcd86PdV2N/wZsXa0yIerlwh28IISR6Dn5XSDxlT5RTRb0MXJSIy09Su3JSU/PRIZC3DGj8yXC/jBkFZF3fG64GjfdyT4H6Qjh7Cnpbz0amOMAPiWv6JHpVl7iLsNJ6YMO/YdvLgcubkdBubZjouMIUqPXVvQRqxE1/cVI+aABF8xXUNo5oxdUMto5flO5YHaUpNKlV2vIbs2ZvZcyLSi+fTaycS+mjLumUmndhVRQUVzfg/1w7iRzscgw+JI8wboZT271J+CSWbf/imJ5zTHpr2JI1XOhuffLQORtMouX22d/ZSmnmizb43agigMj/b4Lo9llrsFh1UfBcFRPT5qWWCFuTWd5XHSsnDSEZLCna8WIu6s6Ci4MElbWLqeal9EkI8R9cOjxBP1DEGZMpDkE0tYQ+U3BSKFUttgDQ5Vj9P3mY9E8HwYmYin3pI+6Lw4Er57g77+g5y/n+gDjZtx4vTT6CI3uNuU6frFKzQk/fJ2QhsAAccHpVzCvHZIQVaCI/Rk2WhSdIy1BST5QP+iup8B1joVvoiNOGM+F1mY4FJINf5tMArbzg52turCHQlLBE34B4Wq0FcDd4SoLrp0LArZKIx6n86zmM74upS0yaExNpdtpqGgSCjiDPSi0PbqdBNVgIncl8DRcHp35lw1jPY9LpMpZq/c9DyJlgU0GCq94IhJlkukovVyvPneP3eddcCpY+rpuI+4vu5aC71vVbngLF4nyUYfIib1FMIQUYEXp6P0Sje2PAGXp6USLe3Mv2FWQB/yQKbXxaEgRDS5MGF+P/9aR7IAatWF94vmzJmWyR7uOGGmbrIrcGaKFg8RI14zW3JHUsjZprHXC8NE+oFwUOfpRhSCETgABb0rH+FPZXLgSIyLudU+7dd+i6wtkRYsf4JpOXrs0b/EVU7yXGmr7XDvBbEJYUmj+/lpHeAaCGNL3B7oS+xkvem+XF7GmnMWBkoecIj8HM622311V/Gl5G4UA1QLjwC1zihL3Qe9CaJS6Ho8Gfc7t4iYn1kCaMscDWe7NtfXYt5SKeqeGCVfx6XxNfeKP9ooy3zPpWpdoi5j5iN1LfpJ2akLQZaFerIRfPVCtF1OrkegISCtL72lrwkIHdEu6c6NwS/Ja9oF3iFvUx2fGyIC3f7ebf7nsODfjNBpftwhSc0Os135r6uG2IHTJsuaNIvcm7eqGAofYA/LxZhQQvscsET87zEnwVsHHOVGvLF5kQG00sXACXVJ502AIlNsvDHu6XgAkEG0y36YmshZ4bp/xUzvPv2Acxst8IzDv0Lj5g1bsMGNXygvZKDlkC8nZL7azNvQubpOViiLFzIXKg1tfrV8bY3boUl3CahKpttqRWWqbub4f5q0BLE7sv0hQyL08jK05FFZ6+1g72r/1PvTc7fVTwNaXYE+MV85Zb3gQMr8hqeOLVUWmOsz8Z2qQl9Sa/rXLN7CES2w6VhyjWQC/oeICF7LmYLQ6ZY7/Aqv8thfp/2PeWH2DxytTng+V4FwxM14u5ekBmOm4VoaT8KtiOMFbvapeZHAU7B7Ke/K/zX9QG/K7XpYkmZfM8z45zN25j8eVwaU/OnXMY7ikKLUFd/Yi88K5iP1JOJ6CmuCM31qZqzVK3uuZH2c3XQnspdTQG7WOVKt7k+LEyiLm5irN55eY2ZfBJsXdxjtv+wmBBeB3C5kWJNM9kmPuip0uCZEjU06D9Gs06cgcWySHOXr2AMqBnXwiVzIZVnh/8gCmBQcHoxfWqoTIMFh0kEAsvgslorALIkpadHFRXhfodRjdTo3EZwzSYyh7uqVMDF97GQk6J/4chIejZesSvT4wmp+wHJFjaHUb+Gy3k+ObcMKNsCo2d9qJKeSG5QpOWm6pPpjy+ROtqwZ5W3iTA4BeGftnRqHWr7clf8eSaaSeWzvVcnrimTNYTX6qwPsHVHfkLvJcSpEOyhP/pDsoeAhrf+nDDWKdd8RyTb3yREoc7muWmcIFIGgR0bT8iKOSW7D1XfWlk09kFx7BKHOIDYwsfNciIjL5czg1n0n+R42ghnvoiGSjK+KYrdLK0KJ4p6DXj1Dtn1XkuM9D/Hk/7x2OluSAhdNosP21yVUz0xdrem0lHOFLo49fd/BHxPjiyrMe9suils9FygG8SZzd2THBLie0eWM2O+VXlnBpFX+yMaiLMl1t1CIomLJ2nMNEc3VWNF8P/NIeTxhxBHE/iX6Xm3ATdkh3yP5BcIlMlKHu2Xt6gZ3wrc5eYVg1xLjSnSSB1eD/LPCkU5whB28KgrOoeY8HSmvlEn9w+fC7u+ElNdWuQmFISSuLo9Fod36hj4whVlV+SpVMyDt/5WAQBW3QU4QMrPJmfLKP9/dKBBUMpPLlaVdVy/hAJy9waAf2O6egvuzblC9OUsREACyFJ4rydlHiXt3OEKDN3olefe3GYbaLc7SM2NhrxQUl5l6GD8rqBYSEJ0fHUrwLHIJmR6PmtuJxgANAYVS0e5Kxx6g+whhTwMDb3QClaUSRY/d6Jj+SansebLpN0GhgxTQVQeWtzPDzNeqL4puGvQyQbkloaiyEPNU+dCKej+IrtEl1jxy6SJlcGWEzbAP1gU+pGlqEJ8At12MkBMiqIG3K2OLBj+c5TN2kIqpAfvDwpEZ/GvaMy9eGxs0CfUjZtMfUBJciNTVHQy4dzC7QwVIatLTq2sffO4a3q4SadJr7b0F6eptAYQpt106nhMAyiEArx5IX2PLivLXQkFZ4pmoe0sC0EarHmwyF3aN6OlpttqX/ptPqQDzQi+FdBGuEbJPKr6cSGlFgHs+wuxgb0vujeWpIUXrCyZ9KhQuL+XrjNgqAzyFq+1dldpT8N1BrBTvbpuNtGLMFglSj3fiBAh8wH80mbOiItvym9F9EZ+QCHqmVuXuk9B5iqTD57zYM6YbDCuYJ3cKid8EOqlLAAy30VDfXcrkI/o3SEc8PXcpTtUYlhKmoKAfOEP5OoWAybzcr9LxK9WqHASBlPLP0ot6lw3PjFHFdaDQt9+2KepjEPHigSKahSB5BpQmnJ8rQi/w8sfD5QNxM2RgMf5gQCJlqhz9TsE+iprCnkAieikBDFvaBqvja/uVSrGNkD3UTFRu+kbYz0sfiVA/4Qm17PRBgTrKUWPJPVOde5rX62HieJ5WPTqUB7B4MrTkZTWN9cdNGpIsnOqurZbEQ681/ujRmdijBPt8Zcn4c1jfT5oE/fN16bf6KWxLvLrI4Jl+K8IZMHU2ujG9M3Xsyq6rexwQ7JmtUENHu5zCmbhCTDksPkm33/PjYxXZN9huxtav6VQ2Yap/Mnr3dFWvvzja8aZUx55qeYvGTxw1FXouMnnRDYG3qyAxdHg42uxszzdTnoDI4LjBh5n/5lD+qyuSC7hroz4/ZOuBc5V/vOLlCZ1Ae4KmEb6qlYoP7FbRIm7ol4jtmdGSaxNsL+szcsbQ1o6916YhTSZ/uGkhratoFLIVqoEAIEfMUB7Wux5F+RT6vEIraXTFsMzDEJpG1SvhK/62baIguQh42C7cHkMZMxMN+WPduf+u2k58LDm6ehX6Y8BhS0egZL1hv2ccP+JCqbTjNVV5Ut6IBsT67fTR0+IDGLKtNBaOqnZ/nibIogvonb6h0ZxFCkTSrbxF9SZRud0Km2uiUsfy3uTjTTytYm0vZM293FS72mkesjaLE1NVKc05JjHAb838pcygGc9297HV9lNLtnsKCI1eUwRQl+Cx2KxMEisbBcdGZ5EGInHtp8nxstrAPLflYZ13U2Wl7mJDrcKQv8sm/uFtmuvuJLkEo1lw9M/RvTGlUUxo2FFpXHMOLMdS46lzOy4IcG97PjfDGECEQYSubM8EkgS9O2ba2aiynLm4IrSPc8i+TlZitF3LdZqrRnZAa0pCH5hfjCIUKlGSP9LJpem7X8lSHQ69dOQ3x2f4Ron60vCnarAoumnwRubY64L8fa+dDO9e9xYAms/yrK2xxxVDpvrGrEKtYCcKGxZVMDs+kHPZA4qQLObAWGgwj5zoYVnHAM602BGaD3165yW9E/1TLD8gnxUneL804eP4zA5dmG5JU3iMpmarAfqJXYatfaSs66gh13duZhJH0LR7U0A3vkKEK5bdK2hJnBFngmQ3ebYnwZyDgbOko0zby3sLtieyzh30F59R03fT+jH/viMwClQH4mNTnhV3HhJgFWPJewVZ16hzbJhiaw8gENqwtYT9Ah4QUCwIVkOp50J0oLog2PSRYYBfFG0u3/sw5caVKehuzwEQUX7Bu/zpGkwHhUDvNGFACxDUZVYKn/ez72zU8ooEdx/U20f0J+c2uSDVmCIOo87V9aZ24oRRvAmw2SpAxeLxPaUG7Py1ZrPgUC4FcBJxhK404QH/ZBfGhXEhGQFjA4152/SIaAiRYlLqdYKZQVzRTurnjJQtJl2AeC0Z0DVLmOFh8kRJyJVHWaVtv69YKGemsvpsiqhGOtJsqHuO1DPjFYX0+wRqgETPY9PfAbFeDjRMtfZ9lAxRaKlSl2YHehxS9Py4ieokiTyJ+lb12PBS29HeUBopAmOK1NhYoKUzGogNOCyCyQuMs0URoXLVSt1lA+q3TyFsujV3JIySWgY1dJdL5Teie+xN+WLF6dypPHqkd5RT5n+QHRTsMwMWn1iB0oGWz1kdauJHY5BJa7iGMiaKju5qTqrfoOsxWG0l2TX5ZT4S/ifCTdutTZ9r27gq4+L35Y7qo25oQie/sZ7POL+0x1vixPxLca73eozbSr4W93xs0WjgOCQFucLwx+HGi0/kIDq1/b/bMWr0uQ8ru7akkdKBkDhTkGq9ez3Z7FedRFErTG5JCLoBFgQ1uRa1mnzFHMgHsIfAH5X+wPZz1UzOWpUqUmf4uhTrKV6HQJw+yVajDyfnC+YwpfsyYkZds66wEUJOaN+r+ETokb5vy+ZsZHkX3LWZvRJalvANIHqQvgz+KXLMp8oyx2R83f0PFLzMGzjAtNDvC3wMAzQ69VVgOq2Pu2NhSb57rfYX0xP9wFmfD+db4qfdLWjjgsPCo4QO4hO7lit/rd/OqU02Z0aSqLeRlRJ3iep0dNF1KUmALWvvTrDvH2tcfLcg6iqjoj8kyl0QAq5LPYLIU7P4/tLgNREr+CTtYC+7ut2W745DWptzSP7oN/behJKSkKLKl1LAs8bPTiTh9EV44oTCkLrjT3YRPJuu6TzKpN22w0bL4efc+YKrYcfo6NoR0h0GtXvLIIVYYwlJkPd3A28rNre8FHvSW9b5XeSGD9MM6wgduy2j4YzR1pCkyPDxsRymUkVmh5q+nkHUjVfRQinNGttOJbbRIelwi1qYurLWj97s+LyHXgIq0lHzOFE11O2u/f8ddTiJd2Q4GigvYIy02qOjuDZYmriwdJ/qKgjogKpJnNMi9a8gQC+7KBlEVrRMhpuEefWwzcR3LR3hmLz/g8G7AXTY9ZvPJdIs4Db3jTHy5IPsFeLmgqqEuim71gISGDzLWnzm0GHBx0r0QHyJMrZjDyP298CKbAmNrJ1lppbY96p6h29t5gb+aodSc2P3ZXqmphvtE+F1zoLLVvhIc7hSwSPN86LJA6o12y2vi3s6ksA1C20e9nAoKpcdnlCkkAeBPBKab+QrUYFasvpLbNzWWsOAXs1mxkBZddlFVzBKvAFNMBE+7oR6Bui4ief7kFQRAnOoLqYScMz7dRFKJyX2kjXFc8SGUoBQGx6uplx2moq42/umsJrTxFkSKskd3rHc3LDz+kjAG20t5bFX0Eengmyd+6sIXRsDiTuAhdqt7oFyh97bf4vmHmKOSzhjVKrYBKh8OgDnaNl2ntQABFU3xP/dawX+HyjYKHhGKMQC3sNKTEuYPsDUr4bex2C7b0E57GiBoKsR53YF+SLm+JqOqdt0I3ZObWtvFgCstHR6P4V9ugKpOwisxwbDgjveM4Dk/JqFCQ6jgtJ5S2C6gbUzv+y1AqOf9nnHGIWvL4LPCM9+aXXTTLkGl4x69jaQX8NJt22OihJclTiSFnD29mbTzgs1nr2LT38bGttAWfyppCD5WeSwi9XxCJJ5jiUkRbUuZH3zJaPe1rZNFa/iVZu5ULgYrWvyl171nV0JvyhLM0QvxBo3QmgqBi5O5eHj8OtePv2YsZ8CSqgC34q11oHxl62VKkes9NOz8W/qN1sQ2TDeObzHuZ089stsbyzszh0iIIstIs+VBr7LWE87I56fDek9O6ArDvRdhG+4DcNPqPI1yL9lNmrs7D1+QFUeP7DaG2jE51KGUjq0AiNtbjcBtfP7zsUGJGZ7FrAFLPWAM8Q0MmpxTpwGrJE43ED7ecwyZ9Tpr5hsx5cUj6+CN5GabEvseLuJjmD5AzwXwNq24ukIZOv7J3Df7zAUIwZmoAZE2qFunpaGXXBXRx0Q6YprOoxcvsF05Cg7eaCSTKmpq344iNP2++opzfytRmZ9X8VO8BsOAKAf6BVA4UinrxL+1Vqt1SeiTA7fMFHpa3tMHwJ2fFzA7l2fVoKRqRiK14VgbMqKVym8sX96C9r61vExfmnas+0b3ZRNPabG5yIFJmA5F+Zo3B/jUlL2E7ZaiYqNEBKjsLI6j6l5RGNwaFh67vAesZqKGKl2Jc1JLIan6yN8223xlC+N72Xl1JN1uaCq9LEX0Fzy/hVQGoc8s0OvhZ+JflPDGkYqRRkBFXl+cVwWuFgV1T1nwXfILfRXfW7aS2oh50jtX2hOLBwppUaPq+tXk9myETRaRDi2fQWiSpsX2ecWAnKbT+8alhgzIU50jIRe4ux0YEIawv8swrJsmbp3wDbJMr86fYMaqPJdx80H2AYCE7doyAYQIJ694CFKuvB8DmlUU9ILvflbbPY9sbktnaF88vINK6NF+OTs4+UEcp7POeUok5yj03300Vtb5Hb1A9c8bW/+j5tiLR7ke9hdp9i97FxuZYswUMiKFw1omkqnidYzzBXbsIWg3ZZmJEu71kMAWfcLrF6lmwebtCigMG9H15yw/PyUnzXr3FSyE8fHreuzWMA8F1mkYhMjPSbJ7tSil7hog1LanYRs7uDb4fIX0WGsOR+zDsTvPZiGF8Z46CpcnlTWbYigrXc73goh1iF1t0HBLfAtO7YMiSIzDnTO62VnMBS27k7BiSk8zEUlIcwp6ZsFBXWEEvQcWJSAsPa3JCKxb0iZVGXycOp9yo1khI7vN2qgccGYFgT7WF0h8fOExc5hoGU+ecKUl7CDirGpqdq6fE0+dTp0zAo/C13JG/q7P2dpUeK+2N64FfXxuUZnSQRa9w6KKnylFVQyUPZqFCqBtqgCl7DBJLjzIuDzLH9phksUJV/GUf+jcqjhtDAUXCq6ZQQV5SO+wtEPlx+jLtpQsvpju/MYLTVhboxjYvK7snjaSvq/31/2qryAzBjEmyNImJ63YkmhOPGgYaYAoblm2/84UxxhpDjekE9MUwO5bg1JlAPlFBVhiUzFFtiBVFjQ38XloGPlfx7HfLcXgyXQ3fJHKF7AIEpRtsxgH5+obsdUn6e9Yucy/ACMbe31C52Cy0n5xlDO4KVXsyHV7jWSuYMOFTMKJV+o+ldwRAnZUMTwV33SkT0CV7iBrVJXkFo7wFpfRke/4KZtZrbUtdQuJ4Xo6Mws87/NWKLsjU7zswwUutD7uzx3AR0hXA+FMewymCe0Cqg9ek2h6yEjDK+N6MizEfIzCkTUXNcoN+PBP47skz8lbJ6RqTi5+M3FFBQTB1HNgb6JhAHb1/uGghB+rbmJnRrrjA46yhgSiyVuoZioIhfbj2FrmNpxaBkE1TR2d6z/oqJnt45QMgEyhdCzfasifUHPqkCGQyIuhCNfHYP+HElckYRx9VUcTxBB3kUCIzy371NCm4atVosRrnyGu5AcNhOrDFyIvU1XRqkyyOEYWnvs4cNFFrgMxEmP3/1cgyrspn6Q/WgI1PbrUJ2YYUrx185gxhUpXgyL2D64qaojoW8JFf3tsI0DrdPABnsocwJjEZ4Q0qjqqSJOwTk/Gio68G7ZHChsFLEmeyYJfpnoPa//39BlVt3JPxiawEWbob6RX6RpKrCoPvmOHk3ZLLt3eiActpz6J2YNWQJ0zigmd7SmFnVbZ96x9pf1Bz/QP+IKcbFCfpbe8FUCbKSppxO6jjMogcC1a+QsY0TtPlitOm086nZ//t1J7LhoecaPwVHUgDjx3ZnwtszGqlIb+XSQUbmjg6ViNkVZJETezCQ6d4CwEDvO2iAOkBF6H0qh7LJapJgE21Bq68SOxkj+Ldw3Q17azr12T1YcxyMoB80SLB1ZHS2VcZ1EXHBHnTm2JePfqCbTufMWxVoLAPeTkpew5tupkOv9KTiblo0phKs7+Y6BEowAZl2aoyCAC9W0OUnuHWziJc8M5pbfh952QFG0GpD3auecqxliqat0wOG1sVgPqsaa83gdxYBR5upocbeXyLJ+jAWomsz3iywwV5MjiLyra6TFqVelJLCY76hCRN/I9Kpd1QZ6mZVk+iRUwPIoUCb4n8uIAatsP2wMUGAO5EY0uKVwZvs48RpzAY8VaHZU9kvLtQ4NdQ49tVkT3sOhZfGNC/5XL0JKLQKJJcg7fjvpZ3f0e2SoBzZ2/S2UvCp4VGJr+270WGLa9mFhSYE/5CbMUwdyjkCTOqzB30fHOuD89/45U10KgN71w9/sRd5xD7j3dzHcI0rAnIhfm2Ohv8CWoOAvr9Ar8aHTR+AL2pB2JknVp5j811NpOi7+6IbVD75CanqhQVdCW+F364B4mbuK0G+tscGKBflhGeOB8ErhZftct1cajlF7MczSgc0w5HaDNlmgwCZ4/uYV1xzF2rXpUo3a5Y10u6Bf57eaPYiMRizwPrSW0wp3Fzu9DUrDXto+F8fSSz8Va/Pc29d3/ZKYqzIQ8jNG9IYJNPwGO/l9nb5Hf2h3oJckS53VGu1pr5irlY7hnvFVwGaXzjuV7s6Uew9xe0+5xq545klD7MZ2ba0TsWsbAUwZtZ2UBqRJ9OQImWThvsxEhaxI8cxA9OZteNbCu4EhJd6ia+VMYErmf9syzQyb5sQyEFRvWJ2ruvagx7hg0KGKVSUsFFJrIIct73Yu+6akCNw9iG30qH+U7GozkVr1WtLCL522sHw2mTifVnyvS6DjYflNnpy0UJEITjOlyM3h5MXUEcI7ls5KkmPZiMVaz3Zer0tBPer5Irf62cpgYbN1fQRArHLG1zRS3+JUVqQ26K1+QPFfNDBtSloFfKDG4N8pNuvHsX/AMTl+2MZWeR4U8EuAOUFqC7nlF21Mvs/OtmHa19eK12tpqCQLE5DCutQQCTbX7LIIeR573KYSXCcpAnDVOwC9OAYP7GmY68Pv4o+IrFPVdogx+wdXxVWL5EEN0AXhIR6V3f2T9HfBjkMA4ladFDIpJxQl/j8JIdPE5M/dP/1vlL1XQAi5WKZl8A+57ewre83CPCEtd1kYKDsd/NdVjEcO3ll4i05M6hpZWwJNRRCmEIR8DMv6eri99xJSbfv3tl0Zp+jrA42ngsKlxBvU6I3xCwCyN0hPBjL0hz9PEglqAaQbsP3Rys6eKI5dmjkw/bHiBlAJk8MlK0FPx51pmdNdE1VKO8orngP1xFhzZNrHJZtZx09qQ+v/h6ZQba+R5RpWiDGQ1b0PivezheLC4WPpvrT8VU6fiXPI0eRkg9yHhgSlpGsCZinsL8gfSs9WxO5krku99EJIILH1M4CHAq+yS9jqdk+j77YX8uI780guI6fcuYoCg1jPRCSU4AgUOZzhmQB6DEE1opaj5Nlp8pcW2FnAcbrE/SDqrKnAON8fxnS1RYpMJ4ywelYgc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hH9HB8/LZ855JfBD99YdmKGekwtu9yX7l3g2IqhHppPUeJ2kp3jtNEry+0FqG5DpxShlyOhroc173mohSSY6yd9b+kTk9fiibtialVKCL2LppoEyY6dT76orkuQR3IRjXONL8TC0wSddYREjSlrWusafRbQ4SVWKSFI8xfa/0nsCGiJ+3KAhXqV7skz8QnrKu3Qr/QQ413HiEnbbZFR9uicKISIzv/wMWpxGdQ+temUWNP7Byn/O7Mw5hyxYC0oRtJGxoXrRD1SjZhyHVzDaQK7/2Q2FfwifxrhEikLS7KVzuDDlv/D1mPHXBOaXKeEBRg6kSj5XReR9wmn1qN5XdMYrQwHkanzhgMhD9J0TJwJawxK8H3Af6Kti9EQ/WYh+vpzqJvvZuFIuIIsyZHGV8Rp2i9FY71YjwVYHShWi420EmP8GjxnuiviVfUlLa4cB7B3Ds1NGAjd124D++3FVD/4ylNiq7Lh7NDKz24+b1423slCo2Db8WNOAafCCkb9uqXm3dOyKNGzsESRDvezsem372pAN6QCTchxPiToxSkjEehBsckDemCCi1Jvf9sIFkbK207vqotdWrxlOuzkJgvyc84atllN84krFe5ENjwENnMqwjsd4YbUwNqpB+XBkkKxcPuXMb//EfQkkm7+2BETcByTWTrJvXBBB7xnZnUikfOgLGveeFTQjJ6ITeud6C4wBD2TWztgSU8FY+WoufZy4cC3fVJdzH7NXQfC8Khra0H/fGpLmr1u6/LXiVyBwP0AH9PWGER/NFGk3efUBFQm1n0vH7GMrWJnKmciwchMZVEiWDlGZHRCyJRjWoEBab24ub8g5rfC0Hw9VTREL1AQvA6bVxrxza/luim5I7zW54TFZOhYINnwzQ2wOIJHQo1ZlVCbfWJiPepnjKepVO5lYGFnMXmSitDITIhg6Xoy2IAkLlQ/Gr656wsG+B932x64Ll8vM2neord/3Xc/WiMTRQGN8PXdSJACA6FWfxZpmziAPQtjT8JLFYLbgVxfpF7XNWW1UpZVk8AXvnP7KMSPz1j/x45wNFfvzHShPiInOmydUc+NYBlUXWdrGyetq5q65O25BpZUeKf3m8ZMkzMgEEDcridQSWEhTIZJtQnKjAA7EsyDZb7I/FUMhUWTL2YEFEKXsVJ2L5fRZA07WWsQStOePMexd1AhVNqnA6zqSTq7xWkUYqEB1LUSefzyZInJEbILuvrm6GOj1rSrA1+iFiZfhhvgK+FnTgyXknvlD4w7BIF5+pAOOxnWDXdwWFcklVSAbvxiApE1dN12ZaiNX79cFnD13DF08XE+NhVhrFxN5jB0F7vNo3/n0KEBq+zIV8taI536tVgQjnBPJpZbWFce8pF+P4JHPgYiVJJtfiBMQKozyXy8wk71lVSY4x7qddGXshtK9r4LyPb1iEiWrSNLnvuD4jzE4WA+apxJs51hxl5mZmRjczkUtDritYAxoWqBmDIoOaG+rY1Qkhmo1r0Y7adlHfxUzCQRG2J/NaMDd2yjMTtKBjvPtnE7UwrierKRMs2kI8FWOF0O3AHb4gWoDzyRvbolDHAF7dLktSD7Lv/fcVuoVxjiRVYs1NxyMryMBPhkRidavENLYG07JsAqtSXBk7ChFKhYNFfwzeMZMpQmllzC5BnNxXsj4YclczAvdZtOD2BdNJsQqeI/FmSCz8X8XwRP/cjxZMBVWqsMgMr/72kg7Svqo7s+xkANZCbWiprcnqyX0n9Qf4o5rnPu3yrTwwjB+OWndu/oJVidxJyN0Ctl6tnqPTDe3YG1ttfs0n2ikQ+Mcuw9rKbYBYRnykmtCravlElo+zK3/MaVV+Tw6iF8AEsBczUAUQkHSGn4F60YI8amK7PhIjj6LRE7Tv412jjFQEv4F6HVr/75cxIJ1uZQLE9c6zqi7NvQBYhKL0A96VOFPhEWSd9FDgkpDfTsYmVQVd5sv11oy0F8UuYZNiMupOrix1QUbg8j7ySnOkqsKPaFb1m5Fd6yR7xInK6dNWBkYteP0gXy8cO+XzetQ4I4Te0hWK8dDGaj3RC6ngd8kDBGaGraqXGHcSE6hA7umV3wJfERkB4hDqso4rzPpazF13MCsIXounS7Q6PCQlVidlhlFfvP9a1ZeQVacqDFY2T8zpfIJ+aARw3LbsDuBOGTgaLpslMaB/yN8xNU2UWr5GUCCa5WvF8TXI2Sudwzb0kaBUGrUcFDEL8n3o0jNqQkfvqxdq5YULpxPDkxTlg978bssZ/H/zwfDmMwDmiIUZbSc+NPoGe0c5p9ASXcGYHbhLMdDgLK02FNFNPsxnnzYIHn/wjEPvhiQHEN2W/tRKBiHJxNgsnuVPnQbDRGoQ8QsU/UO+xD5Xib+kZ/2fuHxj4d/NRC9rbnfsLPbzRst7eM9BpOMtHUUUPOsNa3Bheci5TgPWZcw10mRf5Pqztg3OwqGFvItMThTE/mIk5rEK4m4EFr02slNmCaIw1RfhQ8Gkq0gVFpw3VWhkXecCWuudXzWWL/CSrmXcmxQjsYA8U624sETu2LAuYCevnBaFS6VRMH9zy3hGQKIoOBdFIu1wH76FeaKnGBMskrPadfFYFgShs6ua6TH24oknHhjQjhVU0Tostu/g8rGOTUdZPN2SmwY4jS6YQolYSvLdkFuDRK629ypwBwytg6c9NIK46CViMYFO8lWnAU0TnIoVDk97UQvBWbH3eSI5wWSfiH4xMZ95jeYr+vBdZW9/ECTn3JFWW08Hf4yH2AVdfWzas02h3k+dZGcIk2s/XVFjHUE+KBiQmhI1jgA8++uB7XjxKL3C5263OiIGymxHh9950m5KiysHGyzALajvSZlz5hdV2ByvDTTT0SF3zhGSZIuCS0eYXVwFiMvxA6lOTYenx9ZJpMF41wBou6a5FXrW/OIhvM7GH+jkFmszGv3KB2giXI5UcZcXvzqfOUDFO4odRY99HErHMlyZCuZQ+kyScMD3Ngu7uPobApX18vhy01f+udQGsKKRWoHGq+CjGjn80WEE67+Lb+0D4Kzkl2x+5EbAXAbk0P/ud7b7l/Pmw82U+CeIFfBFFD/jVrKLv5Ocsg6nxGOfXGHz/mdCCw9uBqhwbx3Uz/hVr9FZBTAsUDL3srkyg5EHa9NKvMcZdnNkAFcwpLqHpA0qI8toqc4wE4yMC68tI8sXRuiDCb/6Jc7aTf3aaYRC4ejVjEUHDDIquapM/n1tbb0CqRaLNzOFM4cdbVYMHDfbpSONKtcrvgXDHs3px8O5vcdZWWUtiIAQyRoG+71CeuviAdOOYm5ksgz3MVYCI83wE8cl2e958IpIIY9TIelGLONF6AhtYnviOJ9zn/P64zMC0SQoMF1sX0uTi9IECpYmtKHyfygZWPdhl9WEe/nyEdHPCE9osJdtmyspY7iWTKIL8UozrRM9goIiDLWzJeIoNor8nbSOvC+kqaZWhfCNgNJEVzyTWC4DvtSyZqmPVEpmJWMJWBeSN3jZiKedgEG6skuhAmQrEd2jIiOYZwHJdVeYA1VmAcZ/qTyzaXmRh9qqGWK/T6G3Mvj93arzl4/VXcaRDIhoYTLI5Q9wvngAgiH0ZBfqneuhnJVTjiSbVW3qS3u45vKQ5KjxGDsVli6lieVxESpe5rcPDPfeQVv0OJOihPLnWKk9XOayzshlz3x6u7mByJglNOk3sLMWreX/+ycpWWibCIwJTneWMJCbTZhP+fsFo5p6kX1J931/8LxE4NSuBmo7eS00sG2aZh2MsImKmZnrebRfFI4JJOYrOKstYRZaWmADGU8ozduengSBjH4CD63K1bajr9l9V+Qyl8D1jVactjMDuaDqMlC8HdcPCcv2jFUBWhuMYxaCBl2gv5mwrQ0Jy4i4hY9ZnDxBhWREymjLVvZh9AR2nYTXldBMLJUtaASGLEEz/3Ms0o606yAW83xhJOR1xDHl6NYBBXQrXpC/kam5qQuZn5FrknBehp+MNGWnbk4ST6ACZVQCuvniw0vX/Tatzxkc8g6tGMC82MRkaHfpBmmqpal/0TNHy0R7WoC1IfGPTiLtsHtZ4SnLooXVmf21KBiJpDj+xqeLKWMXIqzoExPS2q5yygHiK/8nrxzyXrXQlL8XNypJg0HLk6R4gMIqhnX32TxxAhzPwYNBs4BkDLSVv2g2hKC3RsujX/5cZ4zUnjiQ/xEM08zsLgf9X7PStQvL5BEk8KUU7ncEHAvu5rc8eiRm56mFzu9MqERd4K1VUwfBw5XtLo9rX6pGH3R384EoWRZxVZ1pBd8Bz1wHX61+Jyd1pW5xmMNQir3y+H73+6CbN7NxUp3PUzXIYODR7GCQjqVJVWDVjAgaNMkSpjDt6WR2eKQnOxxMgj6LaQxaY6J4/3fn0SlvX3FBuPMjzOun8UuYt5zvFm49rBNz9WRxYyNvVNWvOkm/Go1eg6iDuqO1dh5EhmOyD8jQaNJjTgcR2iEK3b/Xhe3goxyatqg6mUc3OBriutOdOojvrZcq7+VlxlAqe7ejx51/KXkvXLRLop5Ugz7JZ+JyComzmHiXDPBwUr1OOOF0f382qRwqD/h7sXntrxqW6G0DqzQ9XTkdKp8V+HeBWvlLfghu5/b7hwz0kKLurEsvO1qtwWicKaHv1Bzfv4bGau1lt1RYJnueJJVCsebmT1kfUb4PFj7DhCbriHp/mzatLzKKDyJp9Y8LidCaeeddmPANGlYOeiK5VXXZHGQGyHFh/WbQPst27WjN1GpFtVSGWj4n8zyaLZVUABlkk0USj45LlHGqRLP3HF2MCIcU8xLRC84oeJv2gpKrYeHTavMY1GuXdGU3PMRr5dKHH9HAxuBNpArMeQ66gIZHueQrC2cD2iR4lIV+/pLxBDv8cKO7CBYXOit/1U5Ahjky1z/jahABo3upGETE6dGMPoA8YdgVTZ+F1rvV/GlhQ8P/oL1g3KdoBqXvSUVy+40SeXZNjcAGRV0eE78OczuQ3DTIgICyoBZVKJElhRhTCvCBpyiBIz9dbJ5+Gy4CVdZlItQtl5YbEmg6fUbLGcrOrZbJKxX9iKGv68Ym97o7m3H3yq4+rMopuj4q55yzfbGztBoREIPHi2jYPQLNJpRFs+EMeqpHr6N2m0LLJIRR+EhpiYQPrvLtkWVIPGlkEdqjfvXATdRuym6JfZ0/nbucWDS6WjZW9HLFHXBeOoEY/xT88vWFUi3lxJUe8yVDrH75IR9O4cCgppvt29DsiATy5iz71Lo2YtEPB99Gdi2jYNluGIXzfTBgUYJfWvUKq0AnYW1weivu96j8b3k55Rcn5XbGQk6Mw0nF/cfQphZgeHNcfk9kD7LWfBqbwbfuqU9cqegT/WOrXYhOYXgVORF5ZlzyNhnfVihPqxyHHw/qnaNd5oIG4x6TroRQx1d6wXAWjOKs9fTDTJZdE07Vmf7AYAh6Nhkcuo/wbgz8V/XDW8PXeh6+aw7VKiCe3Hf1d9lhaUI9GvrstD4yxu3m+Sjg8rAMN/BqWONgDPSC//9LvuGj2xIpYkCburuVZ1P6wVmDpbEXIB+3CZQsSOP3sEvOOxfrRf4oB/kd5hVcKabnSYFHYn+ZwxuNGcwxSw2teiTCITNdddgn0SFUo9QLhL7bXzcNshtMRgXYsXUIdBp6pJM0b47Fu+jhdmabarQx9xmNzr5HuYfc3Vt7SELKaZ7CHiN+AX5wlTh3Iu9obQedQ4zUhjSezib9W5nSjKJZaXTkZVPeQaA1/eqBcOtmyG+h07HJbfteGPjShBRAqX0yWo5ueo6iw0e6kUY3y6RqNTm1FeMm37s9aEvamfdXOESWgvq7im/Jxfrmw05kmiEya+oD8inon2pHonXCelg2I/fawcxUYPZKcQvR5+I3BHzZcY+jPvk2huxnJ+NLFeVBaqjRzMCWtNWNLq1lTcAvKsaLnpzWmaGe6IzVM8x6lkDKuwkeqf+cYDwLl3Y/fjt2symZaWZhowCcfjsCadhK3ffoDmLwO+UqJTGljnKRT3mtqegXlFKAANYwI2D8SP2rTj2/k83ZZuZDulrLRBeVUPtZovXTqoTjPIDYg7IXa+z30JzTsfue3pE6TxHjvpXuxPWVv4e4I3QTwhHRReMXG8gV11zVZhdr50qiqy02uXgotq/ystfTo1rkb2SV48n/wIH8LI1RXwKvq2jw29Wl8nUbm0vJwdfTwHchbXytmX/9VgC8NR2UADGNXFU065w0/4QUrbL8ge5/hpK93zFYfd3NXYxnBAjTZnutDZ2f303BWeU6P/GKK0yD9UPuIzWdghplHk1X94fJ8M5ugz7rUkkKlZYQU1XracvrftaUkhy59FeiwRIuoseYewadQQZIlcbVG9zrs5YRtzhjYl4mI+kN+dTllbyu5Cza141NMov8vuqZQ3CBuidma9tFqxs7oI1lQIL7nRkUf61IhPNfuZy+eCDGDgZh4bI6ACERsC4vxh5R36kQl2/c2SpqIymPjY4tSjydT3FmoO4myIRcndSddEETU8ZGs31QqiJCYmjTH20QAMK6bPHVRQ4knWAnIQ/uFtW2KhWGLVPFgJ4qz8cS8I8Z4+R58J5d8x34Ggg9QY5PYR8yEc2YQHXb3aYqwz9GOla+7asKWpRI3d/op3QO2YY5wsS/SFvhFiYGMcm+itn3Ilhp3i3V4r0lMo5SqDBZJYSZSj00QMpiVkHvYTq0lZvjEKTj6dW3YkIb91anbSDdsU6+uOmNOCPLdsbk3TmQvfPvYs7CGOhtEyzGAAsbRxHCoqmeLHzkucSuZIQwsxG9o4/8pzdsJiSlD8m9suel1ONZHuO3YPyR+ySMalLOlydsale4z3lzZeztvlHAbWHKC8GK3GcFRpQ5kMtZZ/sV7CR4OdEe8CZ3rbcgqG7TKqvBSA88ibW/lBjLHzLpZzDOOBZiYneMh0DBt3sUjZNq+Ihra0XoXnz11ua3WKYLHR9mm/YmgfLKWk2iaLmHtPDsopla6STQDUmgQYQKuWlILv2cck2bjhiOIc6/ifppzmCnPue0D7gXy2a9mvxwEPyCuhXDOZpAV5Md1p/ep3r8GVFSmZCIcH0LVcCxz5cd+DDuqcamRYWtW7kppW3lVOrygsI4tC7GBla0j4CSk1gQLMV46IP28zmII2YC0DcUFsbwQy46VmW4cgOcxPe5Maq2FIqOLRUnUD9vgG2hfEtIuD81J60S54uXS9iWv1sfDE50u3N68VnFb4Z2I9T6yZxoTm+gmcmBFifjBG/ZqXKtsLZ0botexrp5n5rnYIhnMMtUQEQ54aslrNlKcWvtjAYlrKnCK2pVyo89URh1w2I2eJO9kiUaDVHbMxVc5Ku504wj97+THt55BrHjLCsZQX4UVJaiSxiYU090jjcL+wxNK36YQ3jHRLmq66WYWNcmSL4NrjDfucrSXafrKnmpCKbGK4R/N5f+fDtuuEbG32YMcr1ehI8anLp2YIkBQJqWct0JnLpW6eqHfg/Pytkiw0FOonvBNnPiVfDV9WB+oFRKJkY+iq6v8H1jYEmyJ4dqHvjSXb02AheqInw8XEraxTYFSnrY0aD6SDKEmDE960ZFcRB/3rx4SAedDr+79UBDoECoed9wTrPZea9IK9dBIQ+8YBgXs7Pr3jQc5NwtHsH/cZTtIyBrTfFkragoZ2JoyS+LSKVtqg1Lx6TGImpqFstkx21SMPhUEm53LjPwIjkCUVu2JfUVQfoHu8bO0FXwq8Jxt715AsvT94WM5AVjd9SjkosYxdolFQgNLQSmPQYdJpXopu9uj1vgbt8cT8VF6V44xxsFyXO9xnw4v4+2vzhVYHkv4LUa437e6qMlGBrA+jkiC9ii6QkzrSLQtpMtWzbF19e/z94WQ2msrl+ILN7ShPniCCagX6qzR4YeWL08S/u90QlwRT1nwd+iWm2Z+c1NYvZWnCO2s/53x/iObWr6kIn4ydRFZ8itMpXoTAuaC1szKOlL7AXnOz301yREkIH9dyqv7m6+MH2sCRWU2qiEVF2Y1R9HmBcjgeOzpetLnC5+ElInaLVtX5qb5CxVkflbCH0E+6MiT1bXnGURY/EbzIw8zxyWo7Dx0QQ6+VKQcHxFRiVd1IcJAMYaUBKjyKJ28ysMw70PpRLaxLPaP2hNA6OaslbR1AGYINVGDWgCMOGDi/eOwqCgb6v1zBm+FjYlBRkVvtrLxud4fn3e9yI+cuBF2w4GZJ7xG1AHAUCruIIwaMHe5hFhDLXjlTfy2undWv7hyiY18ZO+Wy9wbsJhyfqvNN2nHX0GckwZ9OMgmxP9f/V5fTI/GfBby14wflO86mNstTDJexC3j2KYJQG4yw/Apymy/WX+/rMEiqRhsZGEvlmn05z2s/Z2szpD6NyTBIcftGWKdcNjZ5G7gGR45DHK6/yN2MBhcNPBc/ol/95Q5N5Io6jVmEYC8j0iQhgp8wHj/8EcDnpXWxUOmRN+djPvqC6gvbRjj5b8cetimRQe8D+cp9fC5anrxqzCPYHUKZtExiCgZoIk3CbICxQ0fTMDsje+3teN1XjUfZ+h9D6WHSP4LESHy71WHit/Ikx0aIUR/j+CHMB7lAD7ocQitM91R/DcQCRlSivS3qTUXaqpu4iRtTgSYJwiP3Qzit3yt0IrqBHQxgkLqsuYQshXDsCmehd17TwqJA2qdwQnTZw4wXveE3lj4RgYg4tlzLlYQjmYAnDKbbcOH3Ta6Xe1Zo3U9+7mjTAJrG91fvm7xz4dPShIt4UobZk9UHdHzptuKFH5PXmGjMOp86b9kQkfCIALk+awKi/Rc+2MRv496kUqbDJHFsBl23NL1r3Bw4Ee+aLhCO2y8gtRcAoby5Ox9y6slVbSvLOOdelgaS806NuLMHi55Hap7jwRyBSPcwpy2iHJdzrngRE7nTXzcMzho9QOgIrqRnZtIn25Y+kaJ4RLW0CFS1yKlx6QpN8C1UOV3SIWXZsXa4qgKhkani7ceUk7fCmUbrOqVwcd1OG0o85lnrOJh07mnaMOKecgmMFLlZgCVMlneUO9Cn/oMkN7m/nxNSrjgUNuROGJbnnhTtEXu5zLTAsQUNWKKJmHdV5h6JIi6RDSkVhyDZ9mxYEflvqnbDhijtsNxRVeSyDcEmh84QKbxZRot4Ilo2nfUroGHR9ncnhtM8tl5hYdGzf9nuv7njbj12zU6mFZy8Eaib1XXS/MBKzfVPFHwj8PQDG9eCDSURHaCs122CvP/XFWidEyiJekmaGqEghvg2eDmLT6HPD6npAbf4yLIUpnhBOhlJr/DunyjrIhMqRlssXAX6tc9V7V1XzS9QIndzFMwRTez0ymMyTnliGs8RABZog9nA9H3cqFb7s3ZOTNk/9gfGSs4PHE7+ZWoANGhbtv0l8265XtQcu4lHfkOP3MJRSkT1hkVCO61AWU5GCpr4Vj0usJwdN0D5NsxY5In6xhZhpfcVCD8+5X5tA1c1jlM9auqH88HsYwrhvua9RszaQd7Tn8y9qKY2no5Nmolf5MIB+AkciiJeNYjmCYF/TIlrBQVTtB6Bx+sAWFLcIVRLeW844lhPX3f+Dyu2iM12gSE6nlpmF5dSzUBgxSqCDsV52gUP0wrpU2UcuDG1Fc5iDEOBfqOcki8NYlEt+fILROq8KJEiUYJWdqzd5ZhHYU5E8LiZlYKqeHbLY6GItJ3PX/Q3P/vDxkaIv+KvQPwc80sy1gfhs0KJWT0bgVI3eoF9nTa9PzPSQ6JJfXm3A2yvsZw7Yql7WcQe84tPa/uAQdWl91TJGzjMuOQZmQbAhj0vbtn3Vdz6voiCerf7FxuoZoG8cQ0NZKkH+BiUFOf1P7cSsinuzXo+4HEEnaC4hKO2c9ua3nbON8NinGJiv6iky2E6SAmRn/H7F1EjElrRgD1o5QBZUidlPxuT4WZlyGDZGUYBNtBMVf86B9uA0JFXoDcTTu7eVG92moCdmtw5qJ4zki3sBZU3fQ1NiN20/gx4646lYPsn8f+JUgaQ54hS3FWKdO1db2fipoGQsgch+D75bOS1VRux/fpSj+Tf04TJtapW4vGnhLvwQFxBqYdZo7HpptCoFZQRBYhjQ2ih8wAwQK1nQUrGNLOECULT4AtpaHwDOB9q4jZLmN6XfM3N8+8o+sl50Wv6tznEoYZ6wjCpe6aMgNOOFejgsjcfvndWCsrG74dslOAmYN90M/ryfXVvDG20kpIJqz8L8gbKSLvp1JBgqS1KXteoCg3YpTI1ZU4AXS2luZHi9GtKENjsitsDT6irEQr4BvDW6m4LqLAlSOVMwAHwqcyHpfIAarca7pVWGCyXKHHgq3wyhXYyk1fQzJSXzj93swla97iUBsxFAMxBvhrYuM6kl+oeslaali+OXXOTsKAgZ4zfbMitUcfOnM5POQgngsRDlBzZRaRV5Fs72guyWhfY7LpbyBH3h0ygg5Sp4SOtGsanXPp8/zU61lyUabAhLYHvwCu3giZozPSEZQ32A43CFiq4VAqmfmSERZ+LCK1RU2m8qQwdRGGtTgZAv5+W3yn8CS//bR77ye/D4CQAKoknHYt52cu9r9Tes3ktaXudQMxo2mPrc/hDmaHjZGCQcZpcd0xBT8ZNJlg95pgyhkut+lVv892fG7vQ73QEhNM9Pp4+t8DaIhMenBf+FZ0utqCihaEwUxaaecAoGUbp/0IRJEsEC6XF8MCrcf2k74OWvrWyYW91kcW+v2+JJlHt0Ohi8WlbfNuSM7xBjpdGICd9W2Mg0xhLmbg6sZfqlvU1UbXypI3oh1J5xhNbqxs38umHpHHLgmQv1aWK9sdl/dvuXHCj47fBZQiXPrZMUUKD3lCXhfBLZbVsFP3LTb0dMDzUCoYJI5VUZWN0TAeKMgmYUcFUz73TeZSQPHr0toRy9nOdT17yxw/s2myppBWBXIUtxJB6f28d8S3VfVMcv0MBCzgJ4lrnmmsF5URiLFK8m5qR0TZENwkNYqJmeqcTXGBFIULqYvhMvUPjt76DD0kEF/7duxx9BFcoCP0psfI5/i8pq3i4J4PZ9dyb0gSnZ/4eRIlVo4pkeZ6H7BPjaVtaPEJaONbinnDS2u6AaksY4nHHtOObZk8JMpLcLlh/4jnpDVyrCmL3fK/brloPVcknCq3A0O8KZ0jB6Q0qJEZgFRn1yIM16mrx59kHtM/CqFkgPtdcFRj8A5QKoCZ1NwaqQ4QNGSnIz/3xvyOFbizlKP+U2J7kr7Qj5Qkdn9dThX9/p8CqOYFb+HneRun7bg24ghPiCZ0Ygw+1/72A7iuc0oCvTCoDlRLH4fM3qfuzyZmi9S3Zezddql2eo3AKTjQABorZqOnsy8zXvk2P/ZxBGcz7cLC47ljsKLqH793DbtwGnS4NrBLEfGU82FgDcJAnCsI8I5d5nar+7WW68dCzJnv722G4fj0sfgDTzSaRA7ow3VWY9oKee5lU3lCCmzkN0IaGLnQfV/rNY8n+qSTlQ6HfRND+UMbmNRJKSir2/7R1Fjn0/tPPUgNXrEVMz2HLMRlc9Hty+IyLXssgdwBOhZTMDI/h2sl8sKzGfmFo4b4Q7IWEQr+MBsAiJpcmApVbj5XRmnOHoQ9ex2pQz70qTdAhKCrgL7zHPeqJclpa3v9ARM3GxsgYqdGgUK1aJj0BW8nVY8GjWl3+hj0ALjNlAtllCmYpCtbDroOk35W6PxgkCVyz8QhVmwXZQSgqb51pfNC6iM8L7YsbCTMLIqjQmGe7dFkz+I4W4IytxdQDnQlautMQoxejud9YZQ683UlS16RtQQaodd4qKv/geGjrYjf/F4+5Baca3upl9BGiNEo+/SQf9vdHNy6DHqEoUou0qtowjgR+v73oFLT1OIwa1VcjRaHoeorev8OadWzzhgB2noyp126KYnVZZu/qF9cSKk3ELOulV7mWeNB6APTfu20qyK2ytpVhoiu8ZFqBCqivRPzYb84+K+nor414npYThgsTwmGn+5u88SCctF+yJtiMJFqX9n1klar6On997XDLeNOMlngW58kfmfyO1k/ykRlqOWn+K0ldnXHubWOf6p2azXHD4pVVlrNoq09QOVChByHl1O6v5YYKvNn2rW9niRW/0ciEG9XD/RsHTEKsLBkkkVYt8l7asOTpQtqtaS53GFB1AO8l5LqBXzT1KpihCQto84J/c6j7ttUAAi63bpfQmrs6p0VeplGG3+5MeJ+AZx+f0es6kx1xehQRy+Wb5dF5OfD0s7/MFaHAvMCgYm2mmEdJtwnm5Vx6wG/L+Be71faNFMCYlJuKOzpm7KByF0rVTQoerLrIi4BGYkabVoCcpndbHDrTZ4+ewdQpPorqnd6dx6VDcVS6iggsKl4s9KYsAaGRU07XAgqIvDb8iy5rybMyr5oGCDdAPUi4+lTT9ZZhNe3HY5H97xuXQBxiiljk5o72deI6TzZEnS9T0YenaJqliJRPtyX/RTdGnIJwWneu6NXQreVT5KReGf3Twug2SDXDB5h7G4TptuO5OB5Zj5ZBu2MkRmUTTOMdPJb2xbwrC/9NjDudQhSoreopVoaaWJDgwQ+2Ib2VNjfEjp2FpOc9p2Xgb9ghcppbRgrCX7rgKU7LUdeZbxAYWXNQxejhMYzFK/0jw6ghP1ro4JUtpbe85IScqBNxOB4opnXx/EJps2774rglGeGLA+nMfTD6vzNKZqyy1+kv2togo2/dnCSsDzZsMCgUzwoPQerXlUNEYx1KL2voV5LCBZigjmL8g3/n2vdZU3KHqmE9w1yX45v2z1H0EB9PsdWWhCpF0rhooAeAoSh95kcQLr7IJxcEZBNxW9BBooQgHURbgsr6L11/gHa9hjGhKNB4jWll5M2gHHYXkXbrA4YFW+AjhFMz15UQX5GoR2OPhpV9uanXmhaqG5H6DA3+xcfciGfTKSy/bSmgKkuycIZBHbicz0JtA8udo5Cf3lR248PSBn6T1IxegQtZVDkUDo/H0gdqpPJ/wOOoxdQiezgbDoNNWODbZo7iUMYLvdIUhIBCl1GznNp5Jsqni44jLtjZwPty6NbCf002AmqCDvJgkNfmdPTQ8xuliRlR9wwpAuydEJXmO0OFogYxW7NBd9jZyKf8/W71dqgA9t4gnHUVNHFhcadiJPsSQ4C8jhbf5OQJ7g0lwPVkrcsK5wCCqjtIC3UpZw40CPQEhaY9Biquj5rjmiSUuqXqBYkTVh3k+Ps1qFU3B5ADG+MIqRhAN1Q24ngJg+y5gYicZx0GUgnrcHMLBY8aHngG/Ed9qwaw421roj8BUQiGlsJ/EM7MIL5EjK2UfWLkmb97c9CgdSm7HGMJlj6bhYqyAr6RuZXc4A+oVjjKAJEf5PQU4bJhl0T8HcFatQ5j9qqeiI+VerbIC3fFfkYxntgKV3hfr5lFXRvTkxh+nFQG2N51QZmNoeCL3pcwW1gI5EWc9DuKcjWCbO7X8GgrzKrUBGnzhbEb4a07Xtit0yl61RvfhmMmM15F1CYcuCC2jpVM76vHqtnBdJV5FV7LRqgxqGH8Z0YZ69juzmiHNFz3XXHOJtf/ghxOrfgVs/YtlQSH5lHus0soBKRa3HTEWXYH6COAUDxYJn4RVZV/a2lUKKshpEbhnMvA/AfvlfJE+gnzkvlI4nIvlZZrt6g8LUyn23XVkbriitlfK7FjuAsNOzU+RGJ7WzjsrlgC0cHshQ03TxeXt7ZuNN6hdih6ZxJd+iPCyK+Ty86zffpCmuerC387uYqgJiMPY0J7ky+XKUEprtORj07soi9VaqGsb+1hWhcVN9LmeUqe+5xL5/h0qSGy6IgDG9zQ0G6KUxtxyPVUN2axtZ29E/Bue6OsIRnT2wjrWsJFHWMTCP71UBb2819LLB/PBgyCI4LQIW9WoM0rsIvMFwBmbsmmJF6A/KZfEm0bhYftWQKMCOaCdfsVn9QL81fB910OhPSo9ZvrfmKVzLBJOmQix3XRoNhbm5rrmYjEtMeUK08zJPVnAwXCMt64qQfKV033FtQSIergsSWpHOX06y+tzd7Gp3Rr4sUd7Y2OHtTAI0hqp1FJzBTR3iR4ts+xoghUCAQ75FtCYxaarHFgxa5YUHtEUGnDzEQzH5WhccTMMDE8eeHGEkcxd9dmOFk0EJTX13d/XuhqJ59MUtLcnWVLtAo2jVMIvitZozD1RhUpa4EqAIe8PEeGnw823NFI/TmO8T83lpLJ9yaxIaDykI7vPLEQX54I0BFVdQ3VBixQrMlFfZWwV5hKwNvNhQtPn/EGCYR+DjhLamnvrQGtB8Zndy2pniT6KdtswqGTG+PcJrhGRFY6XHL4iynlAFG+RTEX6yTysXVOtKnXrgQLTwjU5l4csWjKhQSDwH4ctY7prQ5ILepVeeb4spmZSvHDXanbCSEX9G4Ss0jWhs1UdSEr8whe+ldu95TQCgHZhO7K/i5hhxPLcwE1SVA6jf3Rfurjsru4UOG2XKM2iZXAJgzcYBt82G3T21uZuqJN9jbxplvr+qpc+XHatrCpqmT2xxxgrxWAPDeHZsv6HHsYp0ZVn1dUJHZby5w4WsXche96LJJY6mNYytFQQNCAmcqP5+9yW61/1V3iZr4pyYZyrSoW4KVdMOLlDq6ElqVs10FR8pB4IToztBVjjUQTupqz1WFnxs9eeqeX0gkhvopnWuD02OehLZBNYGyzCAbxW0GQsNv1qF0Z4Mcqhh+BCJrUCBa882KKsjdaVQYU3a5D1DG+Vkar44dGoSwLt4WwLdpk2U/BUq/vjxEO25kHJQD1XjirvHmkVG5uMuB+OdX48X8PIZEOeDuxzbjZkkjo0FreHLP67FzoYpp3bQ/p3LM9nwyrG3cvaEgtT2hin1QnL3AHjx2yZCeoCTm1tjT6FcAkyRCu4qRtAoU2lFttuBarQ12a+1gVNgY08HscDLy1EN40uEEFZBB18S0sm8WNN49v7oV4BJRAIQdMupAduqtJvKYds2f/SrK0W8Sv/RaoNiSVl4PW41+VSHgwhocJt6ulR/XnlhtbWdHDNr4HJEXjE6Js6EX1YHTlf1y6x45qmjIK3pitJ+ngMcgUMn3vta3RghDLmhLZI+O+HEV3jFG7V3OG+SiF/5z17mpuZ7PwljlNnrOBQLOZ+ulZPULSPkVKqkzYkRjrab8X5cbdLYEtrnayJRhHlQbRN9uARkFIlGoz6ICp4dsvhmtDv0td3C4lynbOk1sfTLD4gs+X4HChv+pxWR5PZ+BrMFIrADXkN9EvCpzp1ChLziEP/fb82iZXUSCYOogUIr9UGs3p2NTHhb0mVQNYbuzq09cLIn0mVRMOtINvp52Oy1ztLIbItYvM54Kse24fIu39VgNRW966vsFs71ZaF/kTYSfmjTsTVmbHaPa9ZSTrTChTOk9Hx50XKxFV2exEZmruPB1KRe3DWimLrBpsY864is//NV0++SspfNYrSJ7+0BM92LlJS3tW0xyjtnq7wQ32UMLvKNQIgqvX60Sv5CENu1FktQ+zdKcYb7d/SyUr0qsMNKi3iWzzrlTaNFIfa8DV1+cneql64NzR2FjXRir6dmQtHevqSpTP6ye27Le06DCo0QmVCFgRHsCoRfOzVPrQ7TQ6J6qUqL4V7Scic/r24JQY0WDFNvbzO+zFBOeyAxFGNk/WgoW0+3KiUCbeZqGOlGtftJCQaH1uw8OcnRnwyoKhukpEiVAkUqIgzGVjWLiJD114tbs/ZWAsZcShw5neSLQwxMtOXUBw1m10TG70iz6Ca0sNEG1DGWfyOQ/ynczIJ+iVAFM8aYn2P5Lz2P/9IBkrm2cDm+/6wXQq1U8k3uTl4UGoS9qA4wSLdrrQn6xRGxx0G/F5WqSrgm2j0mcN7HS31VLkn+dVrgq26ezEdqBe64HAbxYXST6teCF4vcuMU3F9slzqB1ParD0wiKrzbzmkoET432spJAS/toqoKxG6+ExlzABI5RJ1aX5beIGkF0g7zicneDcIVCsc6PcQXYNruYMOnoJivda6JPJOuPprC6TTYdRFfp4+OBkWA58ks6uqIFaunMiDFIuyskJ1AlUb0Fj0b2qqHtPZagT0IKTvdp/Hn8dNEuhdn4ggf936niSHfREPNHzP7sU8AsG6s5+2PqpdN96IP6LUNvCq8mlZ63lOgwM+uPThM+sIhD447hQQcY+vBDM0yym8MS29o/Ry1TmaIAyAFB7QS4m5SoBs5HYuhEXgVuHMywdmLT4/1uhBgGoun/fHjK1SL6f2hlU52wnixZFtR+CP0HHgmtII0An6pGy4Xr4qBZqju7IAjGJIfQKZU0YB34KdnzmYfQMVfguReTQjxnV16fcgwWJYEj/hJMOkBjAucOdWcH0+fvUO+JhJWT8JTtUexceWRNvgP6cpExsakmi0xQa/o7OEbuVpWA26yfCDYG4D+yhrj/Uic2LbcZ0dyW8MVqFzH2KV45bn1gbdO/c5WxXk9KiyIjrJfW4E+BtKTGu4Gai4dWIqZ1Px/Ia9uQxeC0N0OeAOW6icxR+UclQNr5gNfGE1Ij0hlhgI01CMxvtFaB+VcFu1c3ffVWYA+QHKzhc1vmX90IiM1tObPC1inmCJbHhRXYuYatKBpcxUg9t0E7twGKXowdbK9qaJT53yNfp7DXsD3+V8hZveUrpDBLqlYmXmX907v8nthtYkNmoF2oPYF0ZSbF5KCfiepa3S7yFio+loJjKrN7jBb7XLKHifImecGQuJg14zSSjH3NJD7xur16FYBJHTeTQwMx6EbBpykb8p8f02pOilbGug0SFtVdRYPlvOzzpQPGde+ZSp12mQ+2vsjtERQCXD9HxgOwOS9+YN4wBXJIk5mWYo+Uv8SjplUnvdz22SfTLYFD2DZAvMrbXYv/ioJiJREE25xov1g/NT7sqD4laIayMmHC/lyf3bR4U+PvjkaSbfBITZ88UAsDynkTndPydeIf/UkRUNNYg3vHLdA86b3ZmRSE9fWNYB5wJ0HZUp+pWWmX+Y8vo3Hg9gHwz9iW6mLF7UvmsINUIrwVLh6/uqdrzI18BuZmlSr6WglX6oj3jizWIpChN0EgJqJEcaL6eSt3LCehYk+wq6w0IljJK78o+hi4HvFr5KI4UjuUQqaz7qdBVWE6AfuXPaD8o6PL9Cm5MDUhL2v4wPcBJJ6osilbfNpmzbqk77g0Nk8hfiyHY3WHcEB7umh7xki3wkVy2NiBxw7gsU+H4wAo5mFBoEafBFw5J7ztyfAvIRmLolIidxSgrjo7cpSXjATvCUsZPXGXiTsG5sjUIeXNsbRGBi5DIsZ8kn90LrR7uhCfKa0dcFO3p2cieuF2n0OEl8cnc3UDW07KWDLd0S4bsc0OPhdcDN68SA7d58edYtNeHYnkd158+cGe6+Izhx9qhDRoA0Stg5g/H2F7p3QMBlPRbjNNKKrhEOFnnv1PimMW/n/92u7D4VBtJ28ZSrxtM2343L+ad61BKetwSLQzUNz3HycdF5/EXIu3jAVeB/X3b4qGWGgBYWk0foZK8bMTcLZGgnekKwPr4I/1E3tj1bHDn8Ir8jah5IIHly2v9mQTIZ2rINY/vuqoMP8SD/3eet4UyAPOiTY6YAiucfm0Sa0mk5l+LXEUSKrje+v5RUnfBA3Z89HvYcFTyXHqIMsTmNbqQKVg4NazU5Tr6jLEVB+88s1ie8KY1Tt06y0cI7WX5o1hGh6orVrlQpA2uvjOliv9u1ONDbqS5X9fOv0TFxNDa5n6+a6C9min0sIPe81XmzaHSl8Onv0LmEJLkuva/qONOSJ5uTR0Pm3o/6dsmgnT9oa8wLBmRlMEN9hYbdWdO2VspSFfLlpoP0lfWpCuJYByR5OyYvMClZu63Gwy7PnCsPj9WuvAtZT6SAeadinF8qfGk3gQ5tdOvsOkgdQhydqvG8ML41m/cwJ35L7WTiWssXyVNj+RDjKvMes9SULj15Ym58GBrTyJPlix7Dlb7AJ8wJP/dWcm8jOBdUp/CPrSjTdtwaIxR2IW0bxoGRLWPQQaKPOrJhqlphOkcwnKGDGzXBlyFiPZP1wSEDSrp/ZKImtS6uYs/nUw/D1umn+KfMe4qvHvSjzil/Kf87aWBlnL+HUm0dmY+du24HbXlNnwLKqnDnqwN+uUoOBqI9aEPsVQdrfufZDIUY4RJ+ETpsu13Px/uxiGUbWQ81W6/hCKCYMw/uMxSn3IucibkH2lKx/3JolmK8gyu9FqRq7oWyflb9IzQbz6Xag3hhgqmAGwmf47nXj0LyEa8o6FhJXq8k2H/6+Lk7tt/yx0PeUQXA+5BIxWiWGyojvAmrTlAUzsJuyKyCkJD2AMgUr0aSA3EYUioRI7iWRC79/MMz/kfQhckAmGoIQ/iz/lxDH+GgdXxvWX8CUPEBkko7OVWVw8ytkUTgXhZSzzwuqjXijjdHzY7TbpELoTzSfROednNdBIDud3AvJT6URTUbRgmx4GDqPZR8X+9ZZ5NZDf8clerj03auvmOkPfYbrOjyByQkDkFHpFrsE47hHsxsqPGChTnWVQdrc8+u2UFTtVCTnBslzdUV6nLf5LDwO2RwXhWojYLPfuPP3CY9zg7PAXB8HgPXzFQq2oXeiOd8jLGLx5Ej8efCW+djBs7BMhBF8aayFF2eLxDMy8g8KAfnx0+1KMNvNXub+ybWwbO+3AO1BktIThRXcj4ppfVm/EPZZoEu+2sA6KqPx0AD0kANAolXBUIcbJB5w0NY0g2BshixU7E5v1NJshsZ6pysLd0c8rkh2NCjk8g87QCZMa9x7Z8+Q+c0EHhl4lAOAb1j2IkXkWMNm7MG2e5vlj/6o8Hfj8+L2o6j6KHQYIqq2C95TfYnWIFKjpquE95wdcsMoQI0NWhpLI31aUk5gcGdXWGet6KZ5pIabvj51T0PgY0M0Ym/IGrJ1Y9HOqHg2CeG6T9i0rYgo0BHVbDdBe3p6bTCRemGVMQPy9akxvBefKmdvQ3gRm347oG76s2EWAcqUol8ojHKN7gW+kQnPgzhj+q/09xVwEePJa8GUEqFUcfVbO2rWVq+pbM4TAcnQOOenuRBLp39diFcQp6rEXn7lwZqciYLdnopms14h8v7MF8/odnW3x217DEgXG72/tN4P/tEuQje/pDqO34d6iWq7rDr1Mw7SGDxuFfbA4EavasmJVVhaGMAzM7F+lFoqA/4clOIcv1gx/Jbew9/hiMinfvubQguOlx5qRoZw1CpOjgCegN9yUaFLKbcC7kvMhbNlbB7nMFFi8RFE7bBfXIh/p5aFzNiJNi8UJrTpa5o8UePtYCdr4khVYToUXyyapd+Wf8YWczxivk7T5++HyvCx69XgbgqgnOqWp/PocXY+JjqnPyYJjFAxf4TFfOS5rWtTMLZFUb0+TV56U7+V6wMv1mO2UHcoTVwAT8YlfD1pYvr4Lzhk1192MMa3/wcYgNS0ZYkAqcKl49zwPulV2/sEtukSdmPq4ztLsQBQg4mtOP4rweNpYvY+dA2Gb/bdVPFeYsoOQCJ75lKfae12/s8eHbJUMRdgehdo2B1ggB5NoJlZ9nWq0m77yb9qVnqM+GNa/hsMg9Q4Vuw0jv12JbQnAe0POKzxBQ7dH9juYjAPN9FwDQXAVrgZpRiUEz/AegUT6GFkmAbghEXgniJdese/0D/ajY9XuuzL8nlew63+zGstHYOnwyfm7gIVBqu7dqHGc/6/V2kYP2aPbkdBbmV5HK3KRqyRK39zfbGgfXkTptYGkEW8l4bOXZqbxajlYVkzojc8lPskxzGcfS1YUU0drDnGepnD2j0eyEXrl3sNl53R6qMUYCAvbB0MBXzfyMr0wUWHXzRcolJnUP5FSi6D7kZhoUOD0l9wlvtUil8TGFHM00JbsziwIbTnulE+G2I+pz/kukcl0eN7imrowaMehWrCe0LeMKh4xepLcOCeGvgWb2f03amVPpFRzvzDNJXWDJ41HmCRA0fkJWuEMriBKb/Hy47Yq1qAgbcngsjRv5r6C7ElqQJHzgpCqtd2TWUaM1aqI0CyHhEutjSRaAYv3a1Xozu4NrAnoVg9ti79dCR00/OE61yVO9/+TI8V2GBpJpaTR+1Lu2wux69ABqu7u5374pX2aHEA66QIQpgtVEYQ9Yhma/oc3sQv0M+tCfVCb7xDTCj/XiM+/KTZ/YFkaNLGZyfl3pH4g2cOv31teOO5hBljPceAXpj6j6G7PTgM/a/4uVvJ/IXWSXWsr/B7zKNwg1QdD9D4PsepxO85YtwJfxcBtayo2oqdCfsjeIOyksmxMm3hEY5SIfym5BAUxsofgvcECjlrXhmnCxLdcSv+U57nvn0z7eZO3DbK2sc3soSCJ0nV9GWRZOrF28B2zzuK7hZ3Ec52OIGUw5qNalZezn7aBiOwf7aia0xO6rp/jLoqVGzCs5mFhKirrSHkTKZBcDyh4xeRWNlmaj7vRrDPy5swr8ksvc7zLryzawiS6ZxPREnU8Fd/EY3NrnECOUR1tlpcPGngI1LeVPOX7nBCP1NvHDAVxlcIyxoMjO1NiKHiyLAjYNH/KymCwU5D9UMtXua0rJukoaiSaz0rbQxhUIjHGBAS3cb9xQQ/qaBswtEbGb4jg9fiIZ3kRdvK2YdAeMig1tg0+sormoULrFABg8Ev1FWBjq1z1MZYdrx5gBfv03tiGH/Cv5NBQImg/tsIRo5swR6sJuuXMiH/sBBTumZw7OCGTJl5Tl/WdwgEQyS+ngnZMsFLBZUcEllhMRdxAcxuLpqU33KKJGKkXGOyGy9o2al3z/mhbifxZh2gDdY0ps7F68kPIdW6JRDsxxkwv+NSHq0A9KV8IHTqe7BDFBsJsTtIwNpwKfc2h/r+I48Wt6VmMxPE0I0UddHnanFY1wLaKpova+zF4O0Q+Qppi8rA3OwRYCqIcDYfK4RMnwk3cE+gPRa8HuOtj976Kb60WEjQoLU2kmTm9PwYkdHtRjXhzMc4xlm/fAZzbNw8fVlhf9bL7ekECRP4sbKES2FYerv97/c87op7qMjcMtmswvhfaKhdeuBg/ShFD6y2Sd2WYHwkIze9jKIwKlhqqGPE3/e/0xqATsMvWVNFyBQU3Ioa+qdKbKJ4CgGD9XLPaJFxQcRD/IQLbA+UUfpz3zl1+vO0VV33hUAuCZXz2Z8dAoqFDHQkT6ZHryN0+hi2IVi/IlXzrnLtxc5En5kLY5bBYsceDcXThUr+NcRJ3CkcoFJpAVMXzdrulcwxhVxLCrmG1YsI3W9RVgacRUri5vTbSVPk//7SteBYXzz/ur8wzO5Nmuk0GOMUb7byNRSdqd9uV73VUln8B+A6a1ZE/HQdrI2lN+uwc2v6h6/ZTZtyMX+HasngQfDMXQLBQFOf3GyXmGWNr0oXNHyTotNQs+sb6nzmdAk+TtJbBqeEyoyfGPA4TLf5KDMficw46nni4EO0qoWu3jr2lZV684EqkDgNaW5AIsWsFUdsvTkeElzAEk0XVueLok0GHFa9G+vIWHqlBLI5QPwgjT6lHG4cpjzlzz3pRICHng7nZoggZUL1rtBReRslkVTb6wY+xRfdI9lmg/K1jvkC8FfbTO83OCVcfVuFlhkrVc6M8Y/AKJFmB0aFYJReOPU2Af7ZLKvoNzWm7mnAQZdKxz4CctKRd013XiS8DiCxTgOkF5balDRG+e4bvTPAGf46Rc6jZoHz16Wsn8ungwkEqdpwxHbct6sJDlAoVxOcZp1sGZsZ79SD4wqZbU6ABphPoP++KWzpbczUjKpOPTwVsA7CM9yIdRvqokaegdxID64IbmNd0ZyagGNJ9mLJT4QrPce1Wsp5ZYJsbuGNArxFK3JH7io0Ld3y/IHghgq+hDRSjRzLTTArCdb1cReorMx6N+HZbaeNX01+YfjvU4IV5VZ+tv2m6+9K1DlWvEncGyrCdsosooYHPO+G15SXOhPBXwjWkNaFEvLC7R5KK3lvifne1M54/r54hBksDyQxeEuaOHRKGGt+BLjXxj1E6fuKU8cr6a/9yGAKIgogbJhcKmu/b6tj8ZEDSbegrYgR9uwqGnCM5ckgQwJDEdOIXqpJi2sRqvkEstgietTotkkWASerd4MoWeLz19AzqOwaWDvQVd4+iGIlIzM7SZRxjoBToy5gQPctUQvyHiIqPW/bI+V5NBbrwRLwxs4UGNiv7DYFRb39DBnMzF0BZWxEMIGvwfuBNO7LeNnQMFvb89zg/vHxz4zPF6/BL4GZu5RZWjBrtIziQl9s+RqS6lIEUu1YDc7XbAiPL7JI0XBwbrAbxTVKjbuBXnjxp++MAnzuVmsOFluGKVpU5NiQAK2pGu78mdjWWA5Gmrn1G3PGg//B6j8Na4O8FYMiXmcFESjkz3qmAAdfhFcGwlKNEOiyr/2gjgc427AVsCjdzkyd8SwQubEMcfIGzw3eh2zzNGUL9O6adXE2zobrdXAitEgUtelBraFmHMfzwROKfjO09UcTplRX9d3hEVr3RFSI+MXf8DL5DzVQTfB3mXjESil9l4eCa1UGALiE+NoNoVIeMJCBGrfBn/M+CalUQMzr/EbdafC+tEl3eTF8qWxlug1UaoSzvgx59JcTQdGJHzdtyN25SS9k/gRuQJANE5eCS0vCL1L5f+SaN1g1b5upYwE+Gn5epwuoFESKDelgg/4++6jgO5pmjdyBLN6OD7UyrCpU4ERlh285Biqrt/DWRVHt4/00A7bUxeHUtLfOgkKZ5QpeNnmVxeZGqQchu/S5ZXls2U6R9zg4rgDvDHz9rcS670+xAy5ILuzBeqxUhi/F0+17gUEEGDijUM6LfUJkNpEnoIbSUI45GuKnTvB0/WrJYSs2j1U1+ySKvLYt+VzOBEMqnJJmqAVuMwPVkY/+nxJMTdZ/Spf/3UlD8x3pZVBwF/h5Ho+V98l5CY5cJJeWF8YD4bMQW1pEJjrIejef80Z7U0tPwhZlUBjxdnQ1Y8WSh0ADbqp+ZdgHM03djjnSd2tluK2cRTFN5eHfaOyHZN2WvF/A47MbbhCLz27GaUWR5X3UQYdFz/EJup3PwzyUqGyHnWy3mf+Ijo6Y5mRYswdoyHZbsZzJ1MkwV3AG19beMU5MVJDtKex1SaWms4TEjCUqDvT4vVGaWReqP3pt8C2vinWxyN8mlhkEUeuY7A7NED8zoGud5xlS1lywGu5gq1F97voUWIBhAvbQcMNIvdxbBlo7WoOjDF/vCZ5WdL6gefMU1lzjnxbo66EXAJKLU+tfu+NBvsFualMiygaauURazsPLfl8K7vxOirocUGUBqyzHeRg5H4k9rKcYpq4eKTxpEkgPZEjF3aB2+rcr1VkTImMSPgnExSaqmxRgBjk+0oQ20RiFXIPPKsX30ZaYpm6fQ2qdMZEIsWtlPx+DUR0+E42SrGCupIG2n8E7A/3ElFmc5YgUX8nTF0hASbRvXBYQp+f5ul5PmKpUtOTySbvBU1edK293LJS0CC1rBE/RFnJ2WqSIq4uNIyySqxOVX7HWLmz88L+LDYmqoRdz6IXNYH7putPN1R7VOUVij1kujwlCZ7aHhSbe0OgU2RvODjqwyEWG6La6f/4uDI3BPoZrHTd4g6JAayADYUg6G07wFcw2Q6ftmo85PIx6sguXd5JPb4PuSK0WX2T6GyP5B2DiHRG9nK6bkuGJE5O284uT90RvubzW8BuVqUmfOTCI9ty3ZA79+Iowa7vmJH9NFFhG8kDp1xjGdhXZN8JI8EahCWjDYRxpvjnkLD8OCvpR5pwBBYFjbwQHSAMd56BZcSi1um2lUjjoON6e62F54p+/9vfUTvzTCB6inHb4p0BBiYTHqxiJH4XI5Lz9liJJI6/TBRV6fmztlXAkIdNcyMO0TjREiLUdAGgzmKPtxASfvwonS6wscgM6hdMfDhVMhPopF2R4tbQQg11pOUaKKtSXqXUCYZj/b1HL83uzkTea80HATQEg9T8HDiLgPcj8N9lOHthterqQi70C9ErTZiixznMELfZbLqOehb8Z6WCeIUSMLovY0xtX7RqaMnX35Wop6kAwMpldMqQBK3R0IS1Xn/XX2FhyPCq4yvtAdgyC+YveVXFHT9SmWVLBYCscJQDRTjovWW+up2XvlkmgHTXp1lyX6pZI9zQ/POdB9hgFvOrStSRMiDcciQ+aNkU6SERJQcGB2PiY/4uXJLAsCsK+Fz+oOUyoJv21n3mW83at2Bbiwpv7m0/4zsdlgiF5V8zU47CHQkqiqbKSQqtRCjUjkIZJnnSdtFKoD8y2V0d0VXiDkqVy8mYpJwSsaj4KZ+4ivrRuCZWdenX7bNJJkoK9aop9Qh9oMFNS5dJbOSBgiZZ5IiRC77bJY2dUTdzB7Nhg4sraft4rfeFvA2KX8CNSdll/+3EhguY0CuhSZ/95PaOkcmhHiGfvp2w1ku/Qxc+mu9dXq5RoYIvUNoSugV/ib2v7TNKlgRow16Uyg8qF7QKIEBhjtwa9paSSOg+5ZpFqbari/DFYaFHPDKwcSkmqjTDXMYpzLWNSzT361BjhP/592NOu13OCtLHozb7ojwH2aSmTFdTw/CzjWVUsffHyog2lSdgw9zszhc1jM/pURzRuzW9QSw7lzfccKkxpHI0oE20yEIJLGgtZ5LAe/dduRX6jFjG3l9/MqR91cVPhD4mmy/RZBSJRojwWkso5zrolRab3Zh8Nr+9+j8wYFOl9ouHuLxMZi5S1VHyXBZPiFqDuqO0c6d2Zp4miP43q9/Px1FSJtBQl91ly3VxCYa4d6Kxta9IATY/sTyrGTqusIwynemx3HiRIsFQHG1JsxpDGex1RAB/81fb3BVe2VBA1J0ezdoA7ljhHJO43X8YU0M9hT5ofh5BpdUjIrVvLupIJEOvGSaSajavsKqqaKtlPjzkBAGcPlQp0EDGv8NPvvNgnKZ2y9lr7xDUI6xN2NBEE2j1mPDMF6OIcjKWbkomb2nZWmmAVvqrRdPn3lzQze/wjUPPALDof/N1+uHtWdmtQ7eM1hng7uyhH7wv5iWZ4BjNBJVY21FaCQ3bZbGSch6KHi/KepT9sWftlg0HsrRZqViULdx0gPTgumgIDyN6rQ2jw4ZZrC2jeacyUsNWDRsD97td1qI4RDKB3urIARcpAzOzs1T94nohVS8bFaq/IY1GjqVRZB56JWzC9W8dnladMWqIz1xU+bk6beQL+y3E9ySINI0xhDvI+BTfdKGWNwF/EWG4+EqF/aTM2EXUMQjIGjpOplC0O9o0K05LLGqxHGZdDJJIX8xO6X3cHe1lJ9CgpUKPHr2diZ6Up343fubJPFVszGjyMQFN2AxQR0MilWbwAGm5726hPaDGdiQ4cNtG2YKXBkOVYHZGYzlkjh0jrGDumAAmzbTVxiC1KvL7dn4Rmcs2ci2zu89ZNeYRGIReQQW6rpPCa1HkD+uzaYs0QzISg4aDsaqKnW7bEj4UyraWkJpkN4UlByrJD/W1ketpvfhodwEvCE5Z99FGvgsqU0BuShIOW1NIxbvKC4I6+Pp4dhITz+3ZPoYRoRryNR0Lou4guyXjm2+JxVOu9vwm1ZLMzD5QnPhpkY+BquPiRYbnac/t9LpmXbArcYgGKao+jvd/Zsp/L3ww6B+P0GCzJzOAaQT7WQq3Nlr+knKcpSMB12x0+7pjMGuciV/mSwaHxX8wC5rO+GI9gZCoIXBjtFp9J9nBodbCct/sct/68P7yg6kB//h3+b6YFt6/r4h/MwD68zDkX64jp25w/dSBRwOY0oZtlxqDMPNTJr7BrZ03tG09fgbgAbfsvgVF3Jbpt1Ueznwd9tRnVVDWAX7zrT+OQnbPDyqtOfepBec5iP7g16WTn91hswLferxPHzIOzptnDBJmnZkK6ToFy/3dwf3ATkfcoqT0gXhZ2lEk3cqyVKNlQ7cKrEOpHofbt0PBecEH1EFfFu19lbPlwTyjyt0Lj/WuB8+8uB2xB2tEOBt0bEzFbHxUGTP/xB77JjXvb5MpR3GbQP91AnOH7eGldvgdcmTV1XWlEcSQiOcbfNKPsuA4uN6H3VfxvIEU67kTvFmigk1b/HV4zBZPP9xYm/YwMDxmwEtVvP0UwofY7ggtfA8hfimEmGjrqp+xUBpC7CGSS0hbiSyi8wpyqQ2Fnr8Px+jIo8Z/u2B0jWjQHNB2jtdNFH1S+cYIkaAI/Q4fK9PkZdn683k1S6WggYiaJ3579y5+z5lXlVL45In8+svMw0MjX4mIZrqltfRMRvZRDX8LBwD8/FQt/1bHXnRP3EgbhF5T1D3ViHLOfmrA3+NzyeZoTBn4yO0fZ2UJGtxntcoaSNJOya2s62oqeLjtU3REXYe3Ko3lBrKNLcb9yTcGtNtaNAy0v7cmdL5xc/a6r+Ej+J2rC6HHHMXe8Lr9uwmrpJVgCOhdeTe9+FZ1Ofh2SDEQK249nsL0gaMtdDVhXx+RMDPnDTIVnlMoBfx+Rpa+9YntS+rzrtVsHH7/ovQGFgS6mBwLfDaihJJglTnYuJl9GfAXSLf4P2Fd920g+Uutd/siupVxol0ocPUyta2EVHuK0hxKfZ63iAl3qPxbe9I0K0HIPC65PzkrY5Zqre3pmeTQoqIHrDb1BP4iQtuDoXPdlm5Ty58+SXB7lB21Qw9UBI8UEWkk4KCaKSt3xlp6k5SoNvMu6hM3W63IuBlgNr0zPTMywVfzKFm+EGKiCW4J6T6mVla1uM6fWzZQv14Xary5plCg6WSOJ/JkT5seAJGWBQN6NpmnuTO5UhpSoXxsGuXUo3ykkreGC7Cn0+bsxWaxlMqFw4ateOTUXRnbN4S1aMoaLWp+C/oadFJZVRVRKBU9imzBlNRwqrr1NFzGpSbIrk55sZN37nUX0syR/A29t0UifG9tMdm4UsYusdPMuH3Rdh04yfglDLMSCyIhxJcu/d2DfNm3JohE2YANZPSKyqAeugcA9POWiImvBJI+R/p7Pmz6Frdaymm441h3yBIpR/G4f8OtqCr+7I0DkHmRe3uuYs17ZWgytK6lC3IzQqvfy6/TKztiU5+RGA6tHp5oHsv2a3GE+bV1gFBKA8um2TXaJXlu7JxO6mqZZ57KzS1MvNhHQuGiYf/JN0nF/TgKgCAKU45E5QPdpotnmf1K5RIkx0AhG0AThG50m3kYb1hDvLvY3PyLhw6awUuRpn6OBSNX5PDLJ2zD8b2Twm1r938RTYgm81DzBfBI0semAf117l5KA1n8ipMDcaGNwmMR64NWwgPy2VOcAS7yiSoOjAmCEsJdlcVQvKYLPv6Z5ygXMADEEIh9MhYZz+0tsIgZaH+LjSsOa/QKwXdqHoav/BjDvlZ+BZO5F6HwMZbpl9dj1Gnat1AXLw8EY+yEzPe3GY5cypbYo8ZL8nx8K5olzgaJ5mVIONElwHKFmgJQC4DsmLScSrHyL31B6ixprETHMLfjZd4314Hd45LnlZRPWx48s8UZZWwbNVk2tF5H5M63bm16crDRyJUyIwqa2VPS4PIostSg8uyTm2thiVidfsMRWNJHhsvSc+ebPRRZEVk3S7dmu7V3oi6d7yB2nivzjSit3vjHVLkFm8ZZude73cygO3uFC0226gcjPwxME6kznl/FPbF/Zk0ybipNzCJMN3JGwZhcsp0cxe1ZnDZKzZJ2gtxs7FzKv7NWXLzuOkk4YxCQMJenEoGMV1itrPLKbEOQbXo+VefhnIymXi0jMcDrrvrkHdEKWsG8D32SM0eWR5tvJsuZt7DQpWq2Jotj0DPWIV3dx4sk8eK6FWJsq5dmkWbHolhI6iVJR237d6EYDBxPINMB1DhNe8AeBkqaZGpmup6zYdwnCmJGHFj/NEz3wtd4q8mwUQgYhyuCxjZDoUdkIxalKRY0aW0YGJ+kLfBh2qTMxFtG83ivm41A3ktabMyZuihWaozRBs7ggT/iImqa9kbbyNI2lb73WBnmU+A9m5sQP4vnAwF8j7Do+A3lgTFlBeThxxdb7+bjEMiHvUhsWEdW9CA3/aVx2sjPo9GXE3VONskk9EyWO3yZdoS5AtG8P3y0b9iWreAdWUh1t/Cb8iZ19BB5D56ZLAugTz5mJACvqb6P6EhhamcDtPKOuDi/OMlZM8OpoiT0P5c6p0gSUQcdLTTX4p5WqURwwzyfqLUzW9snOn9/29Us9KQhQCWiB1wE1yn/FXPNuiMeWdx5bbsNZDkj1X15o9WCpJr5jp+m4qKD9vW86PbZc8M2cFsVhQhol59sGyVEVd2yEJCfIZ48/kqwr7x38YkQyQ9x8qUL5LhWlZTNrsA8BrpSgVMe0sHz/h7jPp6jIzWpJfvELmQSpb4strM2136+A1Iy+37fPO4dzEJCeD1rolSQds+XoobldLJEOvffijW777FNqeaEtlRnzmr5Q2n0Br84pJ8zfSFDzGKkH/oyxEnqIacs8WAcK8aR3s9bx9y/11wdL/mFvvMZRdaiNBfqtmavsNFr+eZUDjyc3WFlrfVBLpN1xKfcIktHuyddhqGwMKxGhzhnNL5VDJso2EWuEvV4cuqZ7wVd86qdfqrcIK0TTMNtmSOYLP8x4VR/BpPvDRREccLLfiIp0DQ5FjakMBwobmR7V3lsIViXQKKNR8VmSTffyYdujQxD1tSf9G/UgL5AcjKefYVq7/4m/DOU2EF6xPsvY/gTbT59XV1tcVurAnL5h2lvAt0F1MIiph4NAC9attrURwY5W7JeliXj1K6shBV59t4aW8kKcRemOTg68mlBRWey7J/Px1iry60lUIDYWkrosjRLuxjLqArw6z2Fds//5tiVGs+dZVuIyr2lfhMXPlPip4BmdIcVSm7nq4UCYEopeCOgVUOX1dpxB8w+XfGAH5k6dbX8tMmF7EWX4uKosSLEnlOrlKplEQmxGKSexs8KzpnNQZyFzNIsOEBSPJa6cdgCyIMc+puNpuuVocMxka0r+voEQkUvPKoEni/fO/ppfgUQsU3tMLc5tCj7gTndhEwjrFtyHBynK8fJ+VWeDUJ21zBLWeRLC8TGy4xd6ffcoLi9MFtSTqJAp2BJwVpdVJ0PfMWjHizRqgScsyQ2/lA2SV4Bf/mXAOZ14nM+VecSAZ98LJah8JFfI0+m0Np7gY/t8JQPIaTQX8yaU1r4Fq+NcHctncOJn6PlKGX6Jf/AeRVW2ZqmYnXltk9ABicdMJ0jvUU5890ULFZq3PW6RyPjINMb1eVsW15FOGAorL3WrQkITywuCri7HHh5l6QsY66afRnFr+6vY5Nhf8ccs6rm/53wSvzulAL+Yz7gc2BQWnp4K9T05xW2ZMClFSt6mqeRwOSMnPvRUFeNegkUzD7NjN1jHeu6XlR6zreDLxtTe4QkbZFgP4Wr40uhhh7oNGu5I8ODa2z9YJf3nZgwL+GnYUMAPIYc7FjvATEfTM+VT1aXqE8I8AI0VNFngyAgCTsmZP2B9sX3lkcKDcwPPh+WZ9zYXz3fLxfrDr7Tm2E6jYzbaViR8qxanwBxS0icY4ipfXJCqLtdjKKvyIKHeXySI8GYwJjp1VVjBwSvRM6dFDHLmrV0wYmV9loLDVFR6NFKiQJVhX4uQ8HUHKiLqEFHAnG/BKp4xM99gg/vRHhIWPA8U8S7IGSi4vSlD4LnMOaznxW7+8A6bb9UF8juoCZjdFkoZjGts2dFZezX/CPB8hOmMdWMQhN4KjUHQrDHiOVTT4NIVwIW1ZCng3ExNMhIThudLS1KVGko/TBrlgjX26eRnRRf2uA8zBkodHtE7YruSTusuw6V6WHULvfea7fTRmyLmWb6NhkuwZnr8/KAxl4ICbfyCqOZvCgj4xcfrq2GqZ2u9JqM+6KMrVkKox3i92X3XNyKcDVZQ1Aux5jxUPu6IiahzJ8pP/ij3p9wZsngcCSfuWey1sruQ6MFYmM5tTjpJ24Bredahlz98jZ2c6dhvfjU4ubaP7wDk4jTHAsq6lGF174Tvt2P+phd/h2NO/bQedGhbzZICVZ1HH63x08NpFyUm6q+D8fM+YijVSMtWIxRa+IQsRUw6IAIGTAN8OOFTQzYGmBkOfPA4rUatfOTpri6obX35lt/UTjNbSqpept/7Jf03+earmxq+kZSQI7vg7M4f4WWjjQQLxCdzaw2Ug15aS1zQz9dabak1ZrPCxt7w5w+3rAIM4DnpS29WuEh/eetvorHoZqMHAGSI9L+6skwIb3xaYdxx23qXW8dW43CP61VRoL0M0wnycwkyAjwZ0bdnO9QxDlNRYLbnfmn9ojHuHLRPE6UncMiV7z0lMPyvZdRQKiDfvzzEiV5i3MhnVPHXTWop0w3LYSRoRJhCKacZ9+AZTD09X3FjPIeSPWRWc5LLbJ5P4fpf/fI29AsoktnIIvBGxXOlnW+Om9RULeAE8dH2lrkCkVQNYsqOyDdS06W3/VwPCW3Tnb7l3zEPJ0UZVCQqpPPlr6EfGXRA5fuNTj5QhKP0Yt+RjeMOiVWX/Hr9ssTutfun8TRa79qW/ose16laT/EhSSe73kAahbIZeqwFfdOSyd4kdewn1gOAW/loC73lq0BRHpG2Ui0TgWbhP43zc4Vjv1sjaIpYBFxx/OF4GxZXnTcFf+uEO/ybxkhIApjAvIt2+sV2e+hSG9mE08rk7oOt1DRBpaJn1yokOURwdY5e9ziIBkICn/a3HB9/++epuKNQLQx9+P7gWO+EDJcAppns2Xdxgcb+Rcc2dcPMZkbP/4zw3H9aroAq8eqfSPlTtVnHqN7Khywd6RYqIdSM3zs2MUyo1/N8K0ipzbMSuO8a0knDWGoKVMjM8wAJQ2Ns+fJLyH4NM+sc76/LZeKBEwCCPIiUVE5vx5bLciysNEBauwhlHot+mXWYU2eXVKiZcILPd3TEaZhUYO9ioFfm76/NLSf5DTeouWC/zTYzuZz6DhsDlgRk673Lptyrvc1fI+J1D4hzKjm51lGeBjxThWq+ltCZrvDKcE7VMOWPlDsj5dMOWNFCjzZpNkRypcPNM1WLMQ+cxvlRF2G2V8nmrbDtAtORKIl74woKNcpvxqlENx+VQIFFIMd8d8S/4uhWjLAC/QAvrWe250or/S2QDsvSxdi5JJ5BG7/M0V6P1swE/Dm6XLLm+92R2ZvhvExqEV0dDnrTd1ROkZoQM4OldJdTQuPYyFC+p3us2pd4mS6bi89Ms+FpQAfnonY8W+oX81RsVUTtOkDr6TK1lIf2lAWQ5rKI3wAODxtrnrvBZwaH24q2i+2WdZyR928nBtf2GwSHKZZAVCqsb79azWWtS/J6ODYWb6dBA2SHri+fBadgIgM44O0Q1UzH7knzRHigrzSlbEcw5l+FMcS9nPiBNgqZBNPOESCE6/eBKZcYPjwkjnO70OmEjwVzQJYFPUrUh3xmPWwRvHg3rQNojvDV2psi5GAk13OPHroSxJ66OBuS5pub/YnYkCU2S/fkeLK6f7yCLJNSWVR0Sg1P2JASCr/Uonc8LlyW9bNLd47RdC9ttUxtY82Sv5hL2bSf2RiYIqKMxjEskPN5VssoL99sZRffTi6LAwvCFzYkP6Lxw9guGBmMP8rtpY0XeebKyU79D+elQ2QSBNciAdHRdbtXFq5ixRacNG6os/DNF0w9oomh4Sg1pdpvdO+MnxFq3yUfPLpghkAPqHMJwll5SfES5sma5UqHoZWcctEWVsDr322JLgEOTPyJeDZQNcjB2kbOoLvFG2X83+/ubTU/UsRSoMw0j+imXKrI2T6YoGo2gM4KsI3YFCEmVYTJ5Ol7ABVIcHf5sjad7t8SukiNp80NOYALcuM8Tu6khDezZH6iALza/246xAIhxtw93KDQ5xaIJgymcxRFUavMjqOgBV1/Nex/LKvLznAZRkFEv/fZHutl90Jirmi4ytfgJ/oA+P0Wmb5D7ZQ+jaOkV/BXlGGb/t2lj+w63KrKxLGQ5WKigRmNqBQuW0wcwzyXlWAbQkEsX/OUc9EjrvW2HMztnkszk4h6wtgoB1SEZTBkFgUwwrAfS95rbq++uVoU8C/kEh8Wi8uM06JA0BtThlufRhb1Gt1xyYVJH9nyfmQLMm2o024DCwd0dYKvBX6P4InocBVcub0Wk5dXt/MoXVha+EOnpRrWRDT6x9p9ld8vFM63GwrDrGAjvYlmIhnjriAMslXWAizCuKHYSe7dYIzka4SYlwCy6LAWMtSL3ZoO68XdEpK1eMRrp/E7cmUxgG/I5qLb68lyRd19ymVYce2SEtAnz539Bf1Dco7z7B6IZehPA08zYnjiSuEDViQ8Sus8ftesxCXDulvneDuDLnpQglTDAFINWts8xZyDeXg6WWA+L5nvx4Hl+c0QKFJjBkInOChwFvDPhbzymhn88ZGKT6or4SZKF8Q6wa6REntjrHPwAj7VqiA94V9G8OY+gyR3YfDKLlEmVjKY2BMjLB1E2Bu/WO/GOxEMQwDk4kgk2buusHWjRO2WAqJI6gxPtUzGlAQr++hO8RRZZwQ+Njhbz5/Wc4kyaD34urrwslwmj7dTNP5a1yLYDdkHmzJQ4Somocz0WVPgJeDvmetPl8DldscJgSbmh7suaPzze3b5ETuqdPCZvJqz37k27MVwTqD4m8IgWRkJ7dL/n9CoV8qbOl7a0GrhkZfF7xT8ySoUc2emP75xUQo1f3Rgizo5JhuSlzrXMDokzyIG4jlvKrNbH0L75IWRQAhfo2AZiVbw+hWa/MzqJWsABmASd3hpEP3jSbuCwUzVh/CMEqfvHYK055gyqDOiEGz4rqvQoM2jx3FBoK8YyzfK2yKWktbfTi52VFPS/ITyGqhzhE67lwQTWXn6tdgP0rhg92PNyWyHytLITzvvh4rb95LEcX64OS3//AfII7hAVlfgq70PNNnzPs72g6XHB9n8lrGwlW3E0GfO5X+iBfWa0Zh0/KUDM8Cq9wKyG0m/URPw62JTkJOKkWKAoll9CZGwihRhxDjJVV6DbtyhK/QG+rUu/envb5THzn/w1IhOmsCLpsFioKm5cNBSzROGmRk9WXtJpDlDjLIyq1FhqqOocSbeQLMJYioOsOXThNX20wuKk3QBsd72qJFO1ZA7SJhbjA2h5uwsExmru4Jul1HZWTSJFAKFrwfGYnqG5s7RXITEl+xGPH7icJcf44h+T5/Rl0g/ahTTkbQwAu1NI9f+qQftSZQpK9+nSWiLYXisFWQ9SewivVS1CvsrWInwAeP8kbF4aNFsRL7vGD3bF1JY8YOIpG2c174grpVZ5JVCfKwABPGPuqS9/Q7J4DSlr/2s6YqFMfJoXfAGDaOAU4ixui7dXCO2URuBbuaXfQY6e0rE67UeKNz/xKicca74TS1Bn3nrHBj1DpYEaSZW5LDxc3mzc4jeH8IE6kQ/C9ZyLtcO+ou9RpvDWkrFCpeQN4Dnkp1mgxSNlS/0TPWo2xKMekf6/YbCMEuUjNPxB0VoxXrQ8nGUGzhBx2DuLHGLSGCOHR8QPXkdR1UEuR49/Mzp3/Ha8yId/sg2YpT0PXBYu3YhY0LsaQT/AGpqvlyLkloSfZITJ2xkIvlhiyewqBIrUXyPD3UND2LoQyskKQUs5PKzumozZKDeAtASBu5RslWaDglNOoxZflUTFuiSDr1L8jD7OboJhgMpQ65wbek8zMMK0bMNG2zzm9lERd+ACn80bWd/WJ/YxHA/ApiUJznJvBgUwYzBCSdoRt5eHojpHIeSbeQBoWtrSxCyYJZRnIQ3Owd+40PQmZTOlBPiote0SnIOQjyJuxTUcUhNFRHNs3NBgGHrt1U8WjLedmdRo9EzVBYaCuCqLnIuwIr059TrWVGXJyPkviZa3VvKvA7s77bkBZwPcw+9hI6nUs8mO5M9JQQGh1B5mGXf9vxgq62tSis1g5R2KNB+Xk1+f3GjOTUbh2JeovLoWvOvmQhyb0L9fWkdNYP/LnpZ2x5pHpItUO+K31pZlMIOAmyOX6L0bYQEmqSUZhxWTiGn67ZglLdTeSunP2bCuXhiqp7NvP5hVNlrNMD+uPAzRZuDSO5wQ6GcGpuz/7wGMyecYvt7bEkWOnW9osQI7UYLdszAqhIj7WgvwdceVHaQtObWq7wij0iNGgAPzLuUMG8K29nxN8Xja0ydJ9n+5sqwea97EVpDt9uLS/nRdAjVeiFn/aQcMtA4kKzSQdAWf6kksYE03JOIj83LZaRg9vJsL/5t7PpoZWyEGySvQ5rte8B4ycoTP1MY7Pv7/ZZQrafBNwk4P8bxy33Aby1pjjDtzE6bVpFq558SFKD4UieALmEcjZCpXyCCKB/rbBUfZLT4P+U9b22fKexBCe61pV9bneAGUn/tL0AKyaIFlSv5nxmIEj0Fvg9dEmxBmLuxJ4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qE4+dkl4wQfaKhVGXQ4wkQjGZ/xta7m3ltcuh7MXcW6UUzr7PWDqYilW+uaB2ctcN6p0flIHsYAqXlnQrEKYDY4LJsj7tjj99GIk/Ks5dj1i8z9ZdqK7LU+ZIUzphvXnx/nTTm4AsYmQXiKJAHwRn7ZM/VuurtC6Fy0EDC831Y+5vH4ma4BI3ueHT+s4OmSHcqyb05l+Plu4rrz8KycXliz8aDmIsT+IBYUURpRBnJJaKWjcKqU24QxhLIP7QO3Dz7It41Y51poU5emZ/WLgamnooFqVMu6L1rEQ9lEjMt92AW8GRXwbxMd/6jGPZCFbtCCgQQDnABnwjZ8MINsDqcKX76v57j1hdNaNqOHtmtT9aR9IbmLPdDFNzPiWoaPQRLVbefdFMqjhoGK+HR71s/aFAhqKpZhGHpVkO9u6a3hOrHG7rS0PzJyoX4WTtUvr3zjzefXZTG9Y0Nvx0BqLlDeve4XMHS4TN1sM5d9y5ttfv2wTYnD/RkYqnGyMgMsBFGbGmGKhJsE2UYQmRWU0DnKmWK8iNa92hApz7xVe2BBOndEa0eV61l3q6dMsr5JP3ugCF6RKWpnuS4hftXGq1rf8MuPNrf+eVJbDrc+oJpRWpr6lEk071y1vu3az1fI7qyILPRG1Q7pDkTYl+K2fZqlaXzcuMb3ufseDxUzyCLhbFpc0rhRYdWF2lqWSwqaGjgpRLAOOJT0Xa8QfCEteKgxfWaak6US4Mu/jKN0Q60am472BEzJxG+f0rsGUo8oBe2VEsqajsJ+0LwDZ8SkxVezS6y5Ta3XbGNrvC9ZvKAksRZMMOd/uQLS7jCqpQS04uSBd4FQZSxrMUZ1UCcdYtecMkW9fSlkkCxbm2Yu8IaoFhMpJrcdk/1YXFhmaiN7CSTuPVuP02Xuauh74JdeBCSvOq1OTDkYDYtQQ0XLfI2h9EQfW3GUuuJCqtrf/8zSVp3Kw2lseftRsc7pvb0yePtYX4Hg/hq19Er1LrnzeBrSZskIoaLodiVAumRDhTXgzW8XJD84u0TxefsebIjd64bvAXnaga3QISF8bxadcEcLbVqQYI/WLcaWDczV4C5b3m5/jzhRnUF8Xg2L0m5DjRJJTsoHwELB41y6/kv6NV1vlW7kGebvQwyVrroQVVq7I16oIyZWHHwvRwXEuOj/6xrX/ozRqP7yhSFawE7uTuVqJGV2CSR7lU9EDn/yca3cbo1S/s5XzzpjT6DI2mhmL92hO8ieF+U5nA80ek1mYssTEq0papobvZWyz7urP2fnqhpHSGs7iHauBViqKLEL/8j+gvOAH9RqBzZcDiyfZ4m79Ja7UeR18QuXL10j4dsvLNP0nq5tY2JzwZh/wy0ZMxLtIb74R1NzskGUnDGvgXK1tu2pdBE1fsk/KTE6yJoiyBFKTQC1qVW9hpuAk5eeGx8z961R20LygMGca661m+AxiUxvooUmpeFDU8Mt/TBZWuCf7K2zDFJVG3CZay+83IJly9MYyi2TTOPmCYLuaf7lNzaU929Bad9keDWfNSk+AOEHtZJ6hBACeLH/4Ufalf77toW7Z39IjZJLsctdRk9prnEmd5zIoyzhJRC70TVUMKgstVQYxqANqIZIswrRA6zoISY7foh5TvjrWBjtaPEhhAmR+I7e7k1ZpeUJXV8QMpdjuJEncZQ7ECqYeAqsKX5XeI5t+2uAaFhZPqo5jGVojLVoPR1jLuHjDzJAR+nBHQ6oeQpuMYsd+Jtlr2I3z9PPDOrrzSoaQG583+q+tSuTDK3kxL1kOSECL0E/HBmy20xBxlg5sPSeEyi+j5F1nnitbu59gh1PqO5HJPps5Vdy25eGQ1hfnvvup379l2MYY9Rq/0+qWEcOJim7c5A/S5d+1HUtp0kAWvq3RLL8ZKMJejh8nQE87yleBP/6xiyk/Vsw3swCwPptv/a8q0P1JfHw4sGNrLNoGMjZxwwUgNbuEMUTx3UUrBwWqBVQ9B67/0+IWKSIqHQF3IFaSGjmbKllnO2dZ9wr0sgBKtH8FdpmnE+htbPFXa9AEo5ExcrFiHIHPBl1qjeWNJdFyHSrov1YnyHiAwCLwd1KsGcgZRuE8TNirw4o7UU1mgmyEoflIMI8YCiGgRg3jS6mxEal28GBFyVzueCRRKEKR19CUxxtXirzECPrCcVGvN+BbredboJE7otsXxx/7i6fI3/5XdJO5YixxXS9sOdlfahU5LaYuJ1CKDkD4VDflyg64xGyMWtwenis7Cs0v5doO2GbzmeC4cFr/JqdUzBeSYVCjh8/J/4RKR7yCkczLfEN8os7nxAhOGN9ArAGvABa0IydyX0wewWHMs+Z1kEBP2idvZrkArB6Ni1fYqwpj1YP13SFMV/waG9c+hPxU/d5CshJBdoJ/v1Iwq5QSmrdP7QK8LXM3hqHtXd14Tv0T0e1jWQrUTcXkynRSnFiFbqD5jZjln/fSdwHfMjOrTMPRwoRQ5pPDuqQYJyJx3mcZbxOyAvKLOkVyeS7LXwJjqRVfeqdVYb6tklK/P1LB1ByOh/yKIbvPzwP10X5PmmAUpYJn5za7DD6bEBx9iD32BC8cA9T1hYwlJhk7ZGBTj8wlS3Q/QtEu4BZ8fgVlWBhesSzY3zYKYwXCwDaYgwHHVqK2qASvFo21sClc9eDcUMlXWpLAykG9U6xrKf8czQle0o3egQZkbjHkffzpOoNuyi+e9a8s51Z5q/NpJnATbPlAaZGOZAE76WtU3PY+k/4Ozbfk8bnYqI3XSYSb6pfNhZIHZcbCePE+7nP4UKy66aZU82xBmpD1YPxGjlWOgVEG7SfUZCS1zo6l79X0TDoRx/l1QxqGLkb/YV9d5eBxJjpm3bjxPA1mKM6NJ3EHlVAGAKynnb2QyKKA4h/U7tXze1baucTVK15sSQA01z4Qjv06FndKwtcDPs/gFIhXSsKFxRQmvpTyIIHcBn+qKpPUjMt3s5sn+X8LiGe0c43vc8qxDYrGJj9F9jfJf0gPz+BOSkYte8HQWSlB5kmSwMbgFaGxbT8hD7QjROmgl1ji38UmqRYlGtp8JtgIgxMTrf5RlHZY2NVcXggEZuAkGlvnlIsdmjpiL6ixF+spJjq7Ra2bAN5eocFYxDUuvPcDl/SBMIXk25CF8YIY+a23OWAlHv3CgnDtn1Esf4TwvrQDHxyrKDNiiLSHQhBAZLpJuO95Vtx2OkcaYS6EjMb/saPF5E3x2z4w0R5QH0jrJ3LHq3XdVrKeRaP23nYO9UzmRjOrPubD0UkkJJ48FbKPE84C4SZ90sjPCZ+wX/2VeZGkF00SB0LmmSztx6JFd98JsI1Nynk+BM2vzsjAssoV7C/zM23YPyanPGwIWd945XcLTtiynAhjq5Mg0gdRRurZG6e8HcnS0WGGneMeBMAjjxZ99IXDwC6URteawJJ8/m9QlKblfiW0IYZhNWKHYGbPGqV5TO9ZhiwLwRSqyvP/hMna8nNPQVD8MrZhypycLEzbX80en4e2OuLLUPqEuQz08zkFreRuqOXElgPyUfr8C8Enn+9Pb4lWGWMr1ElrYWwWwawKd/Hnn/CzBt64VtxL5ycH9QczZHCUHtgRmrNv0Hn0k4JdltgGod+Ow5aqjj8+BCUY8UdIH1JyhRNMczyNGMcnsUlXz8GiRhGeun560vZF36vJ5Au1jpmYpgozj49ozvOFKeyFzwCaT87+dB7sGD3AJj868LhlRk3WPYuyGdkuUX2AmjCjgHhRRIOZBSeFVg4V7GUu6Bzi43biknHkdIAnr5k25SU4TwbJJWF4eQ8CgIGIrhly1HoQPaS0TjIHGQ8ge5ONjqiQC5xs/ueesjW6bB8ZN9XI+kf6nVjY8CH2lCGtIsPRjN9WJNPPqWuQEZuhrhEk39lxtCvr6qY+7R56c1Af7jM1R71jr11K0HhjaenuxK+MEmbZ9ZZfnL8iMvTSUsqplnQSJ/mydbOZre/8o3tFsRdBMjcuQiEHcsIi7eU6uo48tvJw/sZyytlAYxkieLAePk/6zGK40MyB73jCvtyFgd6rpcMDxieuweWuKEyhd1NHN69S2Xt1vtuHvqaqcU1Nf6q6bd02QJMzJlO4P3ICcsNTwPDJfB66Dz2Ra3yYwmTKfZsUU5kajbQM4Ckd5hVCtYCpzDtpTQ+ZkXwey1/ZcCwyXFhMZvHlQaBXoid8rLHLBy03RswGEpBq+aWM7LW3wTowH6iI3E+R6Dx4hT3mo6HKlou25sorVasGiJunIjBYbFroBnak1E1sfAXmpBLdW98F2chbsh+9GLVL0YurEJWC/YyWWYYUOWAs2Fsf5Guks2J2yB6HORuYPYiTAMo7gVkAxuHEUjznycH6pIEq8yrlyAAZKPHGIoKLdNvVWcH9eLCygXcsl7uXIKnNaP7YhulSEkW0VsMm2vhe1bx4Gg1j8SWh7LVKeoSXXWkM+kMd94Fz420lZrfpUq7PiqwRKgmAH6cKnhe5bD6tmZTY/18G/3qr/DKBSVR/zUmE+6ZWaL0Emr6LgTSkKeL7GO0g3Or5wvW+UOJ5ZW+nHCO4E8/q0jXwRkaJdeE07O2Uq7XqFzegMd13nlOMOePnmB5Rox0P2zdYeKmoe9cAlljak382FC8QYTs46wFij4fHb6tnDijzieKxLu/Jp797KJQNp0HD4i81ECyC/eI2L5hiWZjMCda/qAGZO8rQR2MYOg303quS+LAQH0a1IXXGper6nX0tTAtJNAbpp8u12Hyxl5bflk0e/ozUKd4+dOr7IWiWq+b72NLGvzLU63m9fqqTZMV5/eYy44HjoFzqw09e+il61PP5z4KwW2R5tcT2GgdA/8UH+S6vXE96b2OabF8nCfIfWhmsYpfv/5ysZ2hGanwmMyA96IK006OmaeaLrQ8xoM4VjVSk22c83lQKSZECIHIwcXCCQbRGW4y/m28QWsf4z3fBf5ujcpgUEO3szVWTTIbi9Wr6yvRaOYH9V08qGAX0iyWVUO0kl7BclDqU2Sr4SpKv7YWEHFBH71mC1ojOszk8VcAMN3HAdlDQ07L+DNWA8pgIRnieaQdgXInZyOHSK23XC8OQBE0ykZizTzFoaj+oeWvryZ7H3fPDLRDQppMX2jfxYeM+KyWpPzHyZ2x2XcbbBOSc8KAEuB2T6hDbWgeGtplMcX5Zy9SPz4RYjtSGBGfZaDRDzg+5kSwNOGkdnlJxlQArQnQ4H9NHZpUD/mR1PVuR9K2ExiIeq7Kep0YFaK5qpYeSdrHh1Mh2ge1UyDhwu/oQm1KH5bGNUzrJkiFUFo5qGc9Bk/C5642S+3wPCS85GqEBnjfJy+NL7ofnXIqK2AqcRFeZRLhdQWecNOSCN402FEm2IwVDGnJW4MU5zOIvitBYnAHT/Nq+gTVyowarSztqQCXtxTz9gUTZfORkZgM/Wdam8lnE4rXTpuu8XbPREqwdTA3xOR1zpCvASF/eA7ppzFGRY1qB5g2yzZMrlXcjrh2LNkzUMGbl55+UiRcCjWIyFlNYAdwWF3P11cj5cocNv2STvbkQv93M9S1rnWJpSiZC/94hXL53HBBJKw+FHekz3+EYXZJawXsCR8kiIANpnAjxGrCUmxsoNh7TSr60Bo3uTkD4zokzyTb1wlG3WYGzSGQmw3eRp7gt4rwsZjp2nYdkESpg657Hp3FJKf9hWXlkfKrzpN417POXRB3AdxcwLBVcczNZuBGWUT7QiEjClgUTaPpvyRvImg4al9C2MWj+SdFKtqGDOD6ZQWrkMkDcE5+3a6EgvpvqMso+IuLbCL0Mw7ALo0n8tdvZr+IrTnHkYLfpeN6a0v3ZRBVf6Km3cA6T1ynphkf+XSbdFWnqKauLBwxaQ9jiOxQu0wHvTkQyDZR+Tml2Iz2NEei5Cu6lzoohTCJ6HdFYCa5KY9rnu0I0phsA30fzB/yU1hFr5ZJk9K1bADg5uZ1m3VXY5VMMDxKgrV3f7kOe2jlmfKUqHsfx88UB8aR+iKcwR1wfemvegADC9A1MmmrgSNi0DHOcPkalmMr4IsCXYe+hxabLP4Xh2m0IYekro5PQ8ljv5P9C9GQ3dAVkAWhu2ExpBAyBFOgvOdkFTnc0dV3dJ0xY12X2ra/zQ2NCmA5hcFhxjUavxtmTvJsN2EhW+PRbL3F16FytS2Ck0ZnWyT4tNKLjknm7J+Pm8jTen1iIqoKd01LwBxEvsATitVQc/6GUju4QJoOVKpNDZ+I+Z/EDj25M6AsbRDQLVzqFNptfmAzlf0SZBeNz3qxOFPlOkEt71td7H5Zew++nb1q6BXDLnPHpPS5BJaxgxMaGLk7pO/rOLvO6UcRU9u8+8dAx0CfaSHxihe1HuBBSTd77L2W9OedHwdvoac4RpVeiWFOwrXV86E+OVranlSXqKKbyNj7m/v+qUeSdYZp39lf6v0A5p9oOkR51KW8eHauOzimWw1+tTtTffpzX1Be1rrngIG2kCoq6AbeOCdmXdIqnhstofyGnUBc4zLHmt7j0vpegm+ojre4wPYimG4XD9W9cVZkAL89bIfPPDU/Bs7gtV8Kgh6FuGxqkNFctJCCInZ7M0ml6BsdtNhZ9dFbjab4WoVBRd+kvBCP+CHtvR06xeKoAPReIWB5z3889OzXOP5jNsqsIjYwqNfmtVMiLyQkP0O9Ne0qAs2nXjAWC5hQhoMUyixBF90FVw6SC5+rj9ggPyqav2rKh6aRD3CnE8antKySVC1z+Ag6lKdq3XRdq0ArAhdAIp1jMWttLPBMcfNp7WQEwRArUcMOxR/858iCCi18kO64jY0Nzkon59Gg2isJUSFDBFmItjhfLFxSSWlakbld8cIp7RMaZuAb9fCQAfCU//6gpWYb2XaCHEswoxwJgFfVfS69+oqiqmbClix/WHdcrFt2P32Ai+6skvNgO1x3u2IptaXaMfAoNg1Oz/3fsU664femuUBzEAp5eoAiSkJmUo7Dn54W8rfOwJHhCcujh5GEEEcaz8zlIUeLBxjTNmwPiw8bHhhM+4WR6NY0fWIxsLIZpmdCN1mCdHTdOnRhJ/GrabxnFxjSeR7iJEVUpnCeB0JqsjPPHIVW1ReyYkLtGcnAsgYAd653p0iLgJXGaNBaOgsnNpClsAFnmv1SgUARspSjlwTtB6zsm2+PpF6/InuLiK2yBJHqe0KmIzAE12w9nKrJLarJ9FAyo3JZ9MFTABauBeco89HiUwwsXrct48YzsU/q19k9D2oqiL1s38srNeZ4KVq/1Nhqq40NljK8lp6GRw9tQENBKp9SHd7B/YJWM6XAdddA1khCYDFPVQxKmyiAsocBoiQmqBUllHo0eFA/sIdlkGjU7wsV0D4kdQXbKQaJAJv2XQIyUzOsY7xJ7UKhwBFUwlMqZpF4bUo9XrWqezHXwiMdA9pUv6Q6u6H+siuTzImvp8eaGEaPwQo/iLCGH1pDUlmIjZOT8uQkxVaethNJ9y/shjcRpEkW5ndY3leED4PfCK8M2ofbNHdNTZVX8aQ02ptPgrqijIIXSGu27JTG/z+b2pH2SLkvlwrFePE1EDJrHPtYKjLpesyN04apV4FIuw8ZEy4E4Nd/FXp15ieDPpCiPWgz/+y4WS3XNYg6fUdB6UczX6GCzyjwYzaQSQlpE9L+WF8BELJ6vzI1vPUDxo0WoU0h6QPw8p1BDbuiWzs6dxM3QSMNjXlzksHf8I83w55TZJ5JJ0JlXGQCBFw/hpXePY8ZSPBPSAnZQdqef6UFWDEZjxqZRoftWNslXDGgC0VVMo6sp0PAZOxSMFuXow2gtuwr5vp4dS8LDofmJclb8QMZlGZ9k52ESyGgD1k8CxnbliXk+eUDVV48bcP3nEX99QaBbjcVfTvAirc0OchEF/m1AAqbGVKcQUohha+nRT3B8z1E07ORaaToTAR8JHnBDmunmd5FuMpS5CfazZ/21EpvSM8oXF8Y+UL9TRGgCuqCd/9OcIhZw7ZP25WniVTA5Z+ZP1aiWU9cXJt7XN53gh87Xq52VxSDTUdS9DS2XCNX7gb1WAfWI2VyUNnVJkp7oEzkFCA+ZEqy2DW4yZxnOC+IcOcsFpUrmGjY5GXoKy70pwJXmGvyQ0Q5yJkvyxnRmRe+srIHWfF9KAPF4WKv+2JaZA1sAQIl/PliGRu7f+VaMJ5vlXzgMl7q26os2EXka+MIDqv+2Q1DOt3uZ7LeIS46fT0vPyaFPzwVeIx0pX8agU/4rBQQWWdbXKdO8yEh+ExNt4gp7gdv/qv4jRNFamyLIfY/QDSmH5TjVsKA92og2eJBFQgyEQHP9+VEbcZLhAN5sgmZTseiZxsVWn6OolRHZ+RFR1KVBdcTh3vG9xBQYk9dtcl8WzrIViv2LcOFLRC7gsh/OQdJwQV2AghPbwnLnuSx2FVmRCxarb9mhGdvRu+ymBqELB+pdhXGr14SQVnwZag6e+B276uvYFmGkFH71YZQrtI+5cVBAuLO3XMxIN6A2SWD9KNa6BR7t+tkJHe0DtOnYyh6FrgKYymix/dA+GJ1JF1OqTKPbKzvfDBxrvtMzbIrFXu76ykClRoPZ8FxKG+iUhEyHnQ+b6iYtQLhZc5l3y4nE2AquPEbfW5MMkTHakUgkNPeB5hlKhsbH/YyDiofde436JnkuYNny8ivbPsvRQ4f+C7gmkxh069EdXBbNdwA+wWSVighvnqWtS++x8lTo4sEbLUOvs2c5NhhDBEeFk3fTyyht49j54uqYBTeJ5wJVQpS8Fi7q8FBJRdJKi5Y7aITEvVwm6K24KaniyD3Xch2sH/rhkNNh0sa2wnUC43DSDQIDC0PVg6u18QWzPzxWZrQK/fXXhQMPX0oZBN2VAKaWAIp6S4UUFokmvd0/ijaOe4V3x8SgbXrMk7KVubSARj6+6L9BfpXPXdMhftP4Js7aK+Ljtpbt4pBxkNK9TKjgcsWdWvui7KwKSEy5RikDywfOwqSWhHDihkQqSm09tm+B25Ln9BeZoofFOnPD9gd1bpCLKrRpUhjrk5wt8+HvjNMOlO6nk9N1lhM2/Ah2Y8+L0uWc41+kqygREGAC/BWYaKNV63eaJfl6IRp10RvpFb+xLUfUdBqyzAK48AsbZQEL8Pub8N2td9ZlwDuh+DRMlnyBYerx42uztb49nG7IYlreGV+vsZbO5ur85uPME180H3jk0AIvnOzKYrjrA4aVhmGC9sf8VpqraxE79wM59Jl9c3kUWk95NO3a7c7jj7G6fpHqY49VsLiiUUJMpR0Tz28BXKvsWgaHPGQAURj+dGT0N3IYya53k9NUfHAWJIRmWbTZMbRBbL2Z66PSD8XmmuFkGoX3k9ZBj+B9vkcJ0Q4xhmyEVxQE7IuCOSbRq0iCiOGhqMktFk7bP8wS8lVdAbF0cbdhZq5gzhlu5UixmFZsliFTLG4datf7XQOObmgLT0q07OEpvnDWDdQXhSg3nzRbI5QvpB59hpuA+uDhGOBclfftZFkIaf+XS/N69h+/qJ91c18LnN33hxMAFxT0yCPMHt5wthJgUzd8LNad8hkjTGzSg4uxdkFgReDg4AamZ3sU8sFug9IXwXkRuaB3n3h53AR2H+RdAx+1oYybB/25eZjScRItYEhvpsjb65Sp3vLviiSGTvHvI0w8Jv5jQgJVnOWYgwkuCbERcCVhO4Q/iN+XOSbuCRL/fv2iInCpTjitj2NtF2P774AlrPFNiWkY5Civ/EvYvGwe7cRsdgxr4Rfdd2+sDp4i9GQ0ObWox9cn9+/2hp3sZ9VHCKWMrim7SlNyD+xRQZIxxoWdrfflRv/XfH9X4b8PFsyGPYNjRUdnHrewUV7d4jomP1Qr9xArXXeMoMGzi+GComtfZlQeGdG3OITbS1E7YaK6C/JuvSACZNg9/iL9yXvoAcbRrsupjD9W50P6v8Ei/XBxwBLO8taeLSskJ6YiFSykA/S3+eiQwBGqFuA9IN16m85hQJ8t0dxxYJgf5dN9Kiudu+M7nEpJmWsv9746vDpsMPg0gf8DSgAjLrebEjL4oSy/IDM+dVdRsMmB725nrv1QXXBRN/q96uz+j2g9Rl2ZLehnWSX0bSQdZIECNWBYYoK0zGyHJZXQfgqeebXsFpji3UHq35Grean8xrEykZet+zOBHjSdfyb27Y4C25aYVcc9D67G+0LR4Z23wnV4Wg2UU/RtWGivKH+HBMtkhg2uJzY6IkKQ4zw4ejWAjP9aQvno67+ggeekUY8CGIpDixjOoROnOZhgLVpYzcfbuUEo08nHpQu/RzeQAY11Um+acDUssUl5mmau0Q5KxcsRbrhPeHd8Zi75U+GqpWZtVp1TWdA6J0H0eVtCYWxDjDZ3wrAwyCTgMx/jrf0grP3e0Ki10YSQcvfg/T5IJ+y0EfVkHZWddwcyoWNvbn618q/UYOtcnUAnNA32qQhcaL1Mp/Apojqn0JKFUbE2MIC6Vl/exO0yor9WsU4JAejMh6AOsrcAguZrGSetyar5Y7JgjC6Uo03D+gFHPbAL4ycBmq3wxLjiEvk2YK+HkEY+CMv6nqAJjMJ4xYoZS8azZqfJhk2KiMlamR35kBHKsMHDNq6zwW+xvQAQdeNp34MvlbnHcBnPO7mZlIZA3J2fAGVUQuhdgzYCTqAqDkxP197w41xlDgZlNsuGqXoKpWr4js+MZFUN8uOUaJN4nIUmr++WhYMNd7sk0PPSm+3ZDXMD2a90276PlaOWHuf0yW7/air4V40HHu/znSEKH/c1oP9vyvrtxV5ZzQ3XASV4oU+RIpNw2jiWa2ExetUq9jVCIQPmoYFl9FREysJ60XEA43zxLB6LYxxxRPJK5+7u1wjFHhM1rQQtZPzpGaoGOniBhGh+btm6+IMbZr9WJjGOy7t+UssvnOTpC6PpS5bHVlykqtl2sjLOaaMZnAQIVIa7D2jYGqJMNCAqv02/V/rjlzjD+re8j1zXCGTnb6M+GTOKUxvq698Z2hKsl8Z8fvdbgY7YqnM45RxxaJW1fiafm9wgZHMI6EbNCA1hSQMhE6oI/EzBVwOe6lFihDEVodt1b8/22tOkZejl35rSt0BDsekl1ooM9LfQCXQQNA/VadlIlA30gEevsdUclyx+VjAf6C/Y9IuWpGCSOJE3t4zLfblyrvk5H2c6834Cc0yHcM8cWAIZu/1v8n65N4Cz2Jr6FRNdSEVBhc5DUESNThaQ1Tl2iRS6Qjhs1PzxfBbl9YiMNawak+6FikUFjIEdb5G17aVDYCK4lxoWjjuLVDHLLFfdK+v7DqgBdSB46hZ+qrj9WeEf1Zmg4cvh+hPKgjOO0Zk/Mr89DD9mDIVGR106D+ac5+rJFohdX0HmmipnOxWCSA2iX8tbo3YBlTG/xK+U/YX+aIUmMXGFVBzw/0JF4ogqzj1VkvFpOYzsPt3GsL9dkVx1MId5S+t7s5h8WEdtYPdaqvJ5bjqz5zSr/I5r+A11p7aW66w4ln79F9f+mzcsThQ1OCIJBEvTfbitMAICp/+dR6XOX8h3zHhohIihLPkOb+yLDEpExHt9OxgAkc7M3l0x0LkrOJP9hE4hkQpju1uY2dWDDoXvmEtKGAtE8gKKjBg8ECQl5KI6g9AZp+qjiNlGH+8gHubwyj7RsJlkHp0AlTQN2oAs9gm3UOeNwpANfiTjF+bgMb1xQwxF+viGgdJVGAOfdlYxy3P3QmTrGyX5Bn+0nYp7vZqpzwzTja9SkS4qxz69lVid63whaDkQB+c4bVt9PPFfLx7qZbrbCqh7GvmpNB27bJu6j0L2ED5SNclQoulIYNJ7FIiWi7Tg+IhYorxnFgiUjnTC7M6N8KxqgteoCyxLF+c5Gy0QP8zVl6ySfBHrOy0xMj1qa02aA+9O6lVk0IULvnbdDYy8NLz4PQ+UPY9Ly860aMnLRMu6NZg4IBooBwTtmIMyDWI3Xht1WtTs48RsreEMrIkNvU/l77cLUahveH8HeCIIXhALxSOIZEnNH5wntgwFwg3SqG6S1TVzgnvk1RnD/0RNh5NiFdbHVJqNWUgmznidpjkxBb5qoKhWVkfGgOn4NiCRDACg0Kgse5ejF4iCMb4Fo2eQ/K1QNiwW4WT0SHcN999NuJBIlwakeivC6NJ0wCssAzSUsNz67Qd6e1B/qAxQwJaDvxuPAJIaXoHfTsQyPD1fkvH45pVuybdS7QWKfzOfqaJOoXEGISdU95ncVbqDha5FJWNOd0ghErsEiyBBXawUfxOwMKexlw1OTqVenqLUpedDJoXB2kMtvNbrrrSN1pEjtp3zI3pE1wIew90JcvYIxYpVdRWiTS59XArjferKPZi8Sy1BlkQDgHazEhV5M6Xl388BkxPgPdP1sEz1atKkoVgqTsD1TJG3ua/sSfb4tkrPLLIaOo8UA0h863eRSb7eM9jZNVI5Ggr/qZRrnmQNs5xQR/Jc710HhaaUyQ3rdMet5OOaxVmidG2jqZ7d3i4JEe4hPx3YNedt5UPeAUl00IH9P4Hu9K2Po+Z8dYwWXx9YK+6qhKnnhJXwjj3YCFmMMxW8hca71nOJ8GSoAjz+t/9kpMr7vMIIR1ZwQOM9EcXCkrCyM0mYHbhh9Gi97nzfrABNhVTREhKFrMv0CulNgV91LFL488iiwqaEbhwwFZmvxZ1Y6wCpe+j9CQo+znFit6NJB42rEzn0+ns0H3f3kYpX9E+Qef2cIUPRCu6MPRQf5SEzIzus+YLyw9das9N7csiSPkE9d9KsYTIAdU0Aa797S72odTJEELULQU6+6J3TnPjbSCdcKA+0v9CqYQMzVH53hr7S+ycwhS8/dPPBhUlL7FYFPMdtMkcQAdKdtJCBjLTBAsFlObzJO18EXsiSkRDhUEZzxA4R/onxFh0v0Ty+RibxCS7V5/PJtAJ/PmD6XauvCrGApQxJ6Zu+jYNh+4evyrEO1I5kK8NfA/CVAOJ1H9boPgqAyMkdBgDe89TvTQzpOIl/XJXEfCUX6Karmetx4SoXgLCRPGlgiCod+KgRNvlgT71sIejv3m7oi/l7aLxYeAYJRel6AIrWZWtd1LCMiZg1ihsFdMZK5BytXgEniwi3glAZBxQ/yLIxT+/d3D+oB3oqeGINTOJ4rI5VSeBgyducJrys0f1qRaHxK8XRgZ3Wj5l+p5WIPfxYIWME94DyEuu+O6vBZJjNsBh+6HWiJF3rPWa/yDDlcWhNeNzkGXvY/mV2bAqIZhUmC+bPF2wIJUh8waddIiAvEUnHnLujmm08aVK1+O9bZCU299YKivox9GlXKf4dB/fRyTwrmXlyb1H7VRWcegNkLoZrm6TQOWhQuiUSaGJnjPtJiWkWblo26gY3TRNwQdhmL0RgGWDQDgbkGtwGYR0N/Jop5aFR3MsRLoao2yHCaa9NSg/tzythmGt7IGGls15MzTfLoA3YMvK8Ojd9xSJaK3OQAAcF2qmtjE0zTDQPG8IwtNQo4BGOnzmaP8Mb3lLr2SaN2um3ERnVteSvZQvK94dCj1LSJ0Y5zTYnjW1LVtTHVZ388GaJ0w7a5Rx6NiLh/Mj1zDoWZPEK2HcmwRi0EO6OfFSo1ei2a/QDy9om8sh9O2CMNpXKbr7qJiyxYYNUxAk2b9V5yuVfaDGR5Jzj9lCx5pMhJguksNY2e/zCuU11X7EzWqMQ+B9hiQLwHOqa8Z1bW/IvzHiuAEbkg6fHi3NncZUgHb2OgTaAs4okvGDFPOszDw4QoRS5Ve70Do/gLJ8m/JzXK4S1bKphi8CvcIAtXD+2q8uAkRv5zxB8Bs1ygZug9igSeHsvRj4B6sz4/5d+UMp3XAPzOnkrmWkil2BnibASXPVw1QnV/3ntZ5pwGscg+GUnshVSgTrylf3HO0vMMVSBZv3qF0BnI5Tqlks+L+5T6tLI7/rmRZqqJk6Y5Efsbt2wcK+uuDog+OgCJY++CLsZxKb5JWfsSE0QGqu3hJv3992fyt0sCWTW2aplMOgPdEbtmU7wx644JbU8EmWauAikx4VtfuwY2K5/Wf88n8fVzS2czPAydiCrh7sJBX2IfKPOMXHDxU9IfWeorV7RezLYJFIhz+1HuOX7Szr8cyOS8NotYLUkjRy4xRjqCjYCsMkPDuieiadifyBbW5GyMc/A0sZovb8Uw4AfC9bHAZBRvm8TF29kFfecX1W6iSEWVcqaLYB7a1sVljaXgD8Z1vO4GTL63DDn3jS8E167HSvi7ILOlbcvTsR+07qhjT2JWrqFEgZeU76i6zMpCOXEUG3AKmQdD8LbRunbl06CkwTL8GcioH2cIifLhACYM3GH7V2nEdJgFCt5fOB10r1lQfHrw0i+jt/RrFzF7bodWqYiM1ETpsV3hSz+WwSNvhbporb4TJcd2ixbtNztQ/+42RM81SrOaa+FaR4AVLSMZxnSVHAq+m5g1VuuhkkaD11kh42UDyZ1OvUShQ6ewMXe4+0ot0MHWhJa5qb0OtaQgFukhR1KeraaCzDkBxLyHJ6uPsuvl6es7GcrSRgcb+7bIh8U44+yQ9vIgbW7+w8UBiKIQ1psgnbhxk3Onie3tx3/q9koEBZi9Q5WGXFpUJN8Xrx/rTmraVYsyxp7cwPaHJa+tJDgjBtJzH1M0BW5hFGRQUoXxpqtF4K33SHeaQqdzDYqRUqVXz9FK+OdfQKjaT9RZj+ZFY1//F/uHBgoiT1KV1hSVpbCK5Wa7RehZrG2vys+He6t6oNWJaKjcpjsm9bD6EuDhWHGW5d7RCg8HpVgn5oJfHMDAANR9bMGaAHOs+LZhd/LcHlhlkGHrhKkjYuyqMSiQaONLB2NFBsJKZ+Pbx/BqmxAT5c0F+bsdZB4rPQRutE0ui1Sie0CzN9EfNdV7agSyRnC2bfps4yPCZveSi/25UerLPJUYDwMnNOTusErtzKi81Habkn1RlpI+WXbcAVJlUpuuwYAnysD7uq9evrKDUPMa+UdLlb8Yrp58dKKTPwOQ0lN9rcOjo90VCe9kwDsIdPj2EXPNapHOfHFrrh/8guYAXdXPeOBJWtnERXa+urcxkuiJShtuZYE7WahlkjvDoIPuHo4IbfnMqOoY6vBx+AgMOY0jFwk8eVMXHTMnD+RN8NTMTXqIAOQi73+DVPMQsPxCR+IOomvhb3ccff1s5bjpblHUVzvKxJlQlTiLxEGKDSd4mRnhl7HP6sStqfcTfBnBFtISRWhOJo8TlV++o+9iyq4oBObTtBX0rPKq+8/ahnXTEALzFa6QRQ9BHs9+/P4H2S8fEQXkdyX22No9FPDYVClr0mPOXTcnld/JZKgBWQQdmlcRAUH4c6dr8/102cPsn1zENjV6RdgEMBPGSwFOA/raFk6iDhmLIMPv4lBV/iKFQlMsJ2yAcY9Re3Z3+MfZ2PRKtAcbU49QsZw+Ofi55FHm0crC7bfx2Qm5OisALXSd8B4fak6RV4og6E9YkHxqaA6vKVloW6RameQAejLQDwcFvIqn9iEnCozGSwf4BxP4hQE5Boh/J2m8oVZGhrk6zzOxmOVCwCBRAhEFSezPeW5pGRW6kxhWmX6kyUKOoJY7UH8Y/QBOPNtg/X4J6z4o/btDdUmBP1gOW1UGXMjbcZfVcWdg3h3SKzIy23TWrXT76xrnbbFLNIxCRQi/JBhKikAA9BGZPGd4+jR7UhrA7vST+vDp8kENySO00NdwlJANCXvsh6TWGTHDTButa2fPOtpCDq53A24AfYhlLS8oV9iL5gDOeWKK8mfObWkDopYfTpiX0tPXa5hZrhbPZcXoFHFpAOWQ1dBZLUx8eiUhjTkzCTp0FExdrQVTMMp1EHi/6qqSRLOyDEmD7Ejb1rtE1m3uBqoKyR67W4cfmg9tPqMkl92j7yl89Faqe1UgddgwGVEhdOuAVMLLmmXb1L1lc2FNZY0ibN8UYnIZRJsBvL1P9hgG+icpB7m6SXaivMdmufct4d7OvPsuq4HIeEp81OsT6zObvVW8UogcHOsj0j200AJHj2JJuYdGI/BP5Ov/vBBvXvg4ZQOQlSPradVJfq2cnva5iTQpfupwBy/n4X8JKS7lAYkEhKy7OLJKECRm6tlp+/iuFaC1h93ASL9bbZyyo3rN3YdwBHKGY6XSjSh80yMldwf8tFtcg1pwW8d+zvFEmTwL8ldS62vbrqUkgzATVJwe+9xDPKlMWq9p6xV+m2IXzMrVHlWD7eG+HzUxYX2sM6Nbby69+3ROfvAm+X3dbvPRynI+m4CFqGpM5sS8cG4L+/KrsSZvp6Vcpz3Uf/JYmodsiEtDzfXgb4rQbUkHVwMCQwDrXbrXOraoLxus3Py8GCiNXM/xlyZgcYm7rC41HZjEBxvPnySKQM2SZTxfybmNPjMRarcvav1q2mG3GXrQJh6MgG5tJyXWWMbauQYuOJqruXdfkljV9eXh5zch+TFkfG0EFbbGENiEWh/CCQxiIvR7OX96IFW8CQziz6h+SPZD9bfBwJxd3VvkY6T7AIy9Y1gk47/Bt/27uMTvBQzdHQotKMOtwdJd/c6UYAHtzpIhJLTZUXyPFO1F08356gyTBMTXQrVmHnRH3AlbADjDCmNprvXuncqVCpJT1BtAAIqGHvNN4GlkzQ4pZXPTdI4vTCEAYspwsDIe25Zme2SnyVrckP4vIJnoFo057KK+GXW8mTbitewBjsVZjedOdgA+CFd5zwJ7FFPScwzH0vq+wq2WTSBNpWhaIMx1cYCn/4gvAP5c4kDK/Q5bEjVC0/c7LL2fW/8TzlIMviAc/yXDJUkYON+1rkUkyRedfdKafvu0ze0SPcdcm2mM0FXWVoiUmbffSBgyMVwyxCNRo+xhMG+7Y4tigXagbN6w0pM+kyH1EPX/cRQEwCC+TZQ5ee/sHmZSevRmpxMBGLwBWvq5j3pG26F1jpaf3pCttMMLx8nVdQBNbCG624SW8ORHZTscKgixSV1iT1ig2tsYrNz7E//6o4771dPsUetNMkVXYC/DwQW6R44tI5HEkvgrKUJOsbjehRrAOqUZv3+fcDN/LHcvtxNhSj3VGWC5D/PQ7nSd5rpznuC63N1bbn4gJ5KdyBN9JaYSPRLfqimmLeHHa6/t54LpqzECsm/g0/KMuu9mCA9wvpFIpQR/VTBeR/b4MD0RmgbHrzDXhdvSdevS7NZ6KcxTJX20tXfnH1vgoKcHF5YvYhbqxiPFzYnt6T/OIiFGeM3GFg5UG7J1bj1uQS6WDRo/9kucesGbPfUcREZoFoMN8iOAOlVZ8pByTdA6DvXZegYWTER5RQ+sjp4B5K5HyDehUZmai07zHrgktRw0m0I4AgQkNZ45sGbKx9NML9W9UxO4JA2Y8T6NOS/rPw6eYfUO1OE7KFmvkaSLvKq2e7S+ZvVSxNI4TZMzEZIJ0P7LiobUwuekG0vn9f+Ixhrpt2jdHBWDeq4+nq9SacCfCELfSKMTDJKM4apm8yxan87mHbpg5OrDUFkD6bbNDWp/VEpOMPy8PCLjrjrzjZ1V/KsriyXFRs+cZlPi/zKbWQFluXE9/0iFgVPuC9g2kAkr2FPdFn5idG8QPtsJs8DQi+erfJARtgiZnznHNVPDB/OfjJrk9hWF2f/JAoHG5Yq04PLx5qdX9sFmbr4LFE26nPe1quRJY0qzZaOuGkBX13phbrDpG+9butRiE61zPieHAsR26YYG+eFreaGQ2HB4ZwGl/A1v8wvB3zV2/QzuhntrZDayLGWxn5TcyAIkeFPd9ycDU3w30bX/aPkGM8e8zCIde9CTRIk8Xb6ePlqKSiDBNK0ZrM3QYXzYtE2pHhJZH1eHq8DUFZ+vTBkhTWOHZ9yzGqgpbu9ZzTHDPTahcfsZmeQLzcQexGxQ9t8yEHt69PZ4IOnxEHuK1sUcNNUPoqwfbpE/an+4Xq2FEFfD/xqdPkq+OIIbeaNhELx7zw3oCdd99G9H2Px/x+24WNGRA+WADtVk0wuabRmRX2rnv1tu3JqvzWXC5cMxUn/7tyIEQCK5hwtj1sS1Q5jEurUs8JBgYpoxVkZ5T1kT6zV7AcYx6FkIDrXSNmsOldqkGxK/eIhk+8b020VipitkTnHix+Myke0l67cmaT9rQPOJc5rr/4ig2w5J3+0gH4aELi7BHRZhYy3278bJKphyDIppAfKYP6HPYG/qY/BPjzWo2rq2XtBZZ//Y8vfbKifyhuhAURZrosnO0texXYNvrzY9l/SY+mWobYS3LLj/gjAaPLJeko9wxNkb/GYyU3VwFr8wkYnlE63WNw1Ij4noleT2IU1qQCtBXiZVnLHD97Y4H0U5OiOn4i3QvOde9U+2HGKW5y6olk6+JikxLu8wp524/7QKbUE4UJbBch11mDE07ke8lxFxW45tskAIkuYhKyOa5t75OIzlt87/q2wULJiAYSgswbssvqg6xNd322BIDUJz8JmnPLEwSwtviaHqTq8mmD4JaHoER1J8xyEHkOLnW0mvMnjpyOTe0iTNJSSHYXrCZ+ubFohGCEBOYLmue9T/aJkNXiopOkV0iLZxRomBhl8lwNGGP/cIXJAGMsoXG3c1U7hk3sMKlAYSybVU1Amr2uu6yi+cp0aom05zCXQi4sXOikfxpL7Ib/cF7CcL1IdfOb6wtIrkBwc9xmfcBfH4NqXk3p9OgdjW/PZNzsfuUo52JMk7kvyn5vNP5sR96x8Z6Tl/NWDJM0IQSfZna2/tz7cuHP8lQFJ+pOyjy43eLfpK0CBfLMG7RzgYocbA7IqoB/LYhN1hD33lCPIy+kOEqE+Xyj/maEQnp1jZyRB1QothldSa/F17PGNv0ybKIki9bOkcrBhKdGDOWTndX4Q371MQIx49Kt5UbPFFCZMYWTtk5cUNgcan1pzm4FxWA8Nk9SOFf5JnFq3WsIUOQfCJs2Y+y8m7ivDlEjQfvZaFpHjvzT0oxEFFRbEJOu4CPqwKG3/fNCSOmymx0Cm+v7/YhaiDeVU3VEb2MBoo2xG/rzC9NBor0Nf7za6y1ULJ9rmrgBBYrmJDryQsHjawfBpAXsKTDMuWo/40XvMXXEM8fbs3g4JtUtkq16XzVwo3FxuFZGZopxVTCrXzVF9iRnpA5wiVsB1u3sKnIHZBMELZBSbTXgDbQsA8yTurbg2pRJXEL+bD2dBqJeYW0QV/bCs1OoHBgQx9nOUP3Y7CKzCZNGfNs5sKcPrSJTSlMZhlmltiKYYHDhRX2lNyDHAequ9bL/Cp095QkawAOpJ09MqR2Q5O5oV/9t20m9p1Kfd9qp92CYB6oocDtWwpA12aJrVK9QyWqh2Rcj4h2reCHqzvLX1i9P8OohXKRd+Qw7bwD158rXhSyqCMTZXu5PFv0orPGVC4FheV9y/lN7MQ/9T5qFVL6fnHVddVOuhL3y63qMJrGEVUDlFZavEba8fB6z/TE+ZRUcWXacM83sdQy7K28lHf/ZkLkGbNaHpPuSww2B5Ysd6mSQJq8XSHkK1K4fOjJmZ1sElMyufGY4bmSj7b8WO5PNXLTfKd3lb2CxUtwSxggLtcw/tZQUxXj23+mJopDsJSQAwaU+QI0x6Ag8lq2Nc52kONLMZInpwOss1OjYoeotLTpwohrt1TvWTx2692vdpD34/oKtJxz3HLhU/X+CYBlqLtxHjYickwJitxS5NFmzCP1oCT/OqoLoszkO3ECF1UJHGp+Vt6HwOK4D9JPCx8+Xadp1DRO+4RbRxqlu6XSODfT7MG64amrPD+BkNFfDRurSpqEgsHMsedcKFiCBPUzzofXMAmAxO2xvuibzD1mIvL5f8E51rdplZQ+Xs+nZHOGCYK6Foslp6RRJu53k7rwNSki7tsYGdtMDisB3kNm66bgjEX5KNdx60iuihbn64IkGNatBuJuZAEpXiElEp4bg6M1efyULHpu8S0X87DaqKx7+zw5AXKfuj3WDOk/xqf132ysnvKlqIG+R48quQReuc6VT7Hd4ldpaHBPuL5eAAwH4Nex+WDexIOZwtvEL1K6X7BIdetA42R2AeEwap+AE+fOaXJJz+WnwJ+H6VN09ZEiw0Qo79Oos1ySRN2t+Abc/5KOMOIAPZYgcPDj+kXRtXdwjXvwvl9Z7mUC9VX+lPlp87S3LigoGdtr2511jPWbsq8g7Kth5K7AnsySHmXlWNC9aJRJMru+uafw0S1Ej29OIAa/e2zeiepONJSCONo7n0DyWOM/96wy8Q9mrrNMX/wV+ZKeCKTa9one2/FM2z2RpFFNahLrxuipV61OV3IofeVmhffM7Gh9/ez08BDHurTeh4Gqs9D4sm+MOREPLMrln+MQ7lniENuqS1Xic/T4PuXT20YIPjBPylMbBbtsjVwKDtAGyv4gXawI1dYrs+Yl6mw4x81s9fHdLN/pkODGo+0GT5bqajU6h/QTdSsYMYm7ZZZy6qX6wO/UAHqUSABSOQbk8gNV1jehdIvoC0NPhkvK8bayt6xB4mxlGtFP2jok3954hZCZ+aOkHcAp0/7gTmm7uj+4D5s70s8fqiNE1Yt6Fyy+L35jeF+OOTIWzRFjwiKjRh09J3sJv32ZWqsgJCS+ngXxWtEYwi1HmJhAfXC1NqNv45pPKF4T55EwKAQQumoFHah2YuHZlZ9CnCalZLNJeE4xLasgEcOWA6qHM1TA0BPLzQ5wUq5+asKCDcHJZnrEITPhy5KrUWWn3Bz08cnytdjXVtRIhQUqMha0ZM4gd3DOWsw+Aa1ZmioA8y9NUFi7UarA/WyxxQlse2bSMKtc4Z7h1blStuv8YSS90n40Xi0aH7sGI7WgkCBflDgvHlzkduEo6Wy2f5Z1/h9jbpWgZCpcmnu4Gej02ogWx2l0wEyPfEM/X/0AM6QyrDkodnMtszzkW9HbBIu2dQsZOAlXNw2iUPog+euUyrsXWsjT1eJgFNGiSu4b+3i4JTRKCEN/WrNFkIkl7T87PGQhVJydwWqCsfoiUOveWorKYP5Y2Obo43TlIXM0qJPVc+XUu0MD3lCx3NAsn6zw7zm9aR9iLtf0qo/AN5JZYiwRWaR63BEZ40QxVzIe5WA9nL+FItt9JKfVouBk0YTsZOIPA9s5FqvpTJipQTPH4C4jNi5fLuEjiJnfdBKak1rGw1ANQ6xKLlRUYnshglGe56xEgt5X7A8TURAi4jSUhR3NzQ4708KPQ1Cfb3pbbI6VqxBSFgx8FsXGvoXjdEIadBxDTV0nXQ9ixjEed7iQ4egyu1EPr4I2ctBSyfELWJyX2ALQxWUPEW/WdgiR9lrZ9vsCslP608jzklY3H41bpZLJ6IxJnvmoEQUrIuf6Wyhtq0ueDrv2tfbeK2b93v81VgsZVimXY0+NbkfkPV7ddpLZVZqmuHmreBFGaWV/f8UUA9AVa72mLlZvx8YTAMUA3xL9TM/Rr8757uRq+LOiRsRsmZ15UyO6SBdODEJSg/pgKogqsBewCL1V2LnyNytQ/yEjjUzfIJnr6r2Zrt6+mT0KWQcq058BeqRk2IISLTo8mtdO1LJ8QUGalOo0C6AjGbY7RXLywLBfmZ4h1GwsSiLc3vWTCrfDtrdcwz9OvSjE/lPSv+Ib5OIkNKKjWiTuvWonAI1Um8XvDJi+ueV2h705HT3CfHyLqLtAF6upIBn0iK/8L3tmHXnSwxhbC/pSotMLVhtLuBuzPysCt3CbyFetntjD/Cb7S3s2YQ2gryWLKDIlhzJ/07G6IrX1g2MuH2UfBkJR+R74oAbEWDBf5yAMnBklqF90UxKiBesjC7iwej0ASn5IHArYahaymSA40ohnuYXWEa848ptmcvQugk1VbgTiHblGd5s/s2/e26RI81QoG1ct+mcHJ81Blhv2pCrytglmulSpCGiGBHZOZRI1OnXkqxirgcEIi5l8pdrP+YLEU1zNDjdcmlLXkd2/0Sv77TtGWs6Dha1+eyrz+s/RRTsOpVFrA3+3gxVum+ulDF54o2RG2pIMbZilSMK/VaLe34Pc4KCsu+FhLgvB2gLnWaB/za3vtyRtFK/iWwRsYY+N3Y33QPhMPNsfxLFhYhat8KiCuNiqAGOtXredo9Be6XQgdicihHhyxOodbxfchQiv5dQqbXoLvf1XAm0Wyh6b5DbZgh8VACx3HkSYEoaibMhitcNlAwtoIir8thWkMwe7AdAkIL4f1JEyCV7e6eh03u6mGLBy2oUNtjwS+qD9Y1jghplPDDZPMCPQjkuW6uYGIx+x7HOJ2PrBkuPe6jrPGJu0U6BVFQNuUAFvPrH+V1PIE2YJ/6/FXpR+73WqC8AXLyLfJAAVhSsoWe7O3Qr4Vctt+97ee2bLItawt9zZa3ElhFnx3wWF5EdycH6RfPoEypmm0iPiRA1ksYK9vFVSbPMWfmrWxZqu3utb0e1R5EC/gQdzgd8YVaLzdZZa6ggxuLZvuPOj797ojrWsDcXVi1X+95KY8S5qULl+OboR61gmL8R94GIB8VlGHSaG6XY+dbZopTJnAPKzloNWH8q5JmuARi/B18JiX0p0H2/b0EnOqusuphDp/uHXDa5D/yoAnPKOXQQHzA/NUhy0Yec/duc7QPu3f6NbaTIvnH6mBGsLn7oOd5KjDU9SJD8K4eDrtHgv0kjPePP/f+Ao6CpfAmbgX2GiYctvy/+PlUK8ZXe4FiJuhCQ1U0dd710zxbK0noZxXG3svN5thy0dYAJFfk66Yr/0EYhGpzSsR/PYQDwIN1qpeU6q/WZ9mgsslnlx0wJl34q7uRd8SEb6dVhJ3sgBo7kmhBIxB+N10TH8BIXSiZRh7r7ziINAR2K+EGyJc4pC7zPU5Kk6bs5MevPgeM0zpBVgiApn3p6bjVaI6XJlpJDPf6NHJzWMT0mEzGxVW57pqQIeXcnUVxta4WhR3gtNokFIsU4jArQScoPUjyWOhTFmx1E8QLe3zVkFHvlLXs6Qz8oj74VnkXuPBclshkZGh7oLvmCI/R+iw6hCnGKLP2N92cYfnQVVfC3t/GKffcA6deJijJMsWFkGIjQnHSqE8QhbbRRp9p92raMOZxfKvJFoXgFhtsJL01d7XrH2mqZzeW4BQGwWOzP+uBtH6pg0cK8A9DDTW6vHFSql3D3WbK8aK9rsgRKU077j0HB7ag72hDR+EjeiUGIavU5IfOCNTjkM6VYbQ+9WYYm9E8WEvpcwZsaYtSAs/9rH3ZbveAr/91vWNGcmtXsYTA1fRCA15CSmL+vy5fSHIHUDhLeN3VugtXCCAdIAFKgTJ4YQyIA+W5MmiaSIDhZDfjd5Bj+jhoaersnKqrbAJei+/TPMtdJ7AAKTbr//oaj41pGbUILAlUEf8qbP+uGKVgdlKfgwWYZfS3O+tZs7KNdTYXy0mb0JqwAX0jmToFAgt1p3078gya7k8lWdIlUfQHY0NKk67ab2PiRtFByWsYYvweTVEXCgrhEVYL+o0YWGS8JADUhqk45tX7h/FasPcfxXg4K0YGyKRf/QSZ8AB/h/BQ4+w4Csa7Dh9VLhbfG2tpuCnjegnoMm6Ufvl5+twsrS4T4NHqxatO1zI8V6Z2TywP+lCOS/82Or+2rjZYrF7EDMg0L6kqUOiJkbb98iyO1138Lvxf27Do3HdngW+SpYNMse6GjvSBwkam6wMVbbSnv/CnQS7bLiVZ33XwEFEwsojlv+WQPMYTcHkBXmiSGGmwV9swAafGqQ+MeFZtCCefSWTNOf5RChtyODGgntqvH+J+Pjqq1C5+JHcIIxxZwiCfNCTmdhHtoif9PNGXHeb7shTMzU5l6MbmM/e303QOKObM+deb49R/uIy+DMbpPg0GlawB6+nWoVChknGFdFBASMx3Jyj+PgkL1ZHdp/MHnyrl70no8MIi05mQIt6Q5KGCHiavBVqVAksh+j6D8REszjPb5jw3DzXFf4vkHtHVAnEfftSGyVrJB3626+Gv3mPvS2lfLEmVJSIVucqDBrVPMoEXIF7u4yI6eAEc7IetwRB02Pk1p4A5rqQxrWazEvmNkbvG5DXMMlWpcxF74alpJhPTbiDugR517QFJs4WGK01d5+FQDNfsgM6UayGcuhIo7DiDkl/t4WHeWrFIQa5NYtXpw3HVXL0pDDh4u0ztvfVLNjfK8PL9KkMbv1hpC1uFVpTgPZUJ+DiROPX8EPqhH23bgQDcokBkfU0WPzmbyfZMpjb/q+vBAgTRLmEcerAJOPLT9Pzxd8jvv1eMKiDXy82RSE0Tsn9zIZqPOoPtdX4n+NXyTGjIEZI/6naxF6cmBEbcy2VVTayCyhNPkhbd8njnHFBAYSAhI1egcmzJIwNX89Mpdip1EYLxQYmG3TPDlcKhO7O4Mn8x6VmgVgncXM4fmfFkqAGyDbqvgNLMtZ4ICH/hkXOBQcK2TAP+0Xoje/s5+mmsq7iF7FvColTu2tGnreFWaroVGFXs1H1VRJMYvzFtQZUe0hC9Xbt0HV2Vc52ayu1i93zShUDcjYxIrCK903ovbF6njODdnpLMfa4o9LKniUSOI9W7csZ1nnfb0av+318N1le7vxvuWUp9voa59hJj+C7pUPVvaLS2/vbn+uBrxpUoIVuJDEdsXx7FOwdZWPLR7H+RmOQevs1iY4TEi4ugCGdSdo5CTu/tfkR113NKnylrAQkBGWRc08tQGHYbWpWHdB0L11XxMqQ7UYguWO6/gg/oZ1MpVcoTxqmlOliZnJXuQAK7WE/qUtLH0U66w9LZ7QKEEe/szlsaQm9xr0CAHHUjUpP/piAvlXyO4ikSzA0e5/Cl20Wmtto7LPdqkoRHxQ++t5cJb6PW+AHoY9JgiBVzbixEHzVx4GbeznZiovfCNbLMRlO74Ku5boPDoYifHdsck8qrIIB55XV0OZGB8VrNzrDXIUCoQ9FvYMg0D2vxg7ZxEnvdQXPe09Dhb1EIiTC5F+/HfruPdXnmj6i5Poxnw/ulrhBEuUwZq8aXkm2b3cQk4//GVjEHy5T1Uj087CZm/z1Uqh9GoMQJOao4310QUcEb2gjz+qoDXvF9eNS1v8JZ86e6nSvxuywUl/BSJX1onBHVSivq+xmdIYgZOjbT0fNf0hL3ZEc00cQItkGcdzvQuZVE6rc909ol+VR1+wLvHHCJlD7eBSbQDwpFlY4oybo9NkLuCEFUr5ZuD9CKULl1GFQ5LrQf3DfkrcKvr5sJy/7P9g/rfoiZ7yCtgcOByQ/HYT3OAVPogIGj8D24hZ5XH6A33Z7W2H+LJqeFuBISLl7NPkGNPFJutR9hROJkOI85FyL/GisU5615b4v++0nHAHxkSOPEPErziRbUP06TjxMm2EsoAHYDDuEWScTMOuK78D69BFeE+5Ijc8oqFlzO2qshFT4QDalPH3Cp/bY5yRjpb2C1tzuwhlrxMPA2Cu3xlNjxiiKk1tNkPrGOkjrB3xgK8p1tPU2+bVDW4LSViBMhY0Gzn5YFXAl/ousc57tHL7EKnZ6hic+AdFB/KfuztqKZ4UntXHjDq+Q4+Y7D1X1zYSBRC3ZnP7uFIJrTWh6alxRBQJDG0NGG0YCH1CCI5H8rxrOltNw+adPLaw8hBrIfmU+6EWibzKjZv5gBRuaF+Ir9flS7YlFi7pkgKe+5l6w+LryTCk8Jg+vBI31bXEQ87ahrewFZPrAfH6uxzhQ9aofALeCKjqMvTusH5gsL2W5U1toHpgQa1oA0iGTuOyIAM0oLokhl75VquQ059WWUM2a8ofwYDe1boXwighhRoTW2PncNEKa+QbfsYdGi/UmfHIPKH6PZ5xxHKasdrCA7zbp/KX8M6fEqhMI67W/GMLgag80jmlp7RmkFTQHOLe7sekM0ApHZKwloswdMAVLfR3+hdazBEHQhLRT2SwbeX14OLQXVsc1/+8J+3sbsGGmpOnI9magsMunKJ3gn0lqrQok3xwQM/SYFB61D0lJAjJCtt6H/ANE9dnOQEUeWpltFI73CG1OGPJ8ml5yZ0EuNyzMO80gApN2S+89L7rmgm5hihByyLPR0rKs2I9jRb/c4pGAkqRdyTDOeRDt7Mlaqgm4zSo8B1iv3nuWVnFnLcugiuH+Zcwm8wi6B44ymHDUrvmnVh0T7B5vOYdaqrM2YYsfx+GppbaUHDOiEw3JN4pYTZVx0q7jUIHtbLJy2eS5twnTiEJbTwfLjA0WmsX7vz7L8tn4EIs2O2qbzfLHKLo9VsQe12/+oUaEEK04zvYY6xqIbNL1h9KGMZp/S9nam0GTjN8BIx6Qro5XGy2hBmWsPym9eDEwQICfK07+9N85s9GLzK8OdFALFCyQU+AT+DJRKSYXTz5q8ZJ0/VJWmWT/u0vFxHN8BCHoOjNfRvQSFV7ZzCF+Oq3A1GuoOTrJ2oUgmfSW1O3hx1Je9sAef48w2ULNPL5+ESljqerdkOwWEhV+Y9sQB+x3/xzLrJTrmBedpJLc2CrDFIX2I2kpxg/h0jH+XC2jlEjD5qdXYLF+RlVyYO1EXrUchWgPRth93+eJDqTMLyNSuq1xvWK+X9bMKuHzIgspkuPHgRlvpfppR5Yl+FlKswBDiMCK/hGzTOup8KbKuPYGY62xkpbi+t0JcgZnjOTZvTRLf+g3JxwtR5u99dBb+p6EoFJvD/5ybnV6oW5yk45y1xEdlcSGC/6+GI/21zWIkfOusiVRmofx+pxI6r9GtIfQyJm1gQSVpWWDXLvKWFX8/gfHFZPNZ65Uvxky+bCOEu4JpIrLb65fVlh1SA23gW2K2pRHFqFJOK7hIis008Plkq6PmWtZNNLfC0rKq/uqMbheFby8F8228igsJfI5RhOHIu7E7Ik8Kbck7txjIeFA/3K3O+x6m4uYmBGRxOTgN0qquBkm/Xqc/YAQ+Q8K9ZQOPmo0J9HVPxBNxtcpfXwoHfoeI3DzCv76KNKfWoZxI1/GkdKI2ZrDozGMLZfH38pTtJaV1GG6xem20OmyEMy0pIjzk3RbTvAJ7VieJAMGOaf8pkggedcGhBJSIcRC2APStryjWMNl+dP6ioudFsRnMlc17IUr29eN8KReOJELL52mP6OSaDsvM/ZChrT+dwf/DOfmv6bWUDA0SEHmf3AnuWLjwJJXod3HFeE1BUdVaBm9yCI9lbcoMUX9dEk1vRp3rGiCRXEOhXLclJEXYaiX2QpSls17Ng6fKPTWFk9nJ/qJE3gViw0mVpY3RSxTn7aryhRIyV37N/qKRyogGJl6fNQJYDxythltv7Zo3OJJTcrslkUqLyGiw+CaRrp40pfsMPdkSg5qsshi4M/AjrTmN0hbMPIIGnQAZOz8NUOagdTbulvxVrEeXC5rDRqsnHOt+Lg1oUUyYMuTfIlCQbIYGdyPiFMnAl3sFzde3PQLInB1VaM890gFDwzC+smZ+n6ASvl4l3tqtbZZbBI3h/7VZioInAIts2VkK17pdbU2nOmdPaXgcSfCiSRxCgL6Hh6kK36IR+2+wC9H5UksGJv7f9gQr7uRFhxiQrAIFPZ4QbvcBgost2OkDbA2oy4IwVAh0SHU9/Ic5/uV6i7zZI8Y51sLMktc4iSEj3Vsi0IKhbwsFvk+5bnqt7gpQZpvbv6kojPfFsqE34Zk0mAOMkKrgVpPnMjagGpQOiUbpAibDwBre8kQphR2HFiSaiY7EsJIebsmkik4qVfPQjxZtxoCb826hPRQRXxwnIhU1JwW0ltGE4SsodK2cDQYDuY9Hm5fF3g3fNQu5NaWUSybLdBl4o+MHKnnsGRB/PZBrSITV+kJHCUfSOpZESdz4CktE8JGTn7aeeqhuPHC87vmU1sjUIfNmqe3sGn0/U9LpzVSbmPVCIBCcMA/iQupxgY+E/Zp5HK0UcxuqQHnoVwP9vfedURac1YkrFR5fuTSmVyd51BreirqQajo2wqZFpL9fwXFIu71tuas0Azuzkgz1YuS4oeV8EbMnGJvZ9jYpl9/pE5xFtblTmaHY/irgf3j9YD/h1b6HEhLaLUChw2Upwnj65D+fxh3xfaL0uhtIOT/YQPsjLo8PdwzEi8YzzPMZt2vBcaClpx8WXjRlr33Y/hKYjz94faP8a+vBLnz/1BCWEaXDFghq2Lf6aGR/xwmArgq6G4HUXn+t8Sko6uMqRnv4rd9FgHIfIu8JGWUjHdfeNxBYEHug2UQ6odQUtgAHywGv1d6uHofrtRDkA4qELqkotQAtqS7j+C2phdPIeN9OfxRHoYCptaVU7/9JU/ppCusM3Kflx7hhFrxwwVvKx6A2/hfC/VHEkN63w3YVO3/EOm58AWlDm3Ku+5Bqa9baLwlHhGGwReiIlvIhNgumRfxJKbr0j8ekXusgc4SwT5SBTKYivohTELd+jlYySzhtp1cmygGZH7bB5iw9B2HVA62liNZ83NR3a3Eo66/jHWggZl4XHYFO9k2IJvwa9Y3HB+nuGFQLggArtYvhlm/25ufDkEe93aWdDLDszLEKtDORYkDJ3T/UXijX84rrEOU2KRA6GAdPGija+fe9GesBhh0HQSPqXzf+9eZP2w3XUgaEWx4WaESKSfVSM9rkzRwByuekOrV2mqw689BKvEYAVle4C+CBGCnBVLR89iHRnU/eCCwmNDiw/f5/+nqoEVXlkJXNAD2ESReHgj3ARn5GQ9Xkok+kGO3MDVqcZvg2sRmXoH9980tQ0rM+bffEjRcfKolmCOfkEP2BzcqT/2xZqnuwaQqBlZNvYvEsPe9aYCXvZygF5PAfVmnZcfbpzirhnecAxW1R8r4ahMPhkfzD1vYiNG9CUp9EIO86RUdp6ys9FyrxqlRZXp4GDxraP/T0+hlbtNrUGO9bkZkiYB+aHcfRvWP/S+7vB6tS8beFzltoGQKqhYXXhcKt78QJkiNbFqqXele0Qc/d2AnkEGw/FLUzM9xc73NOtTv29XLyEwP6ie/5ExNDeUBLp4mwPC0FS7Ctc4HqQUSQpdyY1fJiDxvGgVlGr1cGxE7XHprx7qbSjx5jS7zzQkiptRurpfX7igi1meiU2LCCjp3BG6iasSYUB8i3taVvzSsIqy3OfE8KIJvhs3UvPQEyuqZ8PDQZMSNYBTP5h+gPoyAfiEPIO04wzWs+Lnv5+gClPAHjAAuI0WQHpFgGCjzIVrpUdky3h11Ebdm3bGtTCVzBjAU7KJIFSoIo9h4qQtENGAnbW9mW6BNJ7JZ/Wv8qjbZQiZTdBcpIp8EpqJGbrS5f+zXIyErAeTedkodIEy/BMwPXTLj3r9Gh3ZifnHx6Pwbx64yR6ht7pE+lrnwTkmjytNYKs6EFli/WI5tdAt/4inJnNLSJb5Khhki1QR8F+Xid4AKl7QhndWye3Q+EvsbSdQEXcMrtD2fvi8iR4+CKBljIIeZnTWf08ZB9ia8rZAzQbNQAl4R+1Xd34LbX2WK4tJSXBd0KznetqZWDjj+yqu3Tm8+rmin4eZSI/WozXU1Ay2xLMjIGdMPT8/sVBaRFKNpbrlvH6csao299xk3/Im1kpr0ERpmmejwP+a3jS/0cY2T6Lh1df+Q2/MWqwlIx8RspDCGQWtJbcPO6PewA8S88iWZWBOEBXHyOT51koKdyfXmit9FXJOEa/vSIZOwuLBkDAJCQHd9uQj9jbD5bxrs22v6vBl32+E+CsZsKULZ/eHVpKnw9JbV3wkLFZ/Su+TVQM0xwROOHOBGO6bWVYOxbJFVhhQED2yEkYMO750NP+jO1/TsdNiXX6/9JQBLYyUQzu5ZHxp4JTALqYZEEGBB4uDhkHcMtLZYxWO68CDxJ+6M9FIjH5FbFzdHCDu0CvP3WhSUnY8fmxSXHowqka4iZ8yvAdVHC1BM9DZxg2znyWQwQKGfF3Wti/NBEmqtOvvXwEX/ltzp6et2jDzsFA0tu1QvsF/Yg6zdjSm6wf+i96WBC+/tEItyHg4yvxhLrlafQslFyu8+YmlgjrcVWZozRcPehJF2dKVwBRVI5nO4/5iJgdTYPVjPbQQ1KAJOSoHKYO3owUzAwVgp4gHzZuldNsS8iQp0pfYSNVFriCqs3uA7iUqgNZ9PLkApcm1vygBw19erbmP5ToMsuNCW9BdBUb7910lXWyCBOAF3xIoLIfPy+mkYg8e1llR7b78E08kemmTgvg+ZMU/SQrnGXk0oKH0ccggnAgerFxDrJIRF5Eiz/DOppG+kjDhR3eUJYpsyY7DDBzt6AS2iaXy7+8tdnaRuoIpS1XajmQK88sn8FZBNaRt7yMih+wKXyHoDZ8jANqSWRRVW3dV7ozmEv8zdGiTrjZ31vCC1xjFY5DPVWup3RQVQlZRs4Mm0iNKcwVXGKR5hA8NXcfFvc3v5hQdx6+CaEF3hITccBtZJW0EW9nZVRjBljZv5/U1KK6UBHH9a8vSFEQ/gIS1yihoDHdLAdxSneS5nNUn00ag3xzH49ZiYf9nJ8IKgA4EkQAwvTs2n2H5EX9ipRUVvz7Fdf/9MFF2Q098cDncEwSwccuXdtY3spqLqdrj/jJ0gDFUSNza0a4EDq4eStmWfLbOE/ZrlcLGKM6K8MCQPRgzQgLY7HEfY64X1l0ULZ+KVDVF9zevzOkS8M1XsLajH5xxSAeKCQSeo90ocU0C5taMdgjnBtkv7QJ4Xsl0KO4HlmuZ3JMsqzy3KxdyLflB8QxWKPMfdFdFF7eFgLwICIqm/TbZzWnBsoGcFT/kHxIvawkUCPewoxlNqpUcqgLWFYbjjDdB/J5eZY8GmXZnae00Oxb3y0ceO19z1pgyQxT9TUPXsrL9qSfagjruKAGIrtMxFMulTCjUKnaT4sZ5G7iS2ewpqyN/He4d6xg5/TDh29VVNb7RaKVsBEa6csXdV7RLFctMVoF4WXT4UexnJ3hhJ1RJeCNK0bbsYAzQyALuxx7RkKTog6H/jFURe5cGDiJqxMWhQgFyeAyhGJ0XjqmZpjpV/+/MmIdl6CpLZu+yb7+XaT4eSYgHGBWeqq8anRK2bceR4GZ1T/LhjziFCDCZl1ZW1v3unR0edwLS7KRFCkVWprici3O0QOE4zu+Nym5Kr6YOO2SYfwqwcQ8nZifFdDbAzedaHGPloX3ef4VuP6tcn99S2Dft+JQLRyHohdqkjPe0Xq5fBWFcTaWDe2ceze/TC7w5OR2CnYSPTIWIVk2RWtqFYXvDc4qaRlihjuy4zei6sc6n1ZbpTueFPseK0Ymv0orW6rxgERm2rGT82vZmzRF+GQ0H8iuEKayD7ofOOV13vOBGZDb/9EdBzxo03u/2aPqMJJrYXNo/Di5XwghtuW10QyQqUMczqyhxeGXw/nwrCUa1sbL8kRcNqGKL7S+WIPVOyJnnYzXy6tFZVq+RF6b7VhT1bh9etst23QbECBYBkFXG+s7YR1BmBOj9a2yLvB/YcSh8YFzrWR3hvVUgo5jluz4IAQJc32uvdwbsVxwKcqc/nWupslX+l8eGe1czpgLoGr1T7qLrdSl6SGK9NOM5stwOXV8s7PtlTKmYkXEgEasgbW5fchMmQM/SK2/wOrC9Mx7THvvXiEeBvrmwtdQXp7uGDfoeuTc3Zj9vji6xGNWIzmjRzJIgPcHLrFtp2AAZp/nLX2KKr3kRgxAzm9eBVCN0DhxsSSZ3Y3VKCxsNYsxzxuJUM578fdJXVTkE+LaRQm/maA3BwR1RhnrSdnO4Aa3DKSfYy6jbDdAoxwi7DKB0xnYabn6gix12VYTwQCORcTFk4i42Llh2A4NIP2iU6dHL1emRIFTw7KgYF7hhjkBLkrMYGcwHWA8JftrbBcu+nI83L7XaAp2Wk2/6tLJ7s9XABxBAvvBZVUE1fRgS1mDFwbhrCdmDGkuY4FfNa8zoWILzTyediRgzF5040WjxLZgVBu/OCTTkBhNHlQ+HoP1E7dgySLGc3tHR2v9iAMgztkeFIt/lD6pZpSGwOQISewshnNMooA02KOD3FTkDz+ARcGnx9uwyUf36WNqmfQWUCN2urXbZ8uJCW3E/PuhJKQpEEkiSCAdsd7cJbvpbbQrf11OjamLCFTbDR03lgHYnfElsiECODyMU3GwZ0/Jn7kKcJFrj3p2zLy5pRDzY0btR00+6U0B3JX5mpqB/gVhwnnNnhR3Dl3BizRkTymAKHWgvjA8vQzCERnbw//ox9wk5EXayf725uWgGs+86k8Cs6Jk8xSpYGKu2unkhYKjJaNtQJMvaTvV8CdeNk1YM6300LmgV4TKWNvxlvtUD0rJ3Z4T7UT1cxZtJzAoRTCeU3wFA/JctfLsnZXKI+6zD6Ougdk20EstCk/a5FbnSXLaCC45h1/sXCLE+gka0EMIW2wv+I2bTo5EikWbzX/g8L1xOhv63dPDUbm7YVqB523VcEHnjh/PEEiJUzTYeHWy4YpATwmur19JMy2vkRS86Oge+IzWBt06ZJgjzR10IFJyaokk083YnDRY5OkgcwGzNYAXkokvWUIe6myFwJcU3YBSW6xLDXyq/o932PDOxtkDYZXvytnBglukhbqsSrQzScdlQo6bEDXRVjyX5o2v5weapfBb6JpzAGqsHmLFep8wuvRnMZnfiW8gFfENqR5nkKNbwRRROw+M2mEmrSquOq6j0J8/z7qjoQ29yPBljBv9CnS+joWiTjlCQUFn4oRt7MwGG/yN7MpvNhpWT+s/eNxb/MA40VW8ZQWGZtz3pcPX6Z7W6+xKhMQ7NzS4LngyN3/qx8prjzspxHCMDcvseSFCQ9SJA5yGxTTSIi+RB5FK/XQLYgwDJ8LHx54k1gnLIcyiWePscyyYaQJUAtIIujedEc5hRtFVXeShGOT0SDf0vG8mmRTWh4kNUg/8qgnMuuWYLznW/s1MaEX+2ivZCi+aDDC2jAgGrkR+RGb1HiI3ssaDbWuHnCQdlQ1iub2fSSoHBhVhtUaniloKydRAPXvq295J8BUNU0BPWQfK3X9DbhfzYNztpNDvAJp3ea8LJxFMiTQJyFjqtX8VZY96aVVk0sT/qMx9a4OODic//36M6bJQGQSkYvN0f3qtihZqf2z2aWt6EPQ6wjvGACplw6ir1d1aa17Z11B76kKRPzAJbBmXYd7Tr7Xoi6JhS5wsNJH505i00oJZcBMmicKNBzj6VAEzRJ6J+kx67ohs4O/qDD8u+5HokopKb5ViqOMw5LRYg3DYnwk9ji7Nt3Qf/BCPTxgq9OG9oltWVItnzN8LsVskWB2j0ZI65sV9fUO+zOFvbbWMrdcrxdkL+exlkV9YpUwWY+2T1E5yTj3jem0tC7skLdkpalCHSbo5N2X/ZZGr+trSjDjvxsxEZ8i9XUFK9KhNYI2IuJEEgb2wSl5dxj70FkwGiQsGoQ52+PlzIWmPZLNCWR5cdwg9x1s9wFLYGUWj5enGVNuW8jtccAW6TRyDs4YfZNOSSiC2bj8gmJSClu3RT4n9I4ZcAfjMSD+6Gi1oXutJbq9V2X/J3CIA501tuNiERH8uy3qAk7wcepgXtqUPKs15c2OxH55bWpL3lwZ+FNe8kajFZLpNToZm672dMP6j0JtJji3BGySWoNF4XJOZflqMxQDhmaAQQ56pE1NIadpr+Wkvv6IaRPZV9ygu7iV2y7eIFZW1mveGsH13t8hIRdGgyf8eoGeVFuujT/DqPBRLmRpW+C0N/XIaMVDblvHPGlesrd14OGEhnED4uCpPxPwaOthcjtJ2ZBnyftQlso+I98C0++WYwW09KCUTQOpaGyGjvDzcdF27nH1uZezUyGfTCrkp3Ps/vGoMJeS6A5psx39xnmqhE/nCx2bn1JD8Mfx62x6wlSXAhzeGMrLuCVmLL1Bb1hfc5VGbK3s0jYkfwV9k4xfbP+UCc3rZx+m7kTwWa3EcZj4REBdr0VwILOcUucTfRZur7OAoZn/uAn58Ie6tm6b+4aZcYYKwSQtUVIkwOUq/9UqXXJHnmq+Q3WzL1T+w4hdHPCw2w093O2gbXMzDLsWBmkGw4Qty+39lWci4tgp0fb7b+zMbgnce3Lr0gfu8GRyz61u4Ju7/lAbX04+9V0w1s+T4MlrFbHtx1APRhDqVNlSGo2QTyd7UMXWdokFxgheS7x5ndhsQB+egsp6L4GKiKEjuQ0dK5EpbQZAoGPqSAxXmKVBszHfN0Rq80EPNoF5pbmTAZEnfAHJI+SfksImoY7tx/kkesZHpdRfy9FrCZYB3qz2FEAbfd1i18035UoYNx8cpISJJKo/pcKc6cDD/j50boz+wAq6GwBN4e4VlrR9liVcVR+loysd35kZFAR7G9ib9i071+12AQeBFndYUPCaB/bAdKfT1PSWN3IlTl1nsHcEC990HJYMDgME51FiV3loHL1wCnnQNEaYXREmeGhUnE8BueKtFKIr0A5BcOz51O0TUKf4wq+2cdt7pQd2bZiKulLSHU4/gLBmS1BRJ1Dx+Q9ZfICFJKZB0zK0Wtvb/xfENspnDI5HWAC02OJrP+XfDWuXKAPCbNCJpr3q0rtBPAgcHuf41sJzZb2JjTHIa56873uNU9jxEkNH/DZzxI19xmRqefDMOPjwGygHgApNP2yeiOm+FKIPyoUnFciIiLlAO3bSdZ2FRt06ldwYdq18RHQCXUw+hJvApbgVI+YpnACLEMSLdm0WaoQpsBlLFigvYGMUYcuMM2i1PJRs7LwT6gHvc+wV3Fboy4l5HiHVPodVsBMq+vC5pXYegPCW75FNflKRGaHFjZid558EeSM3JIabF0wZbc4lZq01sVH/xaF65DDhdkPBW2tD/ZmB+JTOf/+Rn0l6Ry6j1eOaid+oVuqRU9es/He/CNTSYbBCmdkABmqg+N4VZa+Ad04OL87TEM9OP54EmlYl54sOMMiAfV3hyzxGL1aV1NCIrZOUCOpFtjLQdayuOcMWkmuTPSaSIYVxf0LHwql0AdTBAVImNnpfKFFo7z+/s22zObtp7Yq/wJ2795z1GoQK/0SbQa3/oMDcoEMnU9zL/EP7vkpAIf+aGtQzYaQ5hFJbyqoHP8K6CUkPis7SadG15/VFQYxqQmX2+DAIAd7yFfBb0IljPOHMRF+g6WqWEI/EnjP+M8qoOAGje9PW2aoi+l7il/SFX8GbDW9GTu02hMnep95pNvK/vbDJr9jibI789dukHUAVgKV8PAlrwky6pKTJRdkwARHaBlVhhWtCFoalBQxdHCLcHFYLXsBinIO0ulv1s57VAXSUo56nXLLZGfiAUUq/Enik6boksMXs9ieOX/f0W67NtzMn3vL1SvjSTsO/36O6sOQENUkQaQ7ajK5OEtucD5fTPVDeZ/hQq1gEgrB/qQZd/HUA49D2PAc8kljaP1iChzcIGFd6a6GwqhEXlTw6RobfNptn4Avu2/VZESiSWYHbjHsZ1z3wt9iVfcEtiIA/KCVXc++KedytNVPCj60Sc+E76tfBRix+Z3BPub+gclI4l2OiiGZcEgAYS9hISMJY87BkVipwi8FRPj2emEV/qobdh469Gt5xgitaO7VX9Dj7NbhlwkAX36q/lmU3kMRX810BXmoQQBEZUiBn8vK74O7j+PbiW9k1oWung++AxUsHadFp0uLiRo5wS23Bp9fGudpD0/q2DcgYIQfBXgqypHObJI77mbO6VmN9/+07rYP4ltXolh0V6/n+UOItf+EZ5d2UV89Wp1bc5BdbR4tA6F8/qRgqpZVyhtq0xfjrCJilnCNu/CjM1KkVZS09PksWBNE592WjNPbHhWgzu1/8Gjy/sSj8XiwybPfE5P83ajGos03cbZ75Ra2P7gWWHSmkuoeWgE2VjwI+4GkVOD3nnYo9EECkPPBMmAwwxam3ghRkg0Yd9/sGhS7GPieco8R0oq+SGbVKzJyBLWDs5prRb3Q466k0z5kph+Cieg+Gdc57jK8IzlSa0pDYCKWJWkswFbDzeO5sWTmAGImuo7NEX8HvMZruzOnYAObw4uw7eaMRZxuWL45rZ3gVX2sgRC9rvTfvzd9ZCuV1AV0+CRulJe+ShtiXY7GSljlIXRk8IuVbFggMReGlCMcjA3LDoLYb/1Ubew0oxcrAWuEDt3+e7Q8bVZukVvSCi3VNMRv/888pNpBSngLQlJBVidmEu42zFYxjyJgziOi5EhPvfe5MVsyXrlHCR5mZIoKuoNowVwM5w+6pnb8DOpM/cvoQsU7gA1hVt0QhsNYMBnbBMmPnqaWyQlOFzHzjEUXXxq0Bc4tVt6VdiRPTaWmcYiHA7oondS28FQ07YZ64aIVGoIioXH4z8N9dn+Db+eAhDq7m+IPFw5vOUsj/5MblfIfkUE89DDmgx2jEyttrG4Y3AvQHTLag3Qvgb4oU3JW1TE987XYRZFrDOX6llLCJP3CBlJV52TKFctV8JNm/7Q1CxtqfiASNPC8nh6kgFi6YvGNRTZ34aw2gAEAnkFt9qY67iO5SpLKcg3/dQ6edju9888CdoMJDcbmdHiVEZNW6g895BLkXkGUePlWvZ2GwFlQj5E4veoPrgYjzm8RgoebSgPUO12JNKXoe/pXonzB7GbMVs7XfE3BClkTOqiIMls8bcSISwhwdaqP7oejr3+Q+qjz12dP99swn6kbIXnlls+0ejZui4SQN2v/IN/1tnhijStQzOsHq6kNLxL11FG3v3xjaAZVL9TybCuSQ1aFg7Ofkf/TmapV7wThZ2oZfgavolyBoBYJnY9Z59u2OhPKWSy6WElGkCCLj2FT48rAREJ8xqOpvxVHVacUWdUzczWN7u181coOyyyKY5EdNpq0G6Px42kaHF6lt6riX+HZ3M0BhfDU4/KEZO0irr28RSbxcRQ88zH4ubnS1k6G+XXASfCb21t5Wmun+jMJjSAfFg8YT8M3SeCXHTO5pu7sTDJal4jDnvQYBHRLrptqCpSpkJbJPSl0+36XX89xsoKDIvdAn2LV6wjSsLmwkCNq4pQpWYjD85uQwRViBiWG3g7NioZuWN/7ozChLKmIo8ic2uyUbNeOJ7QfIqy3LTaCV0WJrsZkmqzl29nPKrQbYWIzX2v9taVbDrwQtQSR54k0Gi3rPJdNpKgPtH2Z5PZ84MX4jqcP4DIqPOTdRG/UWtlO2EuNsaMrtOBde8GEyzjNRdHKujs/0p1fRVjBfQgUGjjpFJbDrey25a8E6MDx0JnWSiWs1CSmX/K0wUhT/O70izzVzwRZhxjqvKpcH0Shr7Fxeb4+yNjRy3YwVSLlt35vrZgrRCotOdcGEUTEzxthv31dbutf+M/+mYnotcX4qV2NGFQ6LFLbqwITfNPcjv38dZ7jceN3mO72bczdOSGkNl6WdjtE3BPENGt8gG2thXJEynZZpUKPPNo//0C4UJJFA7NtAMlQ5XfLR2JSYwFxal4F5waXtD2uUw89MC+XzC1CQ2a2XJIMBr9wxKAYHHRd8UrdgZEkOQKCqJSyWMQ85sT9LHCK6zVQywqZ94n7A71RqSQjytozOowLzL+u++fKbOSvnqeaZNwfuGMPhlXV0F+ofPf4NfOyoW4+sojDGwbgFHONwtSUoFv6FrRqZH/umgsWhrvmnb+DNVxmetPndG4cChMIYGoUKncf3YFCtIeKJfyH1IKXld8ABgL5nN0IalvgvCSSSFyNbe4FF2yMaHDJGsNgz6s0K6uCxKasUNB49y8G+Vh6m17hyxPGP0/6K9EJLNNHeIJlWdN06Ws3dZRJeUdRDjXAPbm4Yvj8Mf4EFperIdFZEbuIaANt8jYDNaeTAmMK8rUHx/vm5OkDyDqcq/sQQ9WrEBxILBqpPWfeXdOZPuyGHe8gT8xsaNB+P1E03BtPMuRcGLiiq6InKyhfPi20AMSHVrqRnpVPKhkHhuSkHw1NsL82lyl//BN2oe4IUydQAuyo+S5wVB05a+YFuISNWfG/MTIEkIkA+ZZd4EZ8XuJwpcEZmYQhSTcBNEgPgK7FyZdK8MCZZLUvpVwECWwZZGaId2+OPitTr2p3mtDZC190SuqzmqOeis2kNNi4xw0iyThnTMrGCbCcnU1MYXjoxrGMoYMx24Dzg3vLxqLx8GN7A0R8GrYOlXp8zUkMtl591R4piv1r9lBIc8f6vFWC60PSe+UDdpoxfmD1MIxfPvoVEIXbmvbFrL6BjtSx8ybaRPDZDkIq/PSGhgC5ossFumAc3i73uux+DatXHwfduQtv3dIhPHFymO3QZ9OpDqwEcqPDdBIzOi7lT+qeIlerO059OoPcIk6VGQE2f7NzYTYrwiStlGeoYg7ODbmpDzRtN1ORccF1u9dAltuFuP5EO6lVqz4Hmh8+SThSlVH0RG5Ik//DtBtpRYyR1gxCNzrTtzSW2pE2SoVvSR7i0G9402ue8IyOs4XpS5dTVsrNEphjVwdJif9aVO0S9VRqErZ8QV3ds5QDZbkGT71S11X0WQfC90vW97PCgLSlN2U94l27Ki5U4kHKrnsH1uNSISnGK2HnTidQdm4JvyvfdM83i2NynpUK7G5gZC397SIEGevSXePIc+OEQ7Jq6ISFyFXrLucsKzQn6yJ/BARfNmmqakbCD3pPMRLhzCn2DxS717XuLpjMXbX7g4HQvn/XaXZ/yvW4iYnmlYKlwKWRaQkCeHE0OzazIVmbz01rU5ccxbbqOE4mo35gMNkQ+uadnNlDlIbVkaTomblnxQ/wEezADSEqVbCF6ysHIKvzAMcs3gnudhnQuC3ykYCXBmgUc8O7CFNfIyFuB3FSn/m4TvZNNLfJ5KXpA/+KjFFo48Q9Spw06lrQAqMOulwillJY/9m4hzQTEQNAknPfrCVqx6vXkfgn6ZAez2xqGGEakyZjtvrcpmMy2xFHxliOusXrnbHhSmzVTEnShWjnqoY8FE/Zx8vCNkltnG54JpjHTXa4iyzAhPOEOzveQLG57Zq1Ls35OugHs5C1AHZx85Ffslw3Y+lsTEgvJklT1+jKxELSRRscQOWptncO4rOLjt4Y2EpfFP2loiX0nuw5JxIMb09XuoMTzOGm6ZxGHBaBkj+nnsA3lFxtqsmwAAcdxXL28h7oqgYz/qCRnEhZIIMsSNJOnc09H1+X3jjHttHUphEIg2+8FUOUU07i7Jz+I+U17VjKeBDfQz/yNXMmlIVwRDRRZr9YxJF57a0rDQTY5sHrMlA7f4f68yJ4pu6cf87vVWQ7bVbm0X566fB5r3Jia8LEiJjb1oQat30Z8Q7I6sMaWE71vYT5UZF6F5mg9nPnWUTrlCrLNMkesHBZm0wkRAVGuti9vEkjGQUW5C8ws2W3IlMCkgaBRlG2fjXm499Bj8mzZ0J1M1VxeEFJgOgzQ0FpbjSj2pHa+Ihkd2OAWrzqjsV6B8l7pTJ9Jq5xlP/3+N1wXsQ9rN+f0VqqrRVAbjNel7LxchWG/3/OMtj617z5P7wiLwIEsLHSzPqKLj2/QU1oxm4G42R6vvQSCoktP9TmTWMQ4o8FmxM4p+Gf5jSSX15WJPvv5jikoY00NxBCG5cGAqdv9gOXakkt3AZiRPSXjBH4dIBCutlT19SmcWpsjCeytApvSG12bzDpEhvvMdrefUUUz88TJHsFNhJgCEd0/jD22NT7nE2YlPeGGLUKVJVuW9HmnoGswjYsul4vxuXuNqGlLQQtGnO8RmfHSU6b1TUssudYumd9kuXm7nPHEtywhWEl8OmBSxbBCxcp4tRBIfVwXEnYcZbqK2isR0vOJn2JpM1wIj9FqitfffF/sAxSFDfypwMOXU7YFofu4XQl3TpWIPUK89nalM8rrD/ITOvjvRhgAM/QSZA37Ny7VDP5YW1BpmuzE0c1XOzOzUOnFwjktqFFwd4fGVrsNlKyBLmKzBAXKrn7a/nBoTj9XSalAnVLxjq7bx1Nb5fybPC0Heldw+XXuun/cWHTVBRJjzvHbfWxJJW/k7BkGUn54ZdBjxsEn7BvAzW/zQ2N0/A7vfNcvCFs+Uk6RV3jbMKbVMcxIUPgi9DzP6s2F93XhfpOrvghVaqo+TCTMiNHCesWfTQA1usPlQ9DEdXMmJsdcxFDWmZKC2yiC8mlhOlQTYjvxFVCOx3idYmeAtJEhKuFdsa39HpbpwEx5oaPgeu5+6d3W8OoTflK4jT6qDIr3qkXIYsco229QlgQe4iUHNAhRonj4AvjWYYTvkXaLNTPEXki0tEy5JRKcH7Gaqq6TKvCWnR8LGwpIV86wby1A7dZ1KjMed6pmhOKxjvy9JVLrp8Cm1zQYDvJ8Ej+Dbwk/eSEBTr4aEfZM9Dn6CTCRSZZi57OtRGnZO8R+cYjiMgTv3td7cBcKK19RtZPXturaXlPso9aIxTHyKGHBvgT8PKUvJbFAoAlEWhadcFe/jbyNgaS+wWXaXjgxe5X69KLzJXYy7SdL4RxAjYpBRAyzk6zlF3SO8GwPqDth+u/PI+VPY5myeoUDMqbHI7C28OUqhagSlsEeteCOMu6EAsTusdybfxMudab6eJG+LTOvHq/tMVuCD18cIXtYQONDozptmxWs9p5DJ9V6a4mGuK44dj5I24XxKNSEqHBx/Oya+BKWb5vEBUZHEflGBz6Us/8aA6DX8NC29XKUrDVVCVBHBMBmV+E5hJgb5NCnyx1C/K4NqI4xe29ev58NZuWa6D3SkQAVJpuvAu2Y8b+QpuzsApdL8FtRXuyznjx9Ppl7KqPRpDbzCYgR0To3nAtPntGrsqVMoTkM0NZhlZyGbJUws0RUO2AA5LGL+Q3uOFnQX1prKFWniKjVPxvDw8edwEw7g2fvKpH0zKhOxRKXOVdAMphlE0Z5LD0lIqDEl41FuLWyUEsHi+Koo4UfuEjUuE5hK4UOesDnSFAbmKXKBwNc57j//MKn/xUVnQ08aeKY+1JN2xldOuSBVnxxPMT0J3C2XTP/kafLE9WjIFsgElLn/lYlCicU+Chx0ldmv4+GYY69Mw6ZT3lMmyR4n+mc6n1M7DbJe+q0YWK4Yhdzk9kHQDxeqsn3y/dw5ouwVyMp/dxm0MtJU9PCiMmoetoB+tdTvXMG8hunS6d7ZKnraJ5W8d4HRqtjuXMWinSzK8jIG254S0T0xJmjnCRZkRMYiIA6VLPkZcf3Wvrc9SWVBTeMw7jCGszti5jBFjFEXK2wA7Wb0gcE2l7+aieoXyXL0lpQPXy7JKntjZqAH0JZ1U0ZhQWe1WWRhcfkOT6u2yM6H7iOLHFh+ulOFzWWW7X8g3x8+jqVzmmZijKsYL6XHb4PpW82aMBkbYRsod7+5Upj1rh8lrz7Gx1Pfj275wC9Zh4oFfFSbzuzgkpYf92i2jFL/A6Awy2IrSjf8wQfRBABMLcM18RM7LrE4jK4/DbLoRp7TW56i+CLcNFlCLAZvCL8LT541tthSTP3x2vKUYgDBVex6gVVx9kc6arDGkxNWcn6CwrjWs0Dz/qgTlv/B9c7XWwEdgHySyxeiNN+eaFnFtFBQm2yKD5Ba0ol5+Uav+1zkxVv5PlR+d6AD1MYrt6iL6HBR7kuUqB4VU83OACBcvqJo0JLiC25QntuzIkM9ODdXSGkkgrsYO5qlXddZ6egWqY693cLoV6ufU/1I8jB4SKRvCdni9tSAfYDr4tBamSKx2W5Ocvn1Mp5Q57/DeG7UZ9iH2iMS8UkmCD42x1b6fmZTV5/kd7vNxKGicMkXXsRQvdUsxB009iDGz/0LOj0lSJu1v9Y2j/2jB3tI9QupUrD78ymZxXeevsAGqRiZHvolHiLWuR28S7iny6qa6uw69QKDXwfznuGzVjHg8jO6SdotZZ4pl6G3kSpdqLl4oMc9ppvupkDPAv2ErU6IARLN4ywXj+W8rqmhPXh/Cbqk+m7WBJ41dqxUn+HQpyzxnxi0n0GNG875zS2qVSARuBxoPXcsb4q9GVszRBZeirPlf5Gjn4YWcTjE1bJEXZOn7hNMulUiv9rPuMbrL4osgLDkKAr0wkbVnFhi1cE1mYn5lHHROcBShvKrnc7lTZdunl8GXRfE78yNswU6K01jvbQbkKuTHAhEuUzoP8F6spUZn7pN52FBUpH6BXCT/tek/69aBMvC/sLm5ek/2Qov6B4Mxiseh5+6E1gVBXitzzObhZkQgbt3d1gQIQad5SxPTcTcz1iWLwdPH6pFowdJxnuWCSGvSLVUBSDJ6q498vfA8yV5n5pbkVP2jmD4+EAuZvx5ddVlS2ElGW1KB8zoFEEJhIuw1iPl64iJpEtLoJyl+IODU3L7ofSXYunuc7SUOnNMz4sFb2MKsBk55+2nf5L90Y8WRtLWpfTUyO7c86e8142AR2INfVX88psOtEiH5M/3uZ06/nSe/zC0CDLCGismpEyr/+W7b4r+/eXRi+aVJ6Z9d02oYrOBPplyjuAAZCHmhRlsYjDy4aFhENnce9c+vfwK2ub9XOV9FsuwhJ+cEyhsB6aVybFb7meuf7hzeP8HnFaRFcxkTKJRuoiqiQ/A9UawDXIu0H8m5jQxXVXr/F8so/8BF9icPRroV00nBlAJWd1IHeFd5ioqpDcFXWmGJwXKcjv7qab3fCCUM1ftHA8fxvRxS9FZyqtmY2v+JxVm/lrrFAKsR7ogHYt7f2Vpl2X09nRT4PadQxLkJ10VZLF4ky1hniAUWjzM00SKULge+jROREypTcHRjSelY18XE4ElC0qZx5JJQP9BxaZG9BxgD+YCE28XkjCv29EEeyLfkZ7xNjSuAe1/Xc+o7crGXJUm4oqfyhdKI09nfXgGcYQVu0Rf3FdmESHB0PbT997TUdv1qraZxkzRajiZc+2qyywdYxhasf/uH/DiBftYN/Tv05+cy66+8CiqPBCjZyc8EyQSpcV/chJN7jIfBNPjKWg/fo64cNDMdOpjiwJ9mD6H0iFMjPFmJKorxrnP6oymonzvPjPSWL7kj0Up7GarNJDOEwwNh+IG2/NI0eccxeMDYviE1g4pA8DRVyQ9v8aMoPyRU/Ueodj6QDVf+gNVfz16IPzuCIOx+UV+1hjQu1/65EpQJzUF3CYgIHLOwju/mLQF+yHCxMFgo0FYmSRIcYL7+vB74JXoYXiQ4S2YuSdWlyedIs9FJB7CZBvwP0Ldtg40BmrwC+pE5bM9oP1S5XxupLvtfluoJqyrFZweLb6WUMtxY91aM9WLbwN7n75pn/VXH9Vaqa2V5GDCQq3TSFsxhjHib6pd258SABi4v6xA3yIBP3jxGl67+vQoNqrGDQ59rz4r+26iQxxRuPmaWzVOPAH6AyI74TNSNSMhwEgziMjEtBB89gnllwUEfN7FHnvgH+ZFP+6ochXAC+Djve8vWjbjGCZNS1QeoBUA8S3RTYx6POyn3EMH5VXzkv0imjQPIFUR53mquwrZHroUpTK3eAACy71Y2ONHBXXbrZtOATuVWx7ok7V4ud5dySP5Dia4sHuHFD6xgsQII4/nWFkNv2uIaoCVs8xj0bPDWcSVmp+6QqfCjD6axciMWJjoST3bHXzGMA2mS8B+2dIMyzV0faXcdoIx6BiF+dWKRrS6XWGjaxXcE4iD4EulMB6PIiLhhBN5mRFHwpyp2BlHcyYX3VA9humXVL6gkhTzoS0pRj/+uh44JEzwHlg3JlM5wzGmTNI5+g51OfCebLNswx+pISX9z/pOTV5I7jK5EaTG0Z+D6cIYS6Aw3LuE6NRuMPusFSwCWaQ7J1hQkIuNCzb/EGM3hg29JdU6ZAIqaQPm1ZmF9Z56vWxtxVCEUIQv2sI2X0DzhsuOOdc/BMsauReAV9RYG0TA3JMC2O6CKB3ubcWVDqi6reLg3bnXq+EGSrzAqEK6lsvZqOsqPa63xK14wGg7efTw4enzNRW3vD69FLeIrUCO/lfZX7AAAvm2r5M3gJbd27VBmUGDu0A4pryPD0X7X1tfpp/tvftFJEcAFlQlcxgXsMMWwMIYnvLCC+PnYzjWC1iywYoj05GuK2NpP8EBI/cUYhIFwpAMq4/yZDJpjv6f88vXxAZVFvMMb4V1K53twAJM2IwwTMlCRomHI+vodKF73IwiEFfhjxLetA1xkFuoOZ/cKBeSMdWXTG1Um8XMzuZYxEa6nkcqxrtEzOzHEXmfZEGfs2EgOqYaQGy+ZtdUNjMZ7+41bBohRy2RszrZ3c8d0TIQdMLU8zOi5SO14Y97JH2fqOWr1Zn3u9NLEAaqOYINcK0rNMYdolPbCLaUQOHbhkmDXdq3WA0iQiUWq137kvg5jk//u0cTloSz96/ajOeFdzkq4ibM8FDhKsHHzn0RsiOA/eBIpbv2VZnrnapvgHvdhMi8izXi+TTd+b2Wn9/AzLUpWjLElWNScSIibkvEYt+k4495MNKBQo12OWF7+fj06LNP+qf56HXXaPHw8SF1Sv+B08nFmdUSq8owaTQhVMnQSMqsODObm2QjLYqGE5RqY6Ebmv5V/AV0Z7WKuls7745oJbHDh6Sr7uo3PPY6kb47hE9nZfsdl2IJllB4outIe0Ow1z873pZQU36LHC+OX6HhmDCXPY8Kwz0tfEMsQ+2L0KbPuOh/BJn0iehAJTk+Z/dorhaKwhjm5nQ+7tD/vLz9H3D0GbdzKvX8jX0bT9HZRb6oneS3o77RFNfMI+ml8x5xrbo5qE9eSANg5vbPb3wxhD8jCtlP+C/1cIaro9DE5/io/A2C5+4K+pHLaYgFXr18HCg555yOz28VdtY46uP4sOc5pHOqffOTA9H9jGFz8ONqb2DqFQOV/c3UsD3I+fRHY578cX/xJkb0MGfy7s47BpUZUazvOl7OS1Kp/fQwvxlmT9RwPceh2w2PVdrMd1Q3C8oPKsLtYZAUZsihIAko4Pd8BSQHjhpn2VAI6ZCArW/qRdt9lKCy2/MmeB3g+PAdkt1PR0li8JpT37ezxgvt2UpnqQBZmIsi7FkvCggF9Tuf+iYwq8kbJ8P62JEh6e9khRiGZ1daLpW6RBAo4QMJjvMeziPsNc2Kp0ml13ECg2SWpHxrZD7RTmAkIlsMkS4uvDpXh0PtvC/GvtbYs+FPp2h8419BuTOugvKKMGOuWMDuBpyMajbxU6gr9FXXiG7bgIADDOlksLZ+udUeH38mouH9Rfh+Gs8EC9Xrs/7Vszw3z8IluZ5uKOdosJKf7z3d1batf7NP9OzQI9kXI1widcooZT1tTp6f3TTQt2TUybXCatwd36XoDgCvCCxYhijpOajJ0cNyokl0DllcXNnRUmqNUiyCKp4zIvfnucI27n9nRjnWgqfFsZSc1HBZvbYhw6wi8cqwELrK7lB3kjXX2YnqPA9KilxVbnZeRVVCvMQwSldvCcOWvkrH8LaFoZKSRU7C72PlUQZh7aD/pcOM7DRY4cSbkmi0iEIBJ+fBa9b0dZA3vlfJCpv1P8OmplsLuOSs6H+w1SZSpQN201wzQb2gcJWjgjvdGIBoKxmFB5lnQb6cF45y1wJ+OdwwMrG5OHusFSuVx9p3rCD0PstHu9UjuBQqqJWYtX43TT3wD9dAoHVJ/5vmwxayM+Bx83atGRlBG64LnKY196nanzSXgYV+Y+kftfVuUoMI1lvPqxIMYXvYjiKoKjVP2oTzSkZtpRpzOcIV3xiyJrUh6UTZaKx/9bPtzNTZYSkYbq62Zb2FgmKkxCZ1Plea+oUL+vUh4nxw55p2GMYgUlERKRbX6mhCoNUmzKo2ve/dFZTAkdmKinP579upWoJy82lShmHungpfELd+BBtAq7k8hxjzxWpYnHAXOIf6/z/OlEM1hU+42sTOAPjibQ8Rg2MqyNMOSlMRE6y8vtsIMuSoMaktMIbmrbaLUMUEt5kRkBcd4b2lKSiVaCto5JIhf5Vtwisoyjqpm5/qNSmzJ0Z6ZKhVzyF721I+2JYqNLIiHkV7Y7akNZFUdXzpk8OiXSmM+KwqS7aVdXt/uuKO4JpyZ8JIHVuoOI1JtpBIJhS1b0kIoUgLkexx9Q3ylsocO9IBqVLXKOwyZX+XcNXlJmMV0mtNSzf0bQVVCszbs5kTi9ZBNudBxwuiWQ+/1Q9S9F0XD/AXzPwTGBZ5qywVffQ4sqHkr6lVPvFz5cG+I149LSKauojkveKGP2ew/cd2lZ3h+UryCrUJcD7yAVwB5Gsc2ozlEMkjEGF8hxdcF3JO9kcC997ii5Pzcw0gqjfKfxK0p+NPJGfzR5O4bErwVYoChJkXZTr1iyE3R2osPnimTR7VkhNnz49CHdZR3cJD6x4czuVZkN+bD6Loh0R/PiPjnyUT8GQS7omeMiRUsZ172MAdlv4CHrN2N/pmg77vG864rvDQbXRRtZsads36qc8p4pB82LMyTLYISAjxo4Fb8HMTQAEXBUWXs1NGgWJlX9703Y+ZgYrrEBjqXMhHuA8nErXb8cLkinRterVgaGMr5K0HZdDik/MpAQwWqjsMD7E/Hq8QNmsgpdP/9mvJZZ6XnPIKFqbrXfwiGodCOaJpmIcEa4oY1HxItGs/h8H0yI6XGQFcMPGiQJ6ID3s2doaDqs3hEQP9P+O6YUsBo4lr7zILUTpSG7pzOcisLlQ1sQUDR42aAt8Wj0tbe2lyMKuc13E4DqIWwqJFSM8yQ1MPhE544nacecYj5kIrlFMZOdRbvm2VTsEcQgSodlFcSOyCw+FsVt8Qn+rLvyIV+iAZpaqjtMiSdF52z1HOpg2htetQAlqyHbtnIN+/ZXN/8LsoD/4V4SPHj4WW41Dswkopep5/NX+Y7uMdlo+qG0anc5kXnZ52hAACzfpDldAwXUkOfzdoSOJnuXkzJRJI+VtBxcwbIpYOqIVIFo8fK8Hr+uif0lhpMkxOLaA3Y/IqgZ+fnD0I18ExffFZ70zYXDkfYYSNJOhJDCvz/XsvMYjkygrHWCGsiKgiUtTznsvjq4tHjBFFtx9LMIgaA3B26EE7UYvu7uQq8PFCCvJqEOBthkZ2/tVL6R17Ys69unIAScuW4xB4j8RVkwXuxfWrHSVoezGl6Xb7J2oLoRYK3qe8vOJxXu4T4uAtQahNnhsjDJvvgtRICwt2ZlbUPBxqOUkKy5qA54w+0FNx9NxVPxuqeTyRyf82aR1zeWNiLhsRhTqsfiHwjPwl/ADnkMcGhSa77lynb2oCXw/TP8u8zmNdNUgrEY6UitWpANDrSU2xrzOAa3aPwUSrca+EDmFq8a01O2zm5IBTmIYK6JVt127W2BKSzLhu1uJb7Q8xoJ6uAbm6re1hjkHybKMYZe8A7EXCoDql/RdspgKmUCEsNkiGQMbs+Y2/TsTlT6qRz2vISNbk7sIjIS35NxzK0bMTYHCxJt7urEjLRdMUOtxJPg3vRC9NAMtsperSBie3vJj2mQKxvE8DhSJKT4wr02cfJhsFDTcO8IiDsshBJo3+IowtkIpjnCTtwrQV4h4Wf80o8daeJ8Romj7y+SrICA6A9l2ISgNOykXMOE10QP5Qlc4ApX2nvqDOhPF+GoLi1RoBQ36WbtO0oGTyjlbxEHl3AEiOEnSmjEtl6JbMpjpdml/5VutZevkmy091Xk6Q3VuQ4XCrELyD3eqo8gqtiQESjG/trwVFt9aesc1MYT8p08THk6CXQGRfWPezjvDwF5jzh33nXFVocE4XgOC7vY0P3hxWwqH5L4r8gxh2p93ggsYDcY4hZJswjtoCahi1pDyAQgmUaMHIbM3ZH9cBLXeMjE6Cp26LBadtx54EgliXGno58fvO7tgkDA8jgOAT2IB6r4rs+kaFGoC7O+B16sVcSjY73RKRjpKE9p45U8kJbf3EsaB9SDCWwNnuINssTvcTVrdH5reiBMEMbLQGY6XMlgZlFYBq+zn7tHofLk3tWxGqR+TZeWYgXACFVVPu9F06cOsHrMRcUABwDyM45E0RgVeAvXHmSmvClPhI5fyqbN/uuyj2k1/8ODRNKIBbnhDsonQ29vauKQna4Hi/D5m4pkI6e4U4+Hh35KYw3YIq6QGB2k2IeVJJiVSy6G1ZhMd8uO0xQmAZMv6znxsesZVB7gu7ipzn2l6ttTMTwqK7EEEl0mVperR8t2T/uYqg73F2P1FHYxpXcc6Uym+2IsKboXbPu9HX7MvRsjAnofyL+pWsa5+YlrHcJ7depMXcqQctibMTriIpyUnwxlEWyrkbQYiddoJ+T2/LAJ2F1QYHw/VFatmBz1krA9L0prWQinz2PCMuzbO72YdNiFI3ht6gpY0qhgg/l2pIe/tfgj54wMN2F5Dm2Oa/i0Jc4ORAtnYinRzfYS+nomrcwFlBviYB53Siqorf7aN7b7Q/GC37iE5JgYXoj+cY7X78NqL4zysqJOyFgoKEfVnj1mHhdM/zpLI9xuFuctUFQsC3ESgWBAUpJil48dgG1V1X3iC6Zfmj9nkSO4PpUGrF8ipUtND7F2lf8TovCql/t6om8cFzTXwcym45uuj6OuaQrUoYjPApgxNe0FBROSr9D+7+cNsqCszNutoFD/uyWND+oEngFlVJkeEFMiKI5ySP9WJChNf5jvLR3PxAWz3JHIWF0JUCEfGrPpm6fyBbaQR62yZgJd3S+TuKkuEyEiCpDK3urncPCd7mNv/2qN4zkntGe+XNSHmgJ8CKxcFlLWmG5M6tRMNNADobSyFLlW+wS30zacDV/P2yrc1CaqtnjBB4q/QPN0abdHU0Y8hIn6P7f0Ss2N6hJXrWR5qfQNCIi0f5XHhTtAf26q2hYgJHT5I7TNK0H9NIRdD4QhY7BdmvStwhShAi+L9dx02uQwnb6E3w2rpAyFJln1iLrugwrM99fp+ce8eoIW0jXuFfE0I6g3wqzKYFIKV3u6RQ3NyB7caQRkRmEDUdJ18pXTDoAa+XJtoNulDM7DBPxqL5KbgANKhnDQFLWL7bkKwMmfIRlfdG2kX7mEAA7A/XUfVnZ+rOCKeVhkW9JG7Rzz12fBpAteTs1lTOdxmGSDIFVVW9xViavJgsXF3BawposY2OGblLJ9+NBW8x758zeW2qPvEcmRZFM7timeehWxgN73i/pfEEhMIA6Do1JDlFF0cZ+D1zMb/m9Iz/FWfoLc8/7adgXe/cpvfkUr70tkxomygXx2MyvbsaHqtkYdbtc+gwX+raBW+RaGMk/4BDQXH5ctPMirtWVN9FM1MDl12idmHSwwE5BseI794qNj7FXEj4eWr29kLIqigyJKq3Lq0uV31pdS06+UG+2xRu2KOEca8vl5Tm4glUycgekgEHetJPUk3lnpNeG520K9TE8/6dxEABb2+pi5O1JF8k4xSAs297XD09y3lqfuBHhOlc0bITct+/p0FB/h4zFfn51LMAONQGiHDTYqJya/ijetW1aCl3zhQqyh6Wubsefrrulz4ZAVwhni/SDD8T8f8OfFAd4Az1WfRxNMOBcwtEuBt21ggVqgocC2oIeFjXf4uYLEWprM3DSiUt3dxo9YC7psPMpwUFj95JEpsZJudNmT+c0FOPojdCQnLjxERngZEwv/FV6bbunMrzpy3dY2JDBVxKaTcTFzUesk2DEHmYg/5jFY8RoOZhPZo1pS86MAqUmVz7sJb6lSZGxnXnvBD5n/LpdW58FQwymJys1ON/L874rswa17eoL8KyU4vNv+AjsErgYOrV9E9yaoFB2q6u8XgIDdO/o2jqvzAfhJDBgRMaAbjJ/2IPiiaLCuHQAy0mrJfKXVMJXJIUjI6mXnrv7v6Zkj6d3XwwQLuaPue2tnbTfGlDh+N003+F6fUq9u6UuCyfmGPa/kBtIG5mJBf5wWY4wv7mJWqUgZxWpQxjMlFroyBZXDm0xpYVp+w01uxWv30kK3gL9LY+21bum2fUZTX6v15XYV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pj7DiqHdpHyk2684AqaUNICkKw/ukvfeZFZRgKaV9IfusyUVNJoMCkFkY1tz0JZyEehTbhL3LLc1ET302wlfxvzzEFmIZVMMnhFWnqJCO6R/ChcNfRKmcYJqpkl8NmlMAFKGk/uhQrwN/bJUKid/zQJ1I1z6W4geKqLRz78TVxFTWvLUOrW03JiakyBzd3bmINSJblrp9dUzZ8HmrBbreFLlRASLVY8hk+aLPsh+jOXaOe0KHejGK2uhKPgoWmvCg83GXcLAkKRmhcRiNux6PmdwKA10A4cqzH/T5FBx49bH1BPIWksQQbwk32Kko2lMy17EanQiga58jLQCz/RM5C/z4hR2BegGHD/Vc2vqnqCHF3501+lm7h3+nreWrRfpn0TPihPW2Z2ZtWUlNgVhEm0NewuEkjWnyaRE85rVeuRTaZVUeFYcplrom1957LFCnCtRbLf0jC5hug2SkuNUSLXmrHUE0a7QLLE/admPiruLTH4G/vWK3thCg+6+FOgwSmpN1hp6PYwwG7MbNA210MhGYZm4wrf7RW5RnXmaUYt5y0d4hQVoRst5DudFM5DsAPIVFKZk2CdufA3mmMZXuIvomMz+o6U4yi1pNPyjmHeQanOcr0dpJ3mPWbAT9NQNL9DOUtP8gGjht3SwhYqaq3AJvimUM2J2x6AC26tBr3FwtHEzAYLQo5LYEft/90bYmRlJEiU3mYrORHSQwYrhXnS2CbFfl3IQCLX+vXn1UgeNY25900nB0Tt5pKcUJnObGvh3g1NIb+qwDD5hW5SdASWaePOccT7FWkA59VsD7LJjnXv9h5ysT1cDehW4vSXh9z6ZPJuJgEsEUfyqI7FAf6C0shomf1Hu59zc4gG6dzdgh6llyGXHhXLC1f7Zq9V1zSC/CnkPn5DHmKkgw71teFgXBm+4PB/gw9UqwxlATPRzhf7Q00rN7qUwnAFDnKi2Olz+aL05lEMjvj8Gip0YUVeHKjLgx2CNbgWqwtUBajC1ez4t/DfNn4UwK3T30Vp9QTJSmWLWmhtLA4wiNLWvUBVp4cDqoyYcbKOgP6UFcWLJKlx16OGWMW/XN/eUn1YzOGThlMKHZPlj1/ho4bRorEbCT+jobKyTfTPhoGN/qEFMSPPL/MKyheopRI8qyZDGW17JyVP9s+xj0GjKSoncWX19quAZ1kJ/mKWKCyyVJkYu5xJ2YhQk5ycvocrrBmMLLG7VPZZZKJnTcGsrg1ynKudwml1kFxAv+ujd/6SFfhI6TiXQzZZPUUTDnRN72dFuaUGT0GD80vyKyyYCxocSXuq3bA8LuBJN4aNlpskTBHFtI5Fx1irJW9KqsUBkhFDkmVtW97HJE9C+tWyx4djOzrdalYLQYALm1lkgagqP0YdAEeF4oKpwtqEcbbW1N5Da/SAx7QwLioVKVSoSWUZeqiHNuNZww5qdPBmcdPuIPCte71q9rJOUHte0l2qVJHb9P6KyrRN19dp83s8cM/uA7SFzDq0aqNQzZhX0Vj8D8+xF7H7YbNPc5HThthCKMmS9uFO0vpgFou1Mng6zXZnNnWiIxDhDNAAdt/oGZDogxtuNKtQ/QdtPzcl5FRjTvAIAmkLvhAlRGZ2GPXV7labEV09mVHWmnyB2yp6Z4bclFIHfZlBLfW26Olwy+NtYeoyasZvt1wALBkn5aJeO8sR1bQtoRhaLuFR+r7X6HP0IC9aYwrT7FcHSx7Zv+C+oNlJo3onAe53HjGc+wVwj5b98bxozWv13keLwyRpHWyZyQN9KpMJpXFN3z6K6vknaWO9b9Yy/qzWj3J5PgFZMC21i9/+7sN/pKgD5DC6zkCjNFXYY4GDPjXQJFi3xFV1dDW6xUIEMkVUQIbQKbGrI7xw3QjWiQl6uwKbHp6tvZ0rj4o2nOQY0W8f1DfmzqnD/oS//3lU4tgcl9Zb1ne5xO7UNLaDnIGtr2lWOUL6kwL0kxCP06isjNvwZgAMi3/jjucUmNH6phHUKrutiasiFNrSFnOtsJqk3QacBOFSa6pmqmHmyf8tLvcGodRvOb3uAb7TmN7q6v3HSRz79DoEXPpMhar84uUkNIlbQ0+9tdbzfSV0ZfQ2QaEvZU1GJ9FzF1SXKaAFem210yQVGSoHcD1OZiqtOcsjLkuGpPaSVTIEUZmspCUgdmW7eFX/vXvUPLBGQFExxCkV0eouBiKv8XvIFe1T0IF7nM8ReqyHm0ojNYeeW/2w294QrG1KtDByTZAFrRc8G9vXu6x2XshFBR48c1xK2Cq0bKSH3nRavLacV5W58pEbEUOaTOxhIWeo/7FSWzWZO5D87Aqfl/XlAC50Vla88HzW2WPbnaxAtEd1WdpZL6whSmp/h9GAYJRTjgQoFhxt7iS0jbub7xdRvAwWsonpUQvgiXoJPO65xpSRiEFO+1H00ISM/0UxupNF4cq216nSBrMMZYjsPKI6l3sYShtcK8fZLV23SomfcodIgzXRvYm09Dgbs7swz/azZuyKfWBOGAUGd3rt8o2RyxfZc02V+Max/7jTnnkqdAQ1RFvbpVnKqq6KKGv5lKoZIbFkWj3uLCI98XL3ziXf1VUlckYdkr7Yj/xtwbM6UvMNNJDSnJP9tRhIpxIfFZY5O4dyg3KR5BYAhd9BUW3mKduOvxj95avucTBqT3ZqQn1mPqC3wcJYvGJAuulbZOEt1fIqKnK4sa8Ln31xSbRl3TligdZKSTtw2VYDijrCWx0s4DZjbFq+Wk8p1hwMuyA4kVx+mtpDyBYom7lZnz+luW717hb/pZ0uyJXqTel9+X5GkQsch7281cVMzCdUoz1ocKTIM8vFHIgdzblAPI8I+JAGl/gbclIgRhqNIFRlgMayfCW3+h/z1Sof+SKMp5JG2azS3ZFC6N8nLBbE+AhxKRgQoCVvvHbXKkLQvZfTca4TdYRWaLLIms/1pzqbKMI3MhEFVvkwIg5rI40cI9oTi79kX+IQTZkxp1T81zSd/DBshO/gxl/rUBqftFbh+BDxsn75xjNvMQYYTl9LefpawYVxEf1Q2Q/SIat/yICymkjfDKCbHD5csbLceCwmqYj/51ccSBElO2ygUp9PEu3ko+L7QYEDGmi6KQQUDPlD2BG027iSJXO+MvpcR3pbFBxYpmxqIOnBJOnp3iuzDa1pFAbR+PRXLPus3XMQf2hwRqY62yoWx+s4b2V7Mfl/KmD3Rl3M92ZenR4jXYyjv+zljOQuw3Lb/ULjwI/E7OFMwn9kMAjykpfpfiSg0VFY+AzrFF20UzJSqHs2tEVxdSpzQg1tz+T3FrzPJ1uprRY3nZlVlIGxIYB5nTNv6wl9+UiYlZA+JUeSZh4aCWeT//yIQ8dH3ci28LDrVmjsrtJ5WT6iOufSpHuxtP2t7Jf/tFvvFrPF7G3NOHYg+TCnbHKcAYZhRWZKB1cWfJp9yirs3N7+09VcrrgmL6KnaB6lCIRwhDjrDh6Tvmx0u2BSwkAVMVJXQUJamkbTEATUAcJcqq7sogzwMSPN2+08vmMRpgnKRzb1st/K7h1WBqH2TQOq+2LSGmO8HbutrMMi3sleIWuBc3LMvwoKDkZXSAOEt1gK4EWa2W3EBJKXNl9r805rfFt8UmbFvMZCnGF18S9AUTw6a1/kqeAlSrw3Hvll/+mUExC2nUJyQTcTaBdtlqH7xwmHINXfedRw7Biq9Dz2hB8FH4Y3p97C4UsMi1rLovpmLgLl3XP/b3B3BIi8NJjyuJK65yBAMDcl30i8g87WPqeDR5xexX5mO6iSt0yxA7w6mUiLESUlcA6Fzm0uJNl3Zx496qPsX+yrihRa6/6XfcLYfngyYctH/PtzUHdODKy94QNo2ius2NWao9kxJ7a8JgiDW80412LnMCvn6TrZTz01Zpo8ChYUBPuGF6aDbcQxujHPxcqmh4DetxseXWblFdJZr/QrU2URt61fmD5Pl6cVMNailNMQCS/Ek6GiUXnfH/bhQwQ8ppZB1X7IczmDI2zeUVNhxHK34g9Hd2Asp4z+8vZpstMgZacvsClS4JNCNgbriu9hxOgG8+ntvC98/bY29yMLCJiAy883Z1GpaPXgcjZxiZjLD2SHbLuG6cK4B7KzvbTdwd+vNBqiewcGC4SXUvlJKMJpMMFy7cAcd3Yb2quMLYEmGmjZ6Bb/unrNdKD8HROdYD2VUwvxoRkRabNgMA9rUm+v1aKfXlzGDdu2gIBeomcu9qaZRp51yX+R9/dgE+PtindKcGR852ob+96kAsCDvuCt6Mdc9NLo8apqBlzzqS0Ml8ScEje/U8crpp7JCVkNBFocSaFJ1UfYEAavmgDdk9VxzL5gU0i82wEH4E6uYgPPVBi/PqZksGEn7vIFB5lDyMFl6MslzzBTyGxt/TmMYjgMUTrgYkUJgAEEnwx1vCL8g2+z1UgaLF28bqWe4ZLhqgkruByDzBZ9RXQoEsR5dNQsNKkb7k91U9Dt3EKps3BSvQX+B0ZI4laniQcLJu698spmTqE+ml0wqhuc3iB/kv2NExybtqeP98beqPdzEPXcrWFuWE1OpX0Ac77Ieabye/oaPGIO5Mmc4KFJivyh9X0hOQlYaOKnoVbyLhWKZ9IaizzTdbgnL+S+keBpJLfLAOhBnKhUVkaN+PtaQigh9mr7Ufzt6zsimbz98xno1fV9HV+O/tAABYC24ItD3zzvf+Lvhqfzt9SOSR1xNFeThqKdqE7n13rABfSAiKL49rHxgmfy87lF+PrMdTmx+NWsWTic4mtQ754ajQ+pWgdw4ajvDhI9XrxlVGXs5OzugpGOcRhOZp6IenGJxGjQAkoeYB319R/qwZdu1ja+crZT03F0CqWnHYq3wy78FRbaPrIXGjtE34JhdzL91Ibu7fe9breRJkcxTGkxoPsp4qAsTbZcO4BaI3kBClAKiyzjp/vXzzTHPTEd/Ds4vwu1vFr41j3EOBXaErIIL+olct24ZQqNIjJKRY64TVDUQO/slU3S7EVcrXZuCmt6IlquqO8Hsz8qtwLLBwagDtQBALHrUMjPf27CuHCDcajv82/0DLUvOXz9HJPD38DKu9CNoKHG//Dno0N97wDU70doqYtbfCZjFrxcKavjqHKWKzl1oHTaWK4HTRamTje5VbBjsxtq5OcCTEZo9b3OyegRq4tTVu755DBgYsFKjJY+czuGJj2c+tfi8X7U/G7rL4kP076VWX8/3hrdc1jt4HIgtOHsRRRtZ+5XyncChuAnrzc1shg+LXpkqizXafhqv5OXSFAGni+LJnFp9apuFiRNw+xBsJDBJhUHx3AAl5Zcx32LiXjUM7/6dvT60JnOpu2djPtN59zbSe5eVKk5ATY013xMuMfFyFUOGJvDCao6kag4FGrl0rCZww43ZrZY1lGzL7i95AiP4VoaaYnpCBfoxU0RWjvdyTwDTOpuZyh57kNDQ09CeW+h/cRUtRU8b1xcM1sh+psT90ryqgch4RFFdt8rkYzF9nEe0Z7tObEDENwI8o2OV/zQnbUXJsiAeEM3eISURNjpuHPmC0ZrmrDCwblYL1CeqG26OBgAYHtGhJ/3l6GsZQDOCfbvGEFui4rHaM6loiogkMYXu6E4uje+PQGyyaylexh9z6f/rdsaM/zdYx4KHw/t4maa8XQSk/jFqUOUIfMVRAHcMDNgIfd0tpvyot9sxfTRoZ+02yaD3+zlXvBNgqQzIU56j4OE1r8MLvo946Tax8CtqO0qg91iipcxRJ0d78pptQRjMX4+6Ma0nqST8AHl2BDUOo/xfkQHYMpfilCR6eOiDGX/LNKEg62fKRWKpFxGZUhgXz9jC2yfGwaC8J017Nf4BRIosq+XxB6n9A1eQNFt+TpbW6BFzXDSmkZEWYEyWCn/F7AhMxL0A5DvkHhuiA6r63thqSwWiIXxbGzPnzw3mTsiAfDTtwIBr3r5RgrOs2acwWwGORBV4CEABNMhcpTVSjLMibT1x2/fi3pjeX7kh1w+Zx3ljqlXl8dWu8/o7q6bNJhV+gurFWq7fwJaG9Pgaa+FvT/rZpxIPy35HMPIpa6o0vmYfIUhM8dVAk4L9YXHwV5ahYQCEJtUsAU8GsU20Hy9RqvvNsg3ZZfXPWsMs/MYnkkxMVCCLouC9mT9JV0yVz5AUiu8xex0uh9UV1YAf7pqDm5o6hXAsZTZdyz3IM/8/W/Ulj8UGetjS9nghegqArj9QYtLBFmgimk8+lc41PpOouPoQZmRAJEJuA/uBghrbkhsB6MY8oNR8NW2pQP4fYKvFaht0cGm8rb6CYPt+U3hHUISVKWEWu8ykChPavan9/wY2J49fJNRaJAPweDyr1bGh/ExX1GCC4plJVrB33+EAxM9N+dDhssvXsfJPQcSOsJJLeaIoExN5bhDtuI4tOwnZf37qC9/h1VJgQktW26BXxD0qRiNba9WGUvzm4eiX70upc2dzV3WtP9uEf7utbznJh1Pme9y/GpfdDatJXQrTJG/pbeZO6lHbVYZe7eMBX5c/pF93WcxpEodhvIblkPnVKmFeMnGIpglbh6tLWd0IsD8Uw3ku7xUMBbdIgH+v8QpFoNKdSDYhpuNZUqffGwAkrYCRehjp9nsF3rgYBgv4RGg2PihME/F0YFvVPEjcX4fsX2m/+506kwKD6O+zunuQsmN+2r9GQvYU97GpJC5jy+nQgef9nRnRX2eoOjRdNic6j+xLl1F8Nvv+qnwarjidl03HgfCa3wNezTABrjMAqdRUD3bShkSefuo9gqPO0m+iiOrbHXWH6ppos6mmAtonrVscjzP4KChTYDAX7BIr5lsXRt63n4xz/M70X++pgDNKDA6i3SQFJGqB2od5ln9tNHvkVExP7X3GGH3JSkozyORANfnyHbzkSihY6iK44lGoN585ePUVhk3/j2/Bj6k6mFVJJOsNou+5rILNwsWjyyPCmUtwBDJPbwXpz4UBUZKGbnhJFDJmPMtJ1se/IHXQUc6MhVxSIjSaFgfhoepMsjgDP3bsSLMc1TGQ0ddQCxw80Nry6dej5qop7YXZgAcspCmwypQXuMLzk7Wzbz+rrA/ZmSslpzEO4MoKqWv/MJMRQnRZPB55K+ZlE/yavQkdgniXTIAopFHiKcK1f4ONbTNjzhsAq/Eo2B8x8H5v4PuKOQpavtAAdlsNt8QEAob1pEEI4lHuzmZ85LAtfRh9/Zn1gHkt5lwU9zqZJLa4ejmK1YSOSi3u2Dm2tZCss+tcCP9A8jjktu8DZd1RF1LkhRX0d8VYvgcAUP5X8eZrhcPIkO1jCGPvguTd5P412QsH5JGl4zbtI972zoIepI9/hs50gldXH3lWt4M1pLvIyUZMKMwiabWbFI9d9A9zDpHZ9/yoaRe9pK1+q0dCNrk6Fp51/jtBPBaRgN+TxGwTpLdmIoCoIa09IJqbw8gRBrkDQEJdja5N7qlTczHfkF6ldoZWa2xWrEuzarSNe90+thIFvFaW43P2b00jqPQcXODRRf9XY+m2bJetF1WSDUq05uqn2bnQ9ATdR3PI9WoygpKV/hAFuFP0us5SegtPDRLvZcdY8CiJxPtfT1hM132ui6TDHvdjg3CUXOSCm8e1WgKFRalomqlBh1cAQiqt8idsy2j3gsomS/oC7zFUcx1ikUIWy+ZEifhfYSRZJ3iWvktiwggoI5T/WTGPzYLT51NZPJ3gHQnMfwVRLws/wFLMVwV+mQ+HVImxI0LY0013pjlU9Ts+NEfInLtN51lVrQTk9hSod4/32Le5XfFr1mipuDzoAdGavTkkg4ni36EwLuakNGaElIs5E8zrKGxZaIb4Sn+iQrq7r5DSw26fJnm0NLkaNZDOLrwFM58lVM+HFdWqiU5bKh0C/Qrdy6qeLIULaPcSBejBzkXKwJc5fZ2OizcVdktfPDs/P3r6zU+nCH+dSdY67Q0sNzYEkSnVXfp5r3RloMwJEL1PIoDW1/MPsOApR22pG/fgtEghvVmhN9OYxhDSqphc5QDNubY7UbeoSF6m0iTI1If1bLT5U6os7E8Aiqzxc08ziq8lZlXQhno+yGHXk8trdMNZvDBvY0ZFBYUdutFTZAlkFoDf5tZ8UQ1Q7Kv+tidbzWqMz+cl4UmUla/jzRzoBAH8IVeK2k9xlnljfRBgV6V4zgXjlLM6vTYZPwoFVXHyYld+fdaUI3+tO9rMz1cKURr0s/uB6lN5mbIvS9v86JUd6KNLlfyCbpq5rwybnyLztBdxSZ4osyDKRG4fF6a5Zb2L1SyiQIlX1afss89He+IncE7RkeCkVUZo6E4nXRwLPbPKV9xXS+5Mro0oVlAN5N0lRW9aohoXuScza4ifpC5SE3B8VGgQGyADJHLlr5luz/lsR1w/6UU1MKzjp2H6fXfr37+duVxnWaxJJcsIPSJcBjWQ0vRubVoN46a0fk7PLu9vOMVW2iXDUgoh1bq7hGryhvhtWkNe6tTWzekZy4Jk02rgFf5OPbgOARfisA7PicWXtXfLI7og8qxmWPWXtNff73M4UKm2hfG5Y/Y6C2YLXL7kEjdcjJnf36okGJQZKclV2vBKltMBQoo12AFxiG03Wfs9HO0ngr+miSSwoU9Fo0ks5oXRLQ+DawWbox++PPL0AUeeBaYMtasSHTqAYo1WzEkC/LdDqgHKGUxXA9qdWT135tCx5jo8W8jctdb8980VFBh+UmN3/U5olRzw2ckyaS/Hiw5R6BS9PONRrkej7f3V6CwUk927tbj9wCJ6amegJBaAEj1IdFPQ0ZpnLVJXhsggkNp7peuQm13AgRN9H952TKpgzLB2ef2ySI2v06dVUylphMFTfRI2PUb4LOnV2yxC8zc5y1SGDpS+xZSOjyNHxhNGt4ztXTikFgPa0PaOR/d8PwNKoHQsHn/YPZ1JAcosPJyhdCnc+XLJNT6QMv3ZRa9J/Kevrgi/IUYLI+XZPWgH3/EVf9ni+awUsRyUPIpLhmS7A+Mjh45h5y/sEvAvXsS0vdIYmOPbYv5w1bNz4NbAaIhGCK4l53BAEaDcHnrfg4TGA//a/qCyE3WUbVzTPDd3Qst04IXYS54z1BP7zpZDZmGgZIzkBUExQ4XcjtB5cbPJe+I1VdaLde6KylOdOR2STHrujDfvq3BHUzSKajoiHZmD7tgoLt5ryepBEkY8THX2dlKOztW1ShrFqNhMEmV/yoZkFMUXRQyaaIasqYmzSXpcwz+P9xDdUiMB25wr2tV5q5LMHQeMUV5D+9fzfLHl/QiHuA4KtGU7bdtE9XgrignoMHKHDYErzwNzG0k7ubTLC4bQzL7kDAmA83RLTDQqJpxUHnXbmXP2RI4jxw7SkCeoaeVduuj8+qQ1XZuja80HyS5o7+Da+mUEEGCzv3SZJAIW2obl92znup8qBUUikNaTblt5jDUt0UdEam+Jc+3DBzoAB8TNHRuH+mi84wQNNJ8URQ7+hjHAov9jM1O/O9wtNi/qahqjsTtGBuemM9ZKd7bwQGqJg5uMln/YVuLWn+9ZxLxZDSye3KZj5KUw1hcA60g+QfjZWrdoIQDA2VTfcQvfnVR9Q+Apn/eahDRcHEj9uFn9NCQC2GbRB+Ls30rBt/q7cs3HRLj2GhG1bNkCtlu/VdZ0M4H5e6TIteTcbzx5ZWJW45aISb0qpf+SeMpDP9kCOiA4p+uEhgeMMMrJhV2LZHUMN4tZI/chjKUyI0GM+cJCM+vMa7ZxdExcSgmm7h1RtPM1Q6h4VwkNFbFa519MSJ5/XYbT+xMWlELo3OIMCpMCQn/4m/R4lsJ1dpRiYsd7RJ0UQp0NA8e6VxC2I6nJLYoRGt9xxEYG4BFmehqY9gzn6qboeFxdp3vK4r78qf/OG0LRqNrDFfECOVdJsRC62Z1j6CCJ4jFUbAjHMekvIb31+pS5QVY9YENIjxJkDq4/czPtlG+YjcRdkF68aTx4debtzZkffbPLspnj9gcWj7z+gwAUZSzzUEgZF5MT5fuCHlZNhckC+n2csxhC3wfBXWo4tlmZPYebAjcImk0Hk5lzwxZmNZ3RaAnLA3gjkJdXvH2aIqdWkjUBRkFf0JqxRzhubI8AeJrvsARFdMWYJ1Q9Xc6/YukpriDhFGvFuSYPZEUho0aZBliBccQHKHs/vR3k81F0woIG+IXVG+bE/8lwsX8KILsVRgZMZcfTewznS2Ee/5Y9E3qgTY4MqzayrMTNwFcZz5XB7mbdSdeDApPpYzcz+8w5uPbepAp2tqG5VFCKUdyWym1euI4mlrht0uDmN8rlWflOndBv58wWMLqQazm4Rsy/Vke2vGFceqf8F3SFwVOv9xWb3V/S6pFVU/Ihrg89945TYu+khz3xb5ovhPh/Fbk3esRPvfpCMlfXa/7Qrj2zGbkBt3QkkLCLV1QUc1r2Q14OrFtu0kCR5feAT4IszSchk7OJXeNMSBaIGtiy1Ungxsmw5UKhu6fb4Be0qeo3WD+CLhkT951QCrVM8+wbKv6EztY1JaXPSg1lSpemEhv7VFjv8zCKH8BB9VMgifpB+/undmmr3+/YU1Bx/WqM5skc+HuQaHXbjyKXLYPoUFoSyaA4oCc+LWXo2FvWQLK9+egxeg1ZWTY1u9rwm/qOtlTtH2t9j3yfkZP3pfagv6Ud1S47Gb9qB7b67gcChlfR15PA+bpErlrVfCAjt/wD6fyXjPQHJhpfiKl1E8xYyshdZB3xOn56204viYtYQ5lrBRlF3ryOYWohk+8D7mA35PT58A4TzT6tEybZ8bnvEtGmPrpKZRAEsB31C7bTcaYTG5cluVfKNhO1XfbhTpW4G/DKJd4k61E/iuMJNPpTsVXJ2CmBJgujpwqh1ShCEdvEubSVg5XCkKSy5anXkksMmwe+sk6xfmKauBtwfgaPSIpjchpYNmVb3nzDmfQ7331ynvG6Ue5ztdDy4V9uW7uW2Y+gDALMP+c61PPOs0I2SuwkeBomAOT96SAWY62YDawcamV2hj+bZhbLv0qx43snEvRORQvQ1639Jb0BX588vHfhmm2MXrzRT5vpQtvlwu6/by3AxbC+FqSVPA1mApoDYLnCUF7F5JgmwMLX/WaOJ+VxL6ugvey55W9tH3v8aOABqxNxPZMWaaqyclJTDUey900nKZCmOTnyaYgNIXBzW0m26fi8c8Dsts+3NMLKeF/KwdOuE7F+c+d3yQNFVzPuzke2EXhnhXegzgfNXGuZqTXGY04wr5/TMdE9nyo8OHsvl3so4sEhCh6lTWGofonp6O2K/MeKL30rNzg3e/Mf5uq54MRReAb7gxrvU69coAjSW22dWiRq6GPSW0QUYUQ4TtRlqTau7c2xayDDxFRrHyIpPiDcbv/OmHkQduCxHXK9c/YUOlQ69AdH1vhJUGU+7xGXiNShi1Duucazqndv2mS3X4sL4VsjJ2+yLLth8J1xCOr3v6ygZCc9f6KdUJpd4cvuiP5qtwYvmY0eF6fKuXlooOMrsdcriXgXo5O3vLCzZBTGs1Joms3Y5jpfZVOAS8r1p60WDif5dTqIk8xQYNLBu/Ul5ZI5KnjUOr8g5MbyA7WKgIt/h3V+AeLrBgsOjRbRq+Nc9JN6Yla63JrlOhOP/XnSGCrJfc2eDZrdph5Pk5iQ0vgVKC23F3QkM+r7o2Gvo+2REs2FInZYPbgJuyB6KJnmcI+eBMb+VKDh5IBVdKaaDljKvIJyfuekMpvx9YIMQjFInqqEwzQX4ZBozCsrm4pxWOE27dK+8o2oSxVL9nW2bbokWXQVKa3tLKly6wuPb5gBdZajhSEPv0/yS7N6HodVDe2yN4W1Dtg9QtPeLrTZ262NygjB/EzUBOgprGmjwuucnS6n2G7TxTTvw7UQKYpIB6d4cf0vz0DMEHqFhoj+qCodwdjYjzjAPSV2FgY6GrtNzMsCuiUKPyWEBbT61dt7vuyHMGiYOnsMTI90BH7gC5R2Fju5qzvBy9dTVfbjwevRSNH99slXm+3ahmkb9+KS58+WYmVNQS/b+uTNr+tWyi2FfsYUY6tWmOQ0MLLIvZNF/tmi6+Kw5fmKxeCeOC9xCvy3enwHJPJW7TZ1kLmg201TT6QWagy71dfP1/DgRxxaAWQ1c2VNwXJYcWyZuERMMsbZjDENNj/BvpFq7AMGLdi1JasYjy3g6PSOPMJj7+F3rPEjiljb4xufX1o9J/wD9gzRhh4qj3VSeoL/x0BYSNVZvnjVZRg2RH2f7h+rEEkPu/nhQXyvkNTo7RNQzZVjStQLTTt5Cn8V8uDaWwm/itNZyRsc3KMQ8pbFRajvJ58YTxg3nN9nHHxiz/L2pcKB0vrDQnhEivJhNolXy4jGuMk8vM5uJcxHZ8eeE2IElwWq4Ezy2P3+A2MuMtuvUgtciEtrWnqVZXwp8UcZ9yguhmYZo1oqPrQjUPyhZ+BVyyGCGw0wzxoDbb82HJYdCh8Oe8DMpDzxmVj1P2kpvKIpI1zQTn+Fc+dhtgP+yyP+Jo4QmvuJqR7Q+aTi91dDKa1pGQc/Mwr1TpdK6wW394d0pL3opDv5omdxE2V0+R+mNIk5YuGaJ9WJUh5CBb3cvLhqWeyVAR/HZSYInpRmXX7M7rkZ8rebkin5P2FgGKL9v4PtE1wpHq22VUYuer7r6ll777nUJauTRo/UbJUQIvds+Hg7bmNmsz4ecc254S+1DJU+wj8SCQIRdp7uhCNH9BKBnShATArFfSL4RSoouFbLHldk+FSQR0wkUx/byARLlmHhCLjaq8PJAA5Xxbvcv2+mc6R1u/sjeDcX+0wHzMuU9j/MrutEIkWpwKvF9YKvA0s8WHjzIsyaK5EPF28CU8T+aZKxJ4ZbfYhf+wH0iSXlSmv6K0/mXnUk3F85/2u2Uy9ZtKPAMNaPrSz2acZovKJJfBOBP88qRTcKXRTbxraamjUUWFJVfuHoCmU8y9hF538G+Xs7Jg18O0xGn2z1QWVhg8TmMQKizi9/pqIcrD+nwYMaQMXXkWQ5Aogo18pxSgFW8nRgutfKN+xU+vNeerNIiQlXSl9zanF1hYQ5QA0W7FjLG2Cs/y+GTsOopZJHvgNoZ2iFEnkcl1tucXZ7+zDUlWrLV5Rk+VcPN8lqGXqDnT1UHxgBYHMflLaM3RbEG/8ISRh2LeyLx6jxtL327j3xhXE3Fdrao/iqx94mLYWnuHVGqsqhR1ZOHPNAmxhexPjWlli4PIiIzYnWb7s4jLh/x5K7nBxyEAtxxuikv5PyEnhRoJFd8G9Ybu/rXLnBrFNTG1o6swrQEcG/YgH5dXk6gfTDf9rFXAJ48zgYZHX+5wSfeHIHln4ezxSjeMu91+4s1hyUP1oc1bIh9gATdhaqSYG74FAPeYycAAftNDTqt+kNJ0LcjAS9Hc9u7jl1cfe9wIca6gzHZzm8zW2pLWZuvj+206d7a5+B/6sK/2fHmRXwqgFo7Qw+TpLLmud2AXeaVK7C2RM+hE3ZAJR6p1q62iYaYgB1lOxJnVn4ap4sgu1c0YfJLQYh9EPGuYrVHWy0HMAWuepUt97xtQ5xh9Z6XkRSUpiHM+H7nwEfXVGrAxFo7lv/DzTvdHfEBMnUuVbiVkjlE6h7uv+Q2sqHY2QdS/9bMCn5V7ESXfLA4UIoaVFTNIfjm7iRC3zmg0hOBqzuZxZ6fTVbiDLB13ncTwR4jmtxetuIedXcyJnbLo5HnNPTAjz+AaZdJ1hYvE/aaW60kZ+a2WY1mlro3zd3jNrWnHsykC4jyUoa0WqixyZIrD3uLi2oODsj8Byu93YFKmozSnghVMK8b95qKwFzuVPlRiWkcmxdChuzuKI0fkHZ8xHN1XVaGEQwzal3kty7mvPLwnpJIoE3kK5WaSuldKzBVA4jcYA6IcR22tBsACx4Ciu2vjb5K6+mzZtObbN0EfKodCkgl9+B2y0ETEyKsCZyxIiQHYsvvRFSEmIwf6WXOZDR9o9CGyKnAj8k4v69l1RomsTiAZft96HM7Y5uTEREPI9/Qw6puw8sba7j2FAcbiem3zvbSodKgmoWZmNHeV3F96+T8ThoQ3eUoQY01Q2Pgb20izgr7yeke0cS2mBFa/aZ7f8dEARbCnKJHuyYYvGjvOvJitt5Xr9G2v6CPLUu6X+YAVsRaFfa5n5uZjMZExli4WqePfeG/wb/Y4449n4YYtaIGu3C+A73ChQDgPkTOCAAQJ7ftxx1cnYCgiBAihu1BslkcRU0rKJr+OTrBM/uzuZEW1QynizphNBbdBON9Jm03+2O9hpYnZ08z8i0RJRCpyww5TWr3HLujePq9zpgqerGjUonLkqXzzy7xq01AQa0U6UBhes9yjkNKKkVjEg3tmiq69QHAji+jtM+QslpDhkU5Gp49lD0Xys2eYyK2z6DohGSfvjsXQujvdEuvWNtPc3fk94WSTTSqPb4RRNTIxr4b4uHoRsaqGbkoyifLRU68GCf9qjAaxAuao8bi90vDhVLGvwjVBAubzxes0TZMBC71QLbvEEa/2NnGyuUCjFbETmjCC5La6JFr7wj0VNWHIWQSkNxOu3MRROixRNgvstwTOlNIDdzHtNFve69+KHkGpQlGV3wv8TNdwAL8a0ls3UHGBlORXeOxyhisRqC/jK1Qi2bH+7Vw5xGmKTPREMAjWwcvyRkr7oYY0a8NrnaYKtZRw18s5Huby0YjuryfcWJe5b3Xj1wuaA7HR2k6wc45Xd18M2NB5z2W72skn2zvy8B+dBlVCDfgr+AtVNSHNtRJ5lQudC46BBV3geoh92CPUoveubO3ww+inYFPOJR5kmPFe9lyB7U8JLUg0TaelY6tf9TPnjS7KrZOzJf24KnhCXk2M8HtUlH2ZtaqxuxLSjodzZ/cruZpIKwvOtY09MdOUNfILn3CssRHTtHhijjQCnLFAPWU5j6N+9w0uM8YDim+lL7TMLRQbaDdWKvXSHnkDlJ4ZzFs7VRTD0lv5VoKgLDQsMRsSJYELqv8H/MO8BPGsxxhRj7zfHE+gIgF1VHYpbNQEoJ3MzZwQYeuL8Xw31D/2LF2W3mrywf2QrQQpr4n4k7QaVaOoC6nuelovFlZmk0k6jcPfhtmjBl7j/bl49H/4al9X3KSVKBh2o/VF/K6wqDJIy6PRV9A6JNDNv/UAP+rIWBJyi2ETzEEabQSfqE77E+e2g6kct6D7NzQrFFVPz1H77MKuzn/OQq0NU7mVVoURvykzZLfrAbUugl1XEHcdt+rmLzbWGbSmIAaoK8ioBcTsgGOIRARM6yNj9ETcLZtf+iXxyA1zETY6OqRAewC+WyiundRdcguq2xOdWq/wc2uq4x0SzXNf/EQS7SQzc+/Z9qtk8O0E157zO5RhdkLZ3skl2Kkcg8JZyhp0LG60eJFiUfcVJmzADtM++jCP1tk729KQUlwMc+OD3jDw0tn49z95k2bo8SD5aDExc2b5bAyavPT9VRUkPIfjrs9k0egNIFZ1UjRsOAy7uiMnBJP3N4uTyfOujdGmRYt9qNVygIecSfn08igqykCLZredBzmJ3SQPSt299IPQc1KiGNuDmFRMI3lX9B86eY80SLFFphCXoDtXndMsR9ZlkTSb3QrFE0PxUu2EjEbZjWIO4yfC0DqA4Hp2N6SqSNZZGJnF9MEv58w4RcW21cYQQ8SvzUTGLCIWlt/8MZsNfJENG6SWRt9DAEYEF2djRz3VyogooPgf5YSM77bngykblHXGCLxQYpSSnDOl8QWpxBRemOYguo9MLymxtSpATpuo9Nvz/BMh7YIbolvzOrqw/DtXPXxs50lygXNYgxaW+wIOyTfsE6uTDWu4m8afpzPwi7Xvqwbdw4vQ+ekOGQ9jDInQyaIJ8EK/YewAG7lto7UT9ulAuT3yNJjV3UmYV5j7a3vDAxonbjR2w2aislr9dfVWz6yyyxZkFNKkidw/MAYMPYC75MuVgMIXZQnPo7/KrGzHqonursZsnqsF8VQuoW6L6JEHEa/suh23Te0Ci+g/fj2gbx31QRI/t2eHNi9zfVkO2RxacIrSi6SgFG1xAx3KpBlAVAFsH80XLKmMWBzo3yFea1zGMoMl0wecly7v/1ZXCoiPBTDdOwwiWYgL7d2+WdqdUsoRMcLaxMXE46EFvRE7tzQUkBAp46HlyVSwIV3QMlbv+OjDhb/m341yYg6p2ycVjjRrA3Crd5RvWgspoigyx16hpt9VMla1xDAOMxl/QJWKXLYjaCYbUKOXchtS0iVI0XCNGKwQINxDlQWE+Wyoi9wbffUaTDKl0Tw5XGxgCc32PROOblgoJZk+xoDFTDoOUBEhnQQmZ+6xtg/yPLakvFh6ST+gXHQQ3PldUgShwoIpK18VTa7V4iZqQTZ4rSWS0OOOJrZJ7Hrp6uy6PheUG/kzoOsDgFEJ1xc2UG/Bv1/Rbc5sAqEtoJWvlcF/VwwHNTiNSMpAMaDHfXTXIK8RyiXtAfqZd1Yh8FSAGyhZMyg0LvoSTRwLJkZOuaHZv0OmnwScQdTVWkwO2KoIC6HA6c8c6Qw8MZ8xm289AMSxNwwBzwu2uzw+kWuu1pkEHAELF9CZV54ZppfGJKefPiMZuphDZcTOPOjACLk6/By4zBIDGgEaLe/62oPmOCzmqjwjxnuLGD59vNeQi/loGckwLbJIn3dZpp5P1XGX7URKsllOanldQpIOPY9W2sVXZngHz+zZoGgZRdMPJsCLVMIoP8BeX/9xTJl3ew2pkZs2p+WLydDS9LqpEeV1yt7lTe7uNSxCrpAM99LhwW72dwhluvcWglIYJUmgpuA2S/NU9vjXBLRna8TpmLppWPvZbwa+Gf6cpJtAr9jrnp5UtWtHl//wCNvazgnhaRilR8P7O/gD9Qn64otZUIOlfUdqg7ArYUjaN+GTq5gieDUySNOVmHEeKUVp/ZyE5P4KSBPim833OEvwklCJeTxIydTbh1jM+W6Gsbte/TTfEkSgbE5SrPtZVduQvxHcYjMuNppb3nqTGa6O5Hc8yRZvw/K8xEuWwLZV9O15Ult22nMKGDPDGV2ruaRUG/i3FmXLjdJ8j0Oq/8wbkE/Ei1FLyIrSPnStzBPbr01o8CDKzdtConybyPNbcIB/fyd5m1+5IUwc5jMG0RetfJFpNajl2vT1oYodyPyigdixolQocogW9YKqFVVEq8pDqZu++vZB4XMBRBqKJAgkVbyYJ9y49LMTMs8dth3q+lJJ/yZnpxDwHHKXH1HHSJhyzVLd/4vgK7QB8lTpiCgk5yYYqDHNgoNqVXNGTDqTBIwvD2ankFA0Xw0qUFQtww+i8LJJSu6cbJMSwbO0hbgMl/TDKk9q0NDmzb3qipnNtjUAEjdWC2nBgCmGvDojc7r5yJWfXTtfSRO8tqdM4pdoM0Jj2lPj51BTH5+jdZhVJ7a4rbwS0Y/JIuErpRKN4mjxC9ULYXHmyHz3LQhP/W1Ew7nw8FpE4OFQ8lYCTihhRvkYcejrZX/9cvna+4mWtN1ChIMiwgu7C6ZJfxBPDEvMCDxZHcHzAQN2nBMIpKqfKTakROpmyZcd7iBqsNDLKuqdMnYAXyo6PFYcWsdj+Es7mVI57xpEFSqdBMu5X8pVnWQ1NRXyR6yrH8QcD4cibzqBnf8v72RltNIfWZfi2CQgLXj1jUYK3brodX7RZowtxsrXQV9z71W/OjEMqHDDmzn74wMwBXUoykOyZ6iWCKPGKjacwTAQYTymnpNZ6wPTV5Yixkk/zFMbNSy5kXjWdpEGy8mcYJvdIEo35/rbVha09vn0LJHUHi6H/3jo6l5Bc8l29tnVVbmggRDob40/aqELOhR3CfTkeJjaBdRUnbIAOjMuQTjKT4d0AoKnDxHKTrgYyz3SUUzhUVM3lsvnG/gSw4NrjBOOUsJPUbrvVps1HDcAfp5CRjwZ5FqWQ9QkfEE6HpJKU+Q+0IBcEk45tnVNYObvRKAjFjx271jnxB2mAG1y1y6T+2MnmKUwMabpCMwfO8AA1PFU5Rn2iQ26Iow/gF0vFgKpf6UiHp5ZR70wXmfMumIBjyPuvIXNzaP3iJxKTblb+bob2G0d4fXEpFcTuw+VwgaeDRfFh+VmQdN3XFwj3s/zw1tY7paIpaEvWGMM/6s6K0dvJSQ/A+mV92dBlgPuaE17hJakc8GsTTzZ65s0yQBP//UX9RvWS0Vw3p50cEGOhC2fDs3MdISe45pEWxcR5Wp9euR1Wbnt9Pc1+Xx5cOnUdPpBZ5u5And+G1HwTxKnc9hHuJ5nVUo3qdMOuQbXgBT2P28Dw9+H3jdX9tJWJcIhG+bT9CUBFwG0HfjvvvifzAG8RqLI9wQcTMvG1fpmF1LZqKvf3t7y3D70giHh2TCa7BEUEnoz4nkON1UQNgY9N+lGMGgyrkHN/z1JTOLVWlL8PZ1146EGOPUFvYZWKY2XBWSEsDS3dVRIcpnqvPqeHgovltF2wLx0j4/n+u0oUVWozCET8Bv7c4DH0qylxohkTp14zdC/F9qH+dAvffbDJ51uH8RbpyAi7k/oWQxIX7q3ytxxKfXSNpSZiGNDKsFFfxmM7Ngq+PX4ARBnU5ugT2tiEzsCRRhUx62LlCxieCkNSIGcJPng8/aur36f5J8SiRaLPi83NN7IkpcvC55SR+lSsNawL5II8XhtSj0sFhtRS/OzNIhvAAFuhMqKTensFCBRbBN0uVUEMuY0TFwWTf0g/oJ+1X2FUZlZDorqEq0DDsZjl04Va9mPBh8qgrJl6sshCp1jYnVtnGfZPjZXErmOu9Gc1a7ZL1cIXln9n2VfxTehXn8q4xr5Zj4p7FmnpnXqCD/NTbzvbaBw0yUxPG1C+z7lCsBwF5gLs5t+o2fimt/UVeWwIxCxbfQB38MacJ9tAFzN2a/Y9DsCULGKx1YJZ2Y7r0loX6crxKpOk+VwVxoRwZCIkXTqPdVs+kt7QYhMXdngfodxbNootJIIjbS8aXxcvSlXr+vsGJ/gZEhHgoUl4wcvghbvjaOr3VMkc41CvVxGtrGfJ8C7Aouyp9KNDHxigbAvIO2lKvl6wBvT85d4Rl0qxKxocjjzpYf08X5yZpny9+pAraC/23IbSaftUjIgYujy85ymF58liJJGxd0rt4ze/y43a9vRiq+95NXKUJDa5HyIMjABFjF0pumoCLZ5SZl/zh95wzPWukUS3DD/fECsdc5re2ThMJxNOEJNhx/wTeK3hNkp3WLqsG9EQG3zLpYDz+6ClLNKKlA45QM0Vn88REPMPu6CK6k43sstlv+WIkiFiVt+jQ6tgjn8dAcIsmsO6/5W7l5Lur/G44Z1tUyTkGT+b0TfWkt/EULSo/uYIvHiCA62Qv/Wc9OzEzS/rkvkpmu4+HXZ11fzXnUAjmyIyDnSvy6MQmei5qJXEEzKoSZL9/RmSdIze7FugO0OXw0nRJ/ds0kM8P5avlXDr2iq5NhDVBKjYgNBsIWu+wwot5uYdtdTpsMbUGA3es03DGcvk0UOfs4Y33fI3PY7VM7zufg7BeVT1xF5Eyf+QdPGVnufRk0SLMzI7xV7hHm3zff2hDaYjiGx5CLLC7A2RKHtBULZcSlBUtAAnBaKg70aDEAnyQTSGMjcJies7xpNvEBSJpCZC8OY2W2dL7rZ4fALbP9NjYCnMEu/yzaorAJcN6C1KfCqX9bdpiTKWlbA5e6BBLESYV5ckbEekjNXw3G8AqwPZhJpCUI2C4lW2NS32waVbkIw26tGXlSOFTax0B6Ej9OCknOkj1BhZCVFYajoUcv83dZ8lxHXHXl5h9CEoDKlF/ZLb3len3BLkQqSIjO69hq9T+ycteSnq2NXU/C8EmiO+rTYHFKbgwV40K3QL9tln/dyHx60uLTdOo3xuYrOkmbEMFdeiJZh9F/ZSFjzO7xVwcX2Ica9axiQraaHLhj+mr7929nZ8SK+Fe2erF9H9uAcXVAICUiqgbilav/QE+v8yzzkRj1Y1g+R6kSsBDw1HpMXxN5Nl7174lWo0OIevLwruBldDfMxpa85wOlleb6eeikok/Vqmte65kl1IAuf+AGecCZri3/sMxBkuDiDtCNZFKhBquBPEqyixkw06xDkLnHVdGP+0mL7UcQhLQkd9m246Nw/aNgzsjQ2zrReJguUsfOYrI7M1flmNHxkXXqOrkYFOl4qAy9GeFrKhPpy9FuoepEaZamlmM0nEZ192/fyPYfTo1LLy4VlbUQm9Wu6mkce0ZTjqVH6OgpM99p2thQYiMYL6CzVkG8HFNie480kkIjcJpNfJ0/pjuwCxGHWA6o93ZxIKNwW5e8nNy/5HfdxPbzI73kO4J/sWxN0LOZ+OTG40syBSnJDBcrt1CuhgjhzJXxPOkBxVTg9/ETETf3TWz91RdPNy9zujCfOS8pxBSgABFN3Fjb/1YyTrn04t8SZOgNm1moekCayZz5Ha9Y2y7+uFBD5HFD2vaNKDuFummACjr9stsx73/AE1bSdxgdLHXd6spkdK7WGiQbS9LnHQW9RmnJhR/7uGVZxWcwy/MlMd+qDUMjEHMt+KVnOEkdNNNqLNZjuPhn+TozlEINqCpIR5mMIgYc+ewqhQxZ4Qvcf3k/PaSrFedvu9CrYSqhcbruRfvsmMrbuSr0+a1R0SxMDydCo3Tqb2SkQezhtgp2zLcbcOtdnC1l0iBI5lfIO7e8KxAPZb0WpRYhTIQjlkmX8SvnZ6UCP0N0ktZtxXCuupAvW2H9CbZ93orrXjkKlFzgAfzS7UAKdwUdXghZG/yM26eEKRZHDLFSUL+lJPvFMaQSdt+HziM4hlZVJHA37lc45HbIdliTam84fsBQc/gw9A98LjSVXu6t+vLRF1NsQmKjUjOAMrz6uxP5nzECNLMv0Q4x2GbD54uUMFpPy3eZVyeOovmww9qUFyT7GRNpI9XKVKUo2Akpyum0148Ilnaeef4RqVdxDLxuC7iAYiebYV8Vj+pSohnfSD3EX7TEy8mPjFEhAMY2cqN8eTvCVuBHBouJsKGmKS7zFRoHmbbG2fRSy3b8ZbdAtL7TWWehKU+gNoNzfIfPOg7IRY88DZr5FHXlDbzSexUEYUc+BpRhvaTaqxPP65iB8DVjyOyCgg5VOd0T60Uu3YqOnCWfeR1y4Rrw4MZzAH1OKouX84zC+hKXbAlbUkCzN4sWDHemZJPfYREYrgCrstvJjogIDRLWwTuzvE3eQ0PFCH7cJHOcyRi+qhLr9tRyzvOo4uNbyJEMBP9kdKQ6N/0Wzz1scdr3GqhVJI2LnCYFrGNw2Du3NyK2UNx+29vmCC6w4V138X+C8dckWGvrn1FUKL95AvHdpOwQsUtID5rZPU3m8Ro+BszB9BOdp+8tJaOPigOiZBVaJR4n+C3zqhV1SIslrDZRMOsDZD44iKWn4Am8WhoE/uWV6OmsvzcNWpgp57o/d2kv9pz+xicNG2sa6ajlE6L1C8XUGrs5O6+k1lODtxGQIKhYx6ZcGsSpKXw5EEqSSpS9uynxytgpbxeEFp9aSfoeWMosySvgH3Go+en4sXfKLhuF22EcK/GbPV5b8iWnF9irVi/Wr9jw1ztNypfoN2efXmezluE9dDJDkt+F/J2EGZ3gzobfV2vFxmsWGQ16XI1jI13kei7dlGHMTHOLExweES8R5b5obIEQsA/sTVMiyvypT8j5amFwqycR8WFwJ4W/NubjFgQ6dDDlu9dKbklAExZoVCh4oDduOQE+yCrxYniVBdsR9ZGjl9xQLD7UVgc7C/WP0w650Lcn18NaQZ4mw6veZlGhcgNPzbKJqMWpmBfneCtxfEjUxfKoxldxpiki7SiYUBrmHCVqgmRrJ2wz88sZqGRFqZYzE7+phmRAZHRGHRNU7YaxeS52YOCrJzz7+2kmkb6fm/MQfaIy9rtribn54NXhLixq8ov8h9ZXPW2gaZiYB62o+lrrw6bXEoR8wXt1Vg8JAZFBtAykWBwHsfhC7jKsrpvHTd8HJLaQXKZlsIZB/CbjoaY3M3oC9oiefMAZFSTU5wzhSwBm0SK3wqEBhGaZTLMTJzVa9e0GX4eYZdUTx9LneG9WJ0I+PGYf1aSyGnqh7HSbV3SztJbYKYpAnmv1GLChdPOSTZrrNdAxZyOa43jYaRY45YnxFvfzMm2DIohFZtEr8vrjB5xqOv15yT+ZPsp+vLX2dUQhL2ofeuwAcTM6NaxNcmQSwkg0jCXfphgXXsMkSXnQDu9MTWLjRpvPdlv/YBxppIvhz7NrJnl1IWnZ9vm02EHf8SeCtO1FxgsEsXo5ci9vWe4diagOyqpOvdZtP1/4+8tv58+v4Vf5VB+duTjD5swnvvH1oygoatKn3asZh0Tc3+eMZraDZDobKQ9fTc8YvQokriBfDuCKJTEDv9bRheZz+oHVEyLaL9aOdpKSvHuhEt9Xua4IVONZnZkTZBXswk3DllaLeIS/1hljr8JtTbGUztBdil2LVxBaPxIsWbZTTwSaUjjjSLC+1sytYQPMV4Gnyc3WN/3/F5zs9W+xfenO2ZHzQJiEMZvldrP/mPbuoEvfrN5v5jomdctFDaEck9hwr7zfDK98Ax/3YPV4vANEn4QFhu6a+wOUs9+ih5CZgVcHTenQAru8w73F+pKEFWwzRGdN5gIVUJw0sKJttAWlY9i/DmGaN5YvsFRaRvux2NECmlqksnSJwOeZEIXe2OFsEOHRSr7FN/QJv93RmmU2sUbEvtxoB+9/IR34EvgR98J1hQ4WEi4AfBZY5b07qPY/B8FJxy3WLuWuTPO5wJSAAVvSNy0MhF60igyfSH2J8fUHN68xZGU0aBbMISa6mw2zWdB3U9krjfMnwHh4kVkfR6bURjLwjhNOb6hF64x65WnxkN7NpiEvX5SzbyqTWk2wxchZw3Wd2DiL35FBxmC6GWOHGDzZKrBlwmwGCItoNTvW4zH/+I23FWIA8UexTpfZrzAfKgX/kxSp4I/5/6SX9DcXBqhjGpY70ahBoN8FP1wMSGk8dD80Ptk92Wm/mwGnkfkESBM6wobSsVc5TttQ/yfgzRztq1blwSWfyiGGYmZtw+SRb9MsG2nOQ7zXXmT1IMeo0gm3Ya6kS7IboxhB+nmm8Bnkmu7D5xK+0YDx8sB6M5Hs2JH7NWV4ugSKyraS1gbrvb7DM7a3rj52vthurf+45T/QI9ZNUzIAbhWUd/fZtwoFGfVLdchPV+WmCKKz8y5EBVSro86S3DUNWY1BFcTnypVeWgtK0dp5jVmvhgwT/MCN1e/5ejbM7MBhmngqayrbwhyy6uN9FBgl8ySxuLxp0yI+516tX/ToxgqNfgwReWqMJlakCXJBQZoY6hPLJrkEWDm/sCWDDADdNIB3SPKhPfFbpCDd+v4SvGaTWKa84PgMdd0ROCDSDFTBsIsrFf/Hg3kHpc1gQyV6q6aCNvLYocshwYj5WivY6bp3UkPBaXpEjBqZCF9tSVyxH1juA4msJ5MpzNWEKBgpAdd+oPsj0U4WhPQVQ37I6XwCBJ0xMmMOF1qg56WaZSE4zdqcY9baMKCIfY8uPeUICw0LoM+WfgMJnEg2LWPL+mbop1jAyEkf/1TU8a0dYFWPJd4W2uL5FjW6nv2TiR0/LqpppaejyEjkZtB+3jpj1gPeNdeH7ZVHTFJxOU6EjsaNN5SkIh/iNNGt5rTPTQW8kyh5REqX+q+NaoxX32beFGAN+3kyCf7oI3beXzXRaPXyMD2q0g6bSF218FAPcyxaxWlugon0D5XoNyl8LvVswj4fEnRQlLMg5/Ld1aEQ0FA7TLPm//bOiRvaHvBSslTtF2GEhtGoqF0dVOg6m8zZz1yGkJ7qdGPYnQKnRmFQ8Fxjl4hgqsNr7yWj2NQpOj047CwA7mzutNahTJdO4hXOUFN9vTs7CUx68orwwZ5HQ+DQ2MiwRUIgV8cCFn6QDVrXVesSzbM8kxR4xXtruorGs37F1yyq3CDWvjpwSEqZ+bUpfRCN6gjXPTTIViplsFfnl5DHB+dF1V0EbeKAU8OjIbpOMVnk4ibUXxEDtwoZgA/GI9j7QcMGW5zcneOM7InVQeU5OO5hkI+YMp+aAXGbJLCZ8FsurOmRtHPtLDl6dHT4YS/o9wGCfqS+4RBAKl9TTi0sGwk+TtBrGinwc+rQgHnP6auMbBUuAn6ofQ/zs0ZA5Y8hCz+axAFyRpRKnKrE7KWIFW+Rp/3OTtFftgRgcLdnzQivino/zHLueVxL3+0jXBm+vA5+IafYYPPhYh3RHIgByXWPHIumq+0DUG6bq7o11fTxK2/k0WGDC/3OTfI56ZnMEJBMXhcpMd/GKh9r/mdWUn02ForPQMmCqv38NnsYamT4fPqbqJN1oozVboT2/HkXqEckUmri93ygCDGtTJRFAw95gyksF+QYSth73onSTYzN+vHgd5SCKmt4aKFnq0o1Hv69oB93W3qGE0soiIzBGkLvHvt7E/1MrtVKB43gJVk4X5jAPnF2nhiheGKkC5axcbKCBGjDvquRvGPKr1aYqHgIZNmrlMVDORFdKcpqLKEn8PdG5uOmJaX8gvmBC97VU39Yvu0DQCM/EXFgNSyv6wD755qcnPS9a7ZX+1tAeyqpSuUfuvDTHIx5USvysueemBQ4IIhMVLTqNyvqzL672M+/GsP4/6UeW+nFJEeVYHus7zIRufkeUNxqKwfsqyr2ISQvCFsD92h0iWJicHueCyjnCBl+KeXYcuFuyhJ9rWNu0sqfNNv96PG/bqf7GbDi+FbEiSHJnQHqq4I7KLQdSeZ1YlQ0hrqTciIbjuOSg6stqCaYEk0kqOU1ZX1wUxi6HuLpuW1uSckUEiYbpFi95JNCoEOKkes7UGW4BqHXX/S1xoXewKJdKhWbIuIJSI1dPt2c+54NVblOEWjeTinHaYu9YbkFDfJzrJtXriIogUDmhP49OSiK8y8yOmO8DwtrfmUls6fxt6R64ZSwXNiCowKWJSeAp4YEcWElHIaQbOP2H1nYRrqyVs7wK7VQJaDuWQGk9zeNGon0zQRk5y3m6C5C5FPqE4Gqh0PN1DK+NNf+ghyOFuDR07qZInOdTXrr92fe+whZnoVRPys07cs2KqgStAye7PgfaeBAgoDz+k4/+yN3ElCNaiJ2fs1iHk1xLFKy6RObbACagYjwS25P181I6JG8ofimS7TahICWGa3Vh788OrKjn4bUb+Io823+29ekIpjOCAwkX07JA39zWabkEpUMG7ZO1nG/GZCiZ/wTNk9FIxTX4aO5J5yqVIMPkvAaLVQ3GXmzHyUFFZgvMHqcJNUVPCaqMSbP79nHbqPzO2O6KWU3czbpghLObXog9vxn+XwR6tILMbI06I5dp59mqDES5FDL2T2lhQPPS4NvZYO9kGthR+UOfYQkx1nYT7O96fAd3KX2v9ivIt5ZD3r5xS/JpwLyNx0zvs+5/dfecet2EQyS2CUBUg0thlH62hbIPw4Ha+bOTvWNdPJkaE8a+Ptkfuy/vyw1X8HqEUwhC/eIdqaAecsaPwTXlOwQ3p2FvEUH9XMxUn85QbG+z5qLO5dL6ZDp78jvi3NyzKr/ghV7PxZwIPcbK/WyTkG/Z1iui5V/t/VO6o0MPH1FIJb8+dLbpnK+wmKDNijpYQ/b4eINCLb205MbWbUUn9h5idhNlJcDTgf0Ift+tS97uz1V092iKwITJKfOKB0s1fqwNf7Y/+5BV1bj0odo4nQpj2l4LwAckpa6Odt4mQL0lGaTdyPKiKMtx+px85jT2oczJF08LWBk/oAI0PwPB42t6p5keZ+WGd9fOYaK5NWOEexq6hAhlDfCBBtGH2cDDN1C18lmY16jUcwXUEZiV3PtLgKJmTs9q0W2OOBiGzgnVUBLjECqksSdEkPWNuge6adSHv7pmUfQFFliFqCHdnPzq0TELzs/Zg4dTMaYs72mTbqYf0oqBVOzO3uiLG7LNq0frOx/5QcqvZo245TQE8qsk5uFER0nu4gRw1frnePzWIrSSlh3DK2R8cwZ436SoipXar4Wts2V3nFf77LgXCuFP+4pFsgiSOXeMkJvkvl9O0Ml5nmh9bz6AkWxGy3i4NMHYf+BtohIwLls2EmxtA7+axIdJNwsf4OMF7dU9mls62832LeLRuUS+eSnXTabb9tFpOcngrvym+HVOFZ3KDsiHeWksujOu4vJBWCyZ59aykxYKPbfOACaafsayG55QQHgAIFsBSzXGNG1kI6NLZSFW30awJrb9ZkHAnUY2YKdL1ofgw42L3twAT2hJjc9LKA/34AasoHSa75fH8KidkRkYWeLxxIRuhjnuBjvLb8HeUj1hiBC7eiXSP/7paldAz43KpunZvtyAQIPNHEbTrXOjCUGWo+0zu5MJKSLmjhhJgYev158yhoe7zNyqKfgut/8cEhrat0E3betVjsCKdYCQt7GViJo47VFTk7jol2o1pONp15F2eX6fD7Y3JkdI7Z7dsPpo2+t7noG74QQ76saHBwzHOv8SHR2S8hOaGLeVYxVvzi9gDtEMB11sBIuRIinuNkG07jZghE5zdwplZDZq8Q5CD6s78JDSLlpfnnMSYsXP0o9YUCEYTyH85dqlX/TT/HRFh6akcu7Y4BRUa7+0q7+5NcTytOeK98DN449jalZJnXP1QjY1hJgqUdaGwlMv8CA0rALrUtOF4NxhGZJs7UATF1FasbKShJ4cRRO0Kq+kkDmg8bKmgzu9bEEHJZ3XFsV5EktitAIll7/tgHzCvuQnm145s0G+gcEmkiKROsbxGlUwqfDbI9OG4k7M192khekmBIma+oX2teYQ8XHCbMBVEjVkUZedyJL8lUestjfS+fhrhkTNdtGwKyRtj47Q395+fOeUPHXn0fLiv4cpK37kA6+4K9/6BHHuIsfupDELDfcLmp7RlY68IdgCGr0forej0tQJKKV3W2D0hUeqBETFpoWxkJPZ7JMKx8Dt30unCmTTRxq3jdwXXuOuyzqI6g5VK3mmd+tPnuEyZfCiIpMyYR0vYg/jXeylSHYjkxcdU6lwQzMB/7UhpD5JNaRA13NC2a4AriHcY8WoAcDvlajjZaD6yglbcmYisvEzCIUsNbifHOB7/JBGLyjVOp+hZ7iJuUQ0/xlkTnRigOQmdf+3PbDQ/d4/5bNkTYTsHfB58yPrhf0EzB9n45dFLebDpj/nrL9Te6ylPWArC91yWnP51Y6p24vNDd4xcdqU6ksUWHA3H+cRhuJ17qEGg7RgjWL9u67l3lRHuzi1Hc/mhJSdn+66TUWwzEONkpHdMwd8vZoxR7J1QBKFT+su2PZHyuetZFo1Xenm1CG1Nacsrq+0K9XlBb1zZb/PsrAn+T6IDSeOslKKuIi2o7fjWGDhHDaZTpeC88yk2CFcMx9nN6BcKUDG2DtLS6tHtz52PuljhtMoJgSUYj+4YO8NxWIarW+rK2VJX+OWZghbcmqb3EWLS937zyDGe0HJ8X9zL9GQOBEvV4x9J7g+HrafesCkRoRvnXBa/l+PyIa/1eO1W9ChpZfwKFD+zkeBYb9Fj9XU3ZJ1m+cF23adjnsofbuplG4faAXxPZTEobM0cgP541TSR+B57IC1EqDzyq/z6rD9QGh8rcXLEl+AOLKTuhH5r+XnqZxTqpqJlql67v9mZNaLEA/OJDzyCsNXeFNW6XTaKllF9queYJdLoz2BDGPrX3QsAE6dfNFcGr4ATqUqMLPggYqHbhsiKVp2MI2wcJ95xctf35JLanz0B7LFpeVIPiJEMusAXX5LE/uQKk0+PCpl5Nz46A2rL8e+H8bNdllFyszBF8LQANI6AyJEwH09v3bWzOGAglWCQfJYYzFYpwJbXU3gzSd82cujbl1ivASDRZ2qwC+DXSwz5Q388583M+McL/lq1TFZ8ANM9601OPbWrtizMNoYqPU1sfgoFnjhZTMuRKnKGu3sSlDhJadzSKo2VkLc2O0pOhZCUjuqqxtc4hBI5ILt50zWKUmyHiNQIzNQkhFjojTDg3PCTPv1c+EbPhx85+Mf5kV4YQqKdJXjHVKYKfmdEqFWWpo/CeFXOsGzAkO9WaLv1FACKJ6ZEqlo9nnDmV/ojw0fF0nXsh9hTtLQ5J357PsTQ9JxBPQRG8bYm95MWqqldoqaokLwYHG95wuEnJIab42QdpBVyDr1d525d7cs0Hvi5iodX8IjdkjzwPXnlNzqDz5rXvdTxV0MM3K6cudeeZGNxRXQV3tauNHWIkxgbct+IN/WGbBNM7GOoNZtMwI+fM6S94P+G2NNmuTQOFDdP6nhuKD+OHWWnHZ71f3nwQoTx1UzSPA/6TrHO/RaPXqyTd9J1eWTZjZmYCS4vhzNbtpG83Rmdx1VMCRW/is5UpihvSB6MXZDYm8sKgClJkreKcqQqaev7qN2+9NDnhCFiWG5PV5jpVagpM0o61amLSGCoyMXx1OJGaHcRZokTs/wyUXukTC3Vp4NeBDMBUMb5N2kCuIdA1t/rEqKQ53dPv8+qjdHD9pIci44QmQb3GAjwDmYlBEeJxiPnsh1jpq/a2hb9vP9tJB7v0naQYZMWMM44OqnEDd49ad7xn16CAlpr0t/pPP9qsk7aVSZhdv4QTQ77i0nP0eMQ6KFGFC6emw7wXhy1AX8fH2rHOIIbpNHQnNPKFSs4ulhwKqOWTR+9dwZWQtQWz8w7W1mK+A5QgRb0zoaR1AbkdVRjZOdzwjqcEsYh/7XJsqWdd/q+v9P+u2bw5OOOY1kJ/bD16J9CkAxopyJ29wW04GotSilhudDsWarpbFO7pZdvRwBpjIAUOaE7FEPHQdPDpHwfx42dE1rzKe/q/Buvjz1XohTgHEa/V0Kwc0Qeffegfj8bhij1DCXowwgqhaxYye1YOHnx60G2O2FusSeC+9nbNZg+1p7TqEIO+m2ZX62e7I/DHcUx3SLE+x1H8kL8RNidzzETaHoZoOx2axoyPmeulLpAdfT7uA+5VPKtDywk99Cq12/VeE3dAuJNHIgqU6+A5oZQqM6XU48et9yKhbDmlG4bh4ieBtuAy/XY7t/h0zN+2h0kzlOzo+4Xzn0xvTmbusaHbM2B1BDs9wnzdxaXsYGIfFL962T7wj6vg1NU0zVhzLITkWds7Bz5DZ0wlvYj8OUgqXatjx6ALwBRy8rPjVLJUnwxnr2uz63hdvUzP3RZD/Q8laUWTbdEMF/WGz8x6oIY3GVWUMxfiYkubUNi+ouLKbaiY9QXLTvodsY4DADXmhm1CQ9b+c+m6xPiuFXP7T8KKwpw9+Xi6PZBRIAPv+nJuUxfo4/0BG7vTzHkEj0JsmxkZDlxhV2ONxowVukIu1Tu1nU6z0XSHb9ac/2T16E2EagFOtyGcH2canhugT3tw4sSzJzkLWoWycNeXEttuJnlb4VB+tE9G65j+7f8a/E9WtRVgUGxrIgeIUFnxzibuqexSLhOQAKoyjz2nFFoH2dAWcFMmoo0WL6gOWCtRE49QA2+oR8WzG03aejreoRDFk/A0ii/2jJyBhM4BS7pqwEJxWqPZid02bSn7Pmq6kKiqKoKRhwzcEmwHt8DrWOP1JVe6R2ClLJkKhx7KoAFxVVyzw96dcr4gjyhI1WmJRVw+hkC5JGtkEICWHw4N9PqxqBs6j4s8z8PEMXbOVo8h8abSPZK+yG6UiQvQIVKIhb+CDmimJvsY7W9Jg1vErFix1TBZu/3j8SfW3FIoaIDFkCmN5PgcCrf49caw8XElqcbGB/zMqCO819/Yf8da9qbf1JvhWlywIZHBVAN5wI7aTgTn0nzmL+4LF7D5jmhXmjwMU6+rzY+tfw4g3PBpm2lJuzoN4xv+vJvWdl7s7Nv4TWgxjpGfuNWEdWUVps1YadBWV0kLm6jyV0OtzawXbpyUH7bwHcRa8VsjhrzumqRcNNGHgZCB7HUKABMjlYqQYg8jBNar6kBcHUkJrycuIfk+3CQCG3eqQYiKJOkW/vUoteyBlAkU8dl5n0oaO+ewrlj5/ccKqXeZjg//KCupWMdetDjwAa8OtTkRx1scjUzvUJmjyXE+47EMtvogOyRcj7NLPlvcZKmclZT5y6qNjz7cq8C1VyeuIA2kGJJ2yZTJUHCRtyQVC+yllX29knb8E46T7Ct1SM3lFhFfRuEIYf0EzCa4NKLs/xlmpaicJcoXecfQom1Q7pAwaGoy8GK4002acv0QLsqqRab/Ov2RmJsvc3mueeDL+P3IFH5PzkAw9Yv6GoNYA+TLBdLioeMd82YYzwptR6DywmcBpWjqaeJPfXuuI0s8yMN8RbwfIw4yxiVlOwHrbQX5uWGSu7AltG2P3faQt6AgzV6Ww5WH8psneUC4dR+CjkuSGkGYPbnaq73DSemqyk9N9da9yHz+/BcKTGBQ/qNAelHkyvG9hkshoaBvv7cxgxgu6O9GhdKF3pZEibVJJNLYLclPzDm9CSaYE0woEHF8K14b6FP6SOQQAEa7r4RTUQzl0Ebko8L07a6QC/8zpiqAJ4shap62iFQjVeK5FwAqr9CbCNcRt/Y96atQvdjM4xri0MIfifx70azsnD4T0GrtVn8JpFj1g9Y570aML88RYFxEE2hKpls5gJsmI5Gc7+YrhKr8iT2YKYrGNmLV8CwfnFYuRlvNtNM13GRgjgRgakzo7vY5rk7i4ISptICj3G+EH+3jy6LOpNOk0PdpwLzRPA8Fxuabov8jxxkdDiVEDnEfqBIh9GGfr7CQ8kyWcJVb2E0BIChAh0MVnvHe705j/QLv3OMheT2qU5PcRDQqrK9DEXE5J5yA0R+61WjbXeJIUNgThRK+qEkWk4Ji82XNnqY8XbWRh7l5ilgRWyiSij/n4mKDYXbjWT+KH+UDxDCepHrxFURW8/Fa1csOnZ9jroFOTwWHuFy06yXdrK/pj9dYUD9OgU7fE/YuGwvonH/lYkuzsd3rV9lrHmIcbB9AxtfP/8NUC2op+YsRbDm+fVTlkWV83ipPCXCyHJSbvc0yvzVfHYPxzJz374AuUUfQDnUaTH7dIUb9D8ekOXYUdDmUSkaiMK7HK5MescXM4NHwutYLvft5kBdaKLKVh+7V13mqUh+QQwxqROGFE3hGh64zZ2YEZlVccjqNag+5gDhZRgUwo/jTuNl+juHUF+eIJ//p4BWhupSwIt7d9t+VNlzJ9d1r5w3aLLI5BoOVEhfEb27vhWJiTNPWplnheNkTMWkkq+moYJ0D7xJ2UT8u+F8nzBWGq7dKP3LBLOAb61uB0JfKcd/J6Mz8zm4v15ct1H09vKIX5gDLItX7FErucsOBWlWiVVODo2Uje0muu4sovGMd1wBtCUrxXpRl//hceLuisTopAQe839zlGPp44eF2Pqs8bvmLPYAwYtd+55Xm/PHzfvaLm/IOXCaT3t4/T47ZzFH0m4lcFa4FAM8xYm6A/r6sTNKM5G159a32KsDnEEv8yQUeHRauFrLe9b6pHXha3FrmfeaqXiTChaXgxfzFs/ldfdBlShmpH4MmUye8yorqoNzCK0uciISJGdV8pN09SEPgC29XWJOwryyfZ5HiSj/yxcdFjSpmRnu/Fp0ZnVrnPNso0SLZZtiKx+WjG3KDEbpMGosPY5r8uKz5hLOIK71ogfiJQwuQ8+oTv7kb1AwnrU1qK5KBj25N3rqcI+A52nqxbr7ZMuogehvUb8Lvfs+tBvRZFug6tG/kWmN23AYGSlhMRA17ZZ58fyjtLhsm90tGqvNargFINqkcvQJLf83thGuHyFmmyTJeFYrQNzqLoNoO1JcFDXF3aLpZ76Muk5sVfX4j10SGwKhM2txt5748Ybd3Wa1BGPBPbsCrUqtPtp1OKzJa0Euz1JLB5eDENhvUF0fqknQjhvrxPz/U05DiZOew2Zw/eB21ywVZmfgRUOjVDWTrpc32NXISCAi6tSxAs3JPB0AkL320Yg5nMjxH8+0bj6IlnRIbifTc66OObxLTMamXKtJXJCd+JSbsUYIuQdBynwAy2PGIivneLq+UaX3lAkHOgnBkZ/5W1WzAebAqeb6ql0gL8y056jJoaZJzCqog1z1XeecMdv6geUEXf/YC0RHJbAmWtu3+DYfMqTDSI+053lqXSv3sYcrJ5B88xNzO3KRwC9uWWCIinzYNhdYld3JZr5Ik/ZyKv5Pvm5lx6SMvn3I3Kn8ry6D2bzv8z+RLuXVdpW0r/98PG/SJtI6WHYwNI4YgJSZeeqSEIqj3njRleBWhSL3aLqUHUlEGvY7XOUXCLBanPdXs0ysYjYFAPxMOp5xyCDgkslD2/rCmanfZkplhtmKZ8yVsPNjQyP+5sLvtu06HwTbPc0qyJeQ5VbR0nyvs5k2isl99VA9Bit66OVaV7IPvLxTp3yRwFCysxnDAwJOToYjimtNl372w+NrJTUR/HbLfx8aAzpWzs+MDtCOtzg11EkzktCCJeS3xB9aoADeCbXQkqnyN5akVz0PAexnt+rlYeYo7o7s6dC01xIYhO9m28MU/WZM3bQ64RYX3SArq0P2OA5ZHxhPicdGghN91GXJHByRYk7n6RGjr5aGNCdhv1d2mpmC7K8V8ukcnmbmRNz7CEc1NBHJnejYVsZR2Q+FmpRvbTX6vLo0QW1djWlegzizm9S7XEmV6mlLnVQ/svRrddJQ/g1z5vm2k/ibSu/XG3/5l/IAqfkmt7SYbeUQ8ZiVUSl6fAFgHF/+aM3CfsyHwjE74oMIY2WyZ87cDXUAOSL8piXcZUG3uxQEGX0WdfyrGrwBI6EXd5ZSxkZPaJlO+b+BUdgc1U0oRGRtBa1we/yeR/YwUq7quEOnByjmhvwYnKWBMiG+yUXKQv7aau+Ayupp/lCLI6gNv9EMM/rBczVSxASRh2zNmW1M7EFraxPkMjlVokX2kKrJg7xnEUUjw/hzqSKXbp5caocW68FwgFrQJDWNS3slRwD3tZdKqTc+Z/vjxLN9z2JLNVPqadkpks8boPRj2oRFvLyxER5T9a9wSlHdNoHccDZ4Vna7Y1VBxgTtxWQgitF+TE03MLvUqh4lagd2mwuVeiEo5jIACmhuC+ThIXcKFDi5XTBrciB9DZG0BUE6xOlQc+WJyEWNCOBA1VNe9l0HqxEOLLvcC79iq8R3v+cLEbZOqWUmzyN5QylssH0yCKiy8rqDgM3hIVMzWXqeupU7Q2IPirSzAwfHTgTJqmwNvGjODa2I/i+65HnChxilVq9ta8KE6ecFs7L34Uc+Z/qEk8ofmzMiDku3pXaDi0NggoIGtA35EE4fNiaejPzab2I/J6DvS8fK/yfQTaAUVzW7VNAKGi2SmHlyBDgFJ4wEMSGgXnowLxbu6jVmq8eYDVfv1kyDXqSZ99TTWLSQGDRn7Y4RI9k2weiEL5XABn14CjjQ5Y2EQsp6dNVDdC72ZIhaW7MkJ7nRlrb++c8ngvPHUgEyKkj2zwj+R+K9ol6lDJF+xDHtPN2IgHBIjPQRg08Be/kUItLwz9fyHMmuWdG8gt5/c9djRLgUK/fy3HtXnznJ3BKmpowK8dc9TJB8xl3C6sox6K4+TOFXR03Kz0xVhB4kqHkheBeks0PiUNrZXLS2dMOOsat/lRitgFGEwrjg+ttTJ5nrwAZ99nOW3X2MW7dAEB09VTfbKa46lRfS+nuqfinoNmg1lFhkktCadFvOwF3bD8Kj4rRgyXypse9FOb4LaE76g///+PrendhtnGkpM8ysrSanqqSkj7X3hhoNQKuWfmSrb47bksFEWnm8WaWwyqF8URGIKPMJT+mBhI/02z7FivwhsN9SUE3RJeHJPsYhpkmSmpjzFiQsMUtRdeq1NQahMwTiir7Abzu2cwHCMkj7K+CFs06MjCoNjBPh+KJkhrfQVrRq2/IJu2sV91V0WR6ssYiUXPY14gVPaz7sOEycH1P34U0reQQ1jHfZtJKxWJ37pJr05u8v/DeyRXZxFfa0vC24pd5a0BhC+QmcHFApAhjtagUR5EW+lidLO2ieVrEsGTutRtMhNIK44zpAXN67kfXYtDMKR+Is6DmqvTeXFUVF3WZj8HqUfpzzdJMDUWyD+URr8mwy8ixWURRl+BFp373b6BWgA476T7KG+a12Y2BUa8PTaaIIaln3+ASPpiJ5yoGQhTz2GtambcAa3YdRVlwGDuW/Pk2mOwccaoVtHe6zK1tdvvDDz0S8eiCQSWhER7OnSsDPDQZuiklDGawed6kR6myIecb1rnJRL8ikuikWlLVZbUIZP1NHfVpNbmN5m22xnz1FMlmy7ntj0wHr58tL131DJneDgEip65KXY9L6Tt6pOvd+H9qgvtMoT4HbIr6yrnq5/dCW+Pn6E/aYZIXrVBFiAJ2F65S1GafK/3XbVXeUHR6nGnpZxzgX5I1CqBv3VV+bgeQ8naCRXfJf02J364cZ3Cp6Qyc2R9hfNKHLUvsgNZdILhyU1PlQcqHUKM2yFOHISD3aaDuEDE2JNQhTBthyZ7neiaO0s8x6lXHln14meYo7tSRxvEu9nz4Uu1g/Ahx9rM6T2qVWI8qyMa9IH1nq8uaGErAaUPSFd8gQn/PSb48R/HCuZbnHvcR5/f9Ysm/GbdmrtD5Fwmm1pIIhob06aAP/FD4GybpOnk84wrxARDcJrahShGiQMEr82/h94EiPlpPnW0CxeC3NN7T2ciKefKTecqah6sM/RAf5RcYpTv2kwlFYT9Ryi9cDM4ZrhGI+k7xngacaRjffjECsjEKojTqrBGPxFN16rDRnQa9kGi7Y635llfRAyaHflUp9W+IE/1oorZ+URkvSbTbrXQzXKErm0vsXBi1RETM8uNtM1Obrv4ZnnEZHl9l+zoNzg9NMn8jcphVYcWWzPVm8EmdkvznR9mq7wXONcXkM3b2b+pqhmJWcMOHFjQn5KgjB1HNykzcDFYYLEZfygu+++vmDH+4ghQYyEXNBPg3AbH7Y73O3kynlQQzj+RH0Q2AvfJHQ0ogf05c+QIbc0NZXB12jfEapR2oyiMSCmiuRSauE5uzD02QQgD4q8mwMqykGZabLRPq3LUJqqLKRslsOQG1LzVR/cl+JmNXStIRbaGcm0e4KMdchjm9RqlXrDHjOJEqixXd20u9TrwQ9McH0fU4n/oUsR5Ql8ecy6tQ92K/rQIjWNr8QTde8fCK9Y78WkkkgIG201eTAJvoUa0JZYQA6vFBoea4par2mw7l53TJvq6QBOih41BLx7d8EgyL64iB21ySlipCMgxF4UBuUJg3K7qrTKEF0w5FW5zjmJcywi/eql6UL/fRzR/WnL6F1EdIxJbPhhUckDLnABQnAN3/MFCdomnZIApuM5kOzdvZUZqlN5pYopbA/G+AyBNxuMKNQ1ZHDS2XC5huvLU/CgP+vzy1+OoiqQ25QYoGlAqs2R7yp/1eEG8cMwWBzR3xtRHioygmE8soRJQY7O0SQ1/xHMsDWqH8prf+RsaRofiteHBnNym778QhKs/FFLJZxIlZu9qY3X6vmExTEAXmievN+3voj7BVVDhmFHpSoFNTzZ3J/mk/4UgoVvarE9KHomlxRky4PU4JBYwWgU76aTUPHpOJqnJXdrmJWHNMo0fhWIZhvbI1En1+Dy9Xng8atvl4cXdxAnzwmX0k8JdCkY2RbneiHOGH5O6LAHd1XQG2nscn0+b+ziAjxiUFxlhreZMl4AuB4QRafysXqxUisEx2D1BCx/QoW+uGaz5YnkOORgcITL2SidlxMYj/bcm6qHROfHaMG1IYW2OjTHl4A+mg77DL40FdalKGmbf6adSWV0v8eS/jtvfKIUq/Jbd79GbZVXiYAj0GBoVi2/7TZhETULJ0tEmrsIpI5tanlmiWyffPlKRbiuOPG/GhlZ/hbIbis5f8m+hZsLCXdmfpkZo4soZ7uLl4IWtNZebrtf0KHUT5P6qnHqRVj6yfAKhfkmWiVpt/df6HcqMEYL8xm+R/I4XV3ITYMU58keMDJrzCbhapb3dmvBOxmx5dKaMF7GjzL3Dhb7xGpiCsuwNA5exk08cMeI9XPgBOYGrlu/3i2bUjLtQsAuQ+Jk7v53MHZYjqjaWWDRSjEddV6ABk2uDqoLSUGtMJRnJVZvUtMYoYQBHwbeW1yxr4unIEzv32EGGYOFuqk62Iv18nHUofZ/pNRal5+GG9b68T/CBnz/WmZkj06podOPDPaO1UQdaxL94iY+uKG+nVFckbd4PuRwPR5pcQciSu+IgXQXNh4pNcwxzQ6l5oju+PE5QVJY6LWgt7l+HpIv+nn9bNZRAsK6ze4YEQNAFNJUvFUN4WfTWNaomV8a9LRoFswVaoELHL5TBMqhTwBIbUnbPeEnXmef5D/zXoiOHhP7HqfcJCjW7Z89BMFD+bGT7aOusgycBGdDTmSb6oOOe7ibR449TeL2WqYofNj70dLtr04HZ534rPdxHxr9EHZJHyUONei6xyX7W+762OEYRsS0CFKqpu6rBfYhqVQBGoACaGYsVe1VyzQmiHwVJMbV6FqycBVa0RL5JIemQuotPtirEXn45ychAUcBn4ff04P643esNXOXxQ5ztzpEMBuUmdZbpr651kro8tMw96BJBP12Iv8tgVCeRZ8lB9WaX8vlK7Csu+to303R4RTxvMibvriwIGD7FKfPUUdHyxrHXjk8FTCPx6boohW3rLnzruxzZaPPjybs1EDuXsJ2RXwaZLBLiFhfy6FL7mRZZunbCYlqF1varErpuETgTzgUT1nPq9F9JP57SdcTlsp+p+SEfGmSVF98rRw4ITf2lw6kXwiVBCqT5DageN/OXSAQbtkNAqE5fYel7JEukeVGfxf0gKgNiONQgCyEAWdzzdXq4qg2zDv3reX8kNQHod6hEPmSyKqznvSNRY90fo0vzwcOxlOc9rv902x7+42RHhUtu5udAQrBjxY1PxTV61MBZT/YB83OxfVyw6sSfilC2pQTkqBlRjFRTr0tASOxzmzY+CTvX2YTXpAAGa9UEETbBgDwTTZD1en6v11UCv18WpYMyR87+9G/YYLbo6y608deI+2/eCqZFtnnUXudw40TMkBASh/B9IorL86wGgZp5KyK9XL1HTebjk1waKFgVQ5YzrrL9GkPrm0OtTqbo7es3m/LUKu/AMN9627YGFhTuyr6TVXdDFa/ngh1J+mLLdlAJg5hDpT0Di70cECNUSP5GNTnDru5br7vXlV9ZPATgbtSa+Us+kD6DzdqxvuAFBmX5WRLtwIaX5WgXUym9NSKdhdy2/zXk0x19/5sEm9n5uKFM/uXcdvSo9FafXQFyKK5sQvz+ocaK4nAtL9cvEN3/n689AivlSX57dyblVdu9wyCzeRmGXAENlZS5FXUqU3gkqPi/yAhxtE8sXAflAbsjOi4//xsCt6fZ3RE9Dt6YZNVgoA5JSfT097+VtpNBSX6ivDrIgciKBNn8kBIJ6WKgdPJ1ic2W4SmPrPwiDi80AKDEup4cdgKPG89zbynwPPtRh9v3GVwWroG1hSmx2gLg5qK1luFBIY6C1BeUFyAZbRQI0dmKeyAUYB2odS49MgF0XME743pa09CEhKM+5XyazC1x1Sq5pVzXNdjBZN8o+PoVlPgr36sNuAVDWY6SCgWHdpxomIxq3yt+kTzO8xTpLeBRVQA9sHCMlHHff0fsgzZonGYKRIfguQD+28CQumnoDQBPeXA5/JnS06jAEMwKRe82L97NGL7RmG/CYpGOIiVFjRgB0am6RVGT/bP/eYFe5K59WjgwitbQnqkx5x06czRb31wiUkQQGcl27PcD42f4FpTez0vRXZ29nQSbJ8oq06yTOP9paUp5K6Dlew6HrPzOClmjkSesnLQv0E4//SHZMrYuuVz6BmoqWZ3LentO8OSC6jrmOOebLMH0RJ2JUseglz4d+OzaUjywhSOBsgPalc//txgkbnJFktOjjcArdevWVqgiBHcKdM37KXhdUe2O8Nt5reuD/wo/mzlcKLz+GcJW7H74IaGKqLL67oFJnJuOrjohiOHGcr/7pf5kYnjgcdvY+CpuEfiGwaYGI39zWNkyEXC93hS6Y4AYQTx7FBIBmI4DWdAF13JQlNeFClJRdJWoPWeEyCGIjJp8e2McEXGSEXRQpRDnUckhjQGwf3o3EvgtKkVjYG7nYyMtTmsumlZMi8MCLnstQ8yRztX78HijoC5Ton7j+8Rj1pp0uH7CqkfbBeUlMpQkHyypytF3WaQl9Zolz4gldD8WeRNgQx2xNsJfkk6Jh3oSoBuNYLmrI0sRxlC/1dlBt5/bCOFPXDi5B4wU5NkiEsVpyeoKBsLCDfbXf53hq+26Hgp9YSuoFEEc8yTjmYpUGlvRWGSc7Pn4PiFqSLxKV1BKlcK5DqcWj9mHoWFzlJ+E9bxDb2FjiCl+OF8bRB9NMFP5Cg2MbypEAqTo2+DUKhYZr+aTpQ3LrrbIM2ggANdv5eEVVoqICG2ClkUt5NlRiYJ/IkfMSYzKo2//WWWe2OahY6YZVbpK70gsyy1pXT8s5SdMehlchMjzh2rWGSoz81KXLGZTGwiXFK/4m5fBazYptxHmV84YsIgk2mIJNbFbFRjttUi8czibFksDP9Zg6XnjOlEEs6VeuykRoxhlr17bT/1JYm82mo357DSyi0qoXTtxWF8fVyw5RMz+1rvY4fSV6vn6KaO6cNv63C2MpvaTLdyuLhBu9shPZ5bQMytasM/MGsBMGJeUrAq1wkvdu/SFLzRIqFReYG7p49CVTiXGEs0VVTuO+5Jmn1eJRM4DfvxlGtaZdBkPmpgGPBR4CuNlfLLxl7FQ52Daz5kh5ngoGsH8k9MLO/6H2WNYk/Vi3iNIj+9F+yp0jAhwdK7dylbzPx+I01rgEN/k8t4f2tF7CV5tQtHDPxg3+PoQ/XNaYO2b2XdrqW2BoJ3gntKxvSxctlN3BXFWfsM4FcsamvzRhXkq50a8JB/4zWE53ejXbwrafCd4nlXRky6xJwRZ+7M6wEk+sZvULcC0bKmVUv1WgQI4gUWnCDFHkYtjwR/T5CErJB1yqlMZADprz+9+mv8CuMZhS4GIKJEPZ4uIxiYbBLPZQocqmqxhbZpbdL26J6V8Kp52IMAO7TXdz9KGo1s2ZPfiWwp9hZUPwupqcGHSz6VGseoB7UXcPemaqnQJFv1UKiURKJbcNp3wSf4pVGtIQnyEn67KpW1KE0RoFzYiYX9fOM7ZDEC7BVoMpVhApDXZcBiTvGRtYnoL5+8sQALeTAGS8OI/Amos3n0KPfotfAjjq0oX4HmkkOncxcyTDYixRsplFITHnRWuWM1IlVX6LUPLge5AOZ3K+fFmS5L7gk6frE++dqkeAv5j/UVkxUFZtUSoTMTLxhQEfyL69zbDvT7YuvkSlhob5BoVDLuD3dwgUCQnts3V1b05Y1sVsd5/yYK3UzqUlFN0DhcyWlMZEGtSiv8Q/Wd/OFntr5Q/mFPOm2gTHm18yVhqM6qeZKdkHyJoVtynNm++xQCvez2fZbEoCCa4XE9tUEcV9u7cbqz6XZYhYbxwhKGOjiaaw8MP0ufPjKydU/LtWu8e4oa6ABHoLyun8uSOFz9tUWf66v+a1CXHxQtYI3Ut90ZB6AL+FlcA03ipw68zKGb/reLj4BHIo6gp9wW5nrXWJi7xPZrS1lUUzdbLli9C7SJJfVaPAMSdoyylvWZwALkF3PK2oveVLGieMGf7yFmcK4LbCqU1Y2AHZjR4FcqFzQ3fFpnxZrfe1T5376pfbhTxSvAhBwV5HMVscw45C2BBKpsTkjtTKrhQujNrLkffmrfjiDNXVeXIdYlzROhnMXjnZy4ufkphhM2W/rO6g9aywibewOhU2tQtnV37AIRbRAj5pScf3bcdx19L7vQyARUMwR5KXd60IOJ7NIuhnDJDKkG3o6q1tSVXO3XyLzUHGCdw94mkydVgf6nyGJrng/noIwQ8VpMihyWOxgiWHHq1F+KuYeYnlLkG5WqnGT/anoFy9Rm+zg5OF8MWmzwn3dtt+lYHzztJ7p439/bqSR3G1iiOAohokL/26gmQy+AdDuNbJyN0vZJ5t+vXil/GBloqeAVPg3rEWBTFnicIK+EnImiUi5Q/9BlveFJ7kxXEsAs2RKoLdLU2sh/p0+3iPtICOKd+W93q5q+RThYgyMqBfIr63iZli9rG7tXyYPXjxpkhK0vsCrdl/jOQ96oaqA9IFXtu8m/p9Sx03qvThxSnW8YgkEt7a3Z9qMmM7GtaHcq5rpyJkt6CXrUTxmtl8RNEXM4uj+/H3YnkxpBLLFnYFtnx/qW0rw/07fqbHF0Btqhcoz2Ktnaw5SvXDkmwTNzKZLKItf+lDYqAxtaL+3t3qtByb5rIYOs4ubNI7D524zEC5iBvFDDa5Jq7kgRRp1DTB2e3Xtu14XwZmoN7bR+I4Wqb9/mMSqnf2bWzJ5zwpRQD8VPkGaTrJXWVI45gWsKoJkcFtNpJt+Bcwlu/LEZkbVGqcNTS0A8/KgZ8XSAbKhsmuKW0r5vzhqDwQDAjiLHU0eUgIAQHQhFoKN/Bigncw5p6KZ/kO4JsILOMFUDqF0t6PhQ9uW9KWjJs2SQe0pOclpNRmxgvsT7uZ1HRmIw8/FvbiFk6fulp08gySn74TFXwYMZKcwr2KZ9dUhfiMN4gLTtOrtFf+7XgMbab5+cgFE16SGQOAsXywf5Ygv/3lF/vw9uV3qcKCWrbt0IuawEJhiykJV2fRuiEZ8pcrwHG73MRKRrA/GzDk0cv9I1P9/OeuVmWFGiaTjKhrKduTpPTll7KM8N8DtnvLbd+idGeKIpdnTMjxwS5iM90JJktmOhq9c1uyS1E5OmbCypwje97YMmEF6ZUGJcwbgZXotJq+4IWcFbxpKveLE+3ltlNmjgYhclOGvCibogwcw09xoZYcIeVXNB9cj5MkeUgpXOp+MXikuGOGP6BalJmr4KLWxs6Y6VyxnGoSW9Omq7wiutE6+PUrWBJt7bGjrWMWFt1OmDxSCsYEmcQPMH61+ofWzUQYrhRmVx03QfJZ7Bl8LYBEsdypVo4TunLkIuqciQQZJsAveT7de4CpB2dsmA33+qhCOByXZQa6ksSrQCxR5YSu3edIHcKkRyHDycrsLs6YSjiaKskws8iPVN15AGKyjtqz6RySsr8IJLFIlXqCJ1Mn0v2583aIDGwihL6BjHEoVlJd1mMqBE+oiNw5iNqvFnXrJzYre7szbcfy4JZStrvK0TGdSBKZJmxRUZtNElIp3Uu5hzn8RBX/mumvuiXjU/vtJ4KquIav1jMUiHu6c5K0v6qtuLAep/ZutfvFsozykyZjDcVAyV3f+tNyAcgPfMIN0dMKR9E37JMxIBkXCXe6f03n53Gzf1ZEOuxTtqODIjirmYqAVechHsZOGAySCtOOiUFAqFNpm214s7DHEkF2NXoYEdBhPfV/HcFk6/gkgPlHZmY+1IjRpZj/1Oc91iWd+rdM+dlRkozFgizDRAvC0GpGHFU/W/KhUYZnwxfmRuL1BlL6XTlPM9CKzlLtnDN5Dod10r5lNrwPGm+caoAb0Kg98kaFhzxKm1JRCt6+r6KluQq9ae1NnmSngaWh1v2asKrjUU6EIMU7C9vERGG4CDiLjHsSOJN0luTsLLixOVg+fR0TAFuvzZAKzRjWNf/qC7RkcfWdylD4wu5ap8WUis1DrnwtxzxAgvG5Y9tqu/8yj3jN+EvDBxrd8Bv5W5T1lEmfiZp/HcD/cQT+rBz1Jyc8BNsVx/pTTS77RKCXwJEIhdf22EPNwrDPYB1nTCLzg+5d+FaxZyMfM8v5p7LVRARc+OyngctmWtaajla+WUcn9sXu6G+ybMziyn0D05NUxgq8YMNA1Trwm64JM3Vbpi+q21xRXZ9PF8t3eTiI0Em5uygDRsO8tOxAvCRZjUGD7fjb71NrokjBghD50PqHIfNDk28iwUNLe6W0YiFAe0tB4dukjN3YArYhRcQ6TCl6qwrdB2j3n1InWLIFKZVktcbXatryDEQgwZJFDirIH5/V2rxd5p3dPefpCH159v0NPpAMQKNuPaG9Lyx99ruiA+rQmnt9fLiJCqRS9jTf6jVdIOPSbI2znkvyMoCFWGxsP3jM776rGJ/L5q9DL8C6ixFg6TzNLTUjtjwsJfnoZ2e2fRDHAm42fnhqZJ2gcbVVrDYNo7vmg/5+9DoOAtiqOwDPYZdaDhzj30AH3O8tZJO4ceN4FgbHaLApbpyEolwXTvqsW2FRa6Ku0ac33Df5788qhPWehe20E3Z+CsyNy9gIKkwggEtD8oBMrOxsjiqhcvBmf+mdqnva8E06aPyttKz1AgYDpr2NXavurtYZ9VyMiILUJv5z9gLfClBE6WVI/8bAFO8mdjE0OMyVIJ5r+nCKXsV0thrG99Kf0qp0IQSctuLd8M1W9EcdGFJDuNKXb+l7nC+a7C0TQzk2RtPN/rJss8GW3vovU4DU6kl7IMRVQYUQzXZoGsVM6I5aaGXNJGbRAKYN9TKRm7qZNC4/naPGTFZywA+p7xuSIi7/d6GVdmhBBbRMNLZkBuLj8b6ve/T1TirqF0E2fXvDAQ8xzqlDeAsIgXYUYewEHycj2/23vyw1u7wye75k5Q+HIyHB5hcGQxMJL8je9bKDs27fqUiUIsOzDmEHH5m2+9gur7LjJKt7t0ThfFri3+xc7kXW+BX0pha85+bdYxhy3oCrbF0NwjTSopQtcxpOgeOXdCYPKLOgdBvuK6+3IUWVdu219I1OVGjsk7RfrPTMRn6XBRL6F2zLr8dHc1adMePhIY+Zu2ivbTTdOumKTsyooZjpAYVrSg4VbRuEChdtZoEPjzrtCS3Rz/NdP2A9OC3jt2g2rH/jktv+0hJUQ7Nb+XGMPmJ+wdzeoH+sbRefLCKojZuNgtXf84UrifhRkBIblqOg28zMiPpEYHQiKpExvuO5lsLQZyKrC4S1bOXPpWSyuwcLylCTwqQvCMBW+so7/qgtWScq5nfdyLWPdemsc7ENRCys6LtD4hLqFSqwe5TdVU1ZawJDIf75I595XrnbqgmVGViqbSH1jYfb62bucIOMLBpN5Jg4Zg5YLFmm6LoZDsGaKRP3UqjOpdzoQxZsd44JPcAsPqBt/JUlQRFhuXPEJF/zVcH3sqoouAZApa1/YuB9wpEMpyCxwAp5srtLhBDoYzkZbzkWRyhSmSAgWmDJeKBsBnLszBjpto/8yeL6g+uAvppItwiwD4Bh2Me9ZH9zLrTZI639xKgdXG8kk3RRUXhNftm3LeBVkS0yGXHFc7yUSmorgQPLcyf2PsoXqK0I3E1VqB01lifDInBYCOzHzYrQAVStprRO4xNFZH9EyycQGMTjVQebAtftjgd3ZR/gWg+KXmBHE+scNnNW/c7BpnCd7hPRLF0sJqPcoLOom2byDoNF1ZANaxzUGB/eSd9qSqLbUr9QmsfOiI3UTkDd0hpthWJjhV/BamRM7bRzBrdYWDh78TQKLj983SgLJrS7TXLnWJPzMMYgbuf4CEw9PfsifL/W7dkGkNguCqtVehb86XFCan2Bs9v61mxb/A/yUglZfFZcDxSdwP+sgAw46CcLIX0vRwCE7HA1a5mnXrDV0jwPBMGyOrWAP9/zSp50uD8U9lpF5FbBGGf5cgRkrI/pW7wAeYSbRT5deLMEsPoecZ47R7PXiXRelupB4F5g7kgwgiPdboI4XMFgInuYs3uHUrFsFwH6wygUNwz8hJBXDrCV2yyKIypOqJihVF9s3J73G53Oncm9eXJAY1CCy34cqupbHb8cFcn+CbZGry2nOUn+k0o2qQBRcrJaRO23flEuka/veVaxyPOhtcznHfRB+HCToWGEwHSzE4LBBYxkIhQCwNKXK7Nfz47D5e2ldjk3RF8Cy7KJU1FClF3jmGcMOlNBJt2LruApL7eU4xY65kI+E3q2O44v+NMt3gUZSTYRaVnJlVIHkLmz4P2p25x6GAznIXc3a2tUZQSpFAgU55AVouvZmLk0rciLiv4gvnXDof5VEsU4WBYfKxvshmJ9+E8gBwFZX8RiHu3TEy7mwaPk82JAHd0dcp2E9G95XaPzKAXIbbz+NneEEebtEDTXZq72ZwGkQbA2Gj3mMCmFpv5uXXQ25vtcFXgm7QaeGmzPubzBzn4uFp3iEIXwsXIitlbM2nANzt4mi8FIno8I7V29v/O46eQM/X0j3abyY22zAXKLyhzVpl06cjs6cwHr9JWNaWTzMsllkbSAbS/ANhpFIIvDy65FbXZZLw2o9WbzPVyhteNEOQ18wz99a+RO3CJOHJvPH4mRGd3kivTRTCwEF/MkfmDumzCbseyQLBstgCMUbDGyhrwS7VCIASjE5qSafKDl9Cb04aTZLYn8Pvpt56e/+PgLkhlkLa5HiCKHlNlhmcxJjQWyfiEd3kyuzoDeZ5Z1Q6YIBSVtQb/N1qLhLOLzaU5F8+rglVfqbQYIxIaxSDioHJ8lxG1ff5VNhaNc8HGq7Nlr9mv9yscJBktkG2COFU+BYjGmwABHgQIzOPkQMoJps6owRU2AwQr6XVx2vP1gObkX71W+rDVG1z81V3cK3iHW2OsPKAZoES64Pa9oQ5g+p+miCJazEH1gIEgWqJWxKcqexHGLMcuQUIu75u12meTeiipGLY0n6JlFpDPdC3weDezAstpvYjCyz72ORt2RgrXXMz6PN1BLgzboJf2OtPt9hkuyFwM2KovfolqCSs4fTxWODLYDXpYSwOJpcQZRB0onAfz65oaylL7aLwkHI7X9C8Oblstjiw1ngD0KcCt6UcW6VtUVV2oh6n8QocB/pd5mm/axoKMXkrSJ6hGVgPPYJjWCkoO/oukY49vffgELEXvu3Lk4vnFjgYQHXm7XItAwqObexfOln1MFZafzwYZ7HaPTJDNFSBhZMTaYhlJpFshh490+rAR8f4oJPle7BsBt9rzdETGTv4U2yoGNTbsi9GvVglJn0hbmdhyFrApciaAnW7XsM0jajHk4bLOB3Zbxl/XtWnEf4gpGtG169oKS+sHgFTt7hzZ7dlp0Q1WlkSPkjr/KqLgHw+yexXrVByOgSpOq20VZiAg0ndY0bytArCzpppQtDsUqYPbTLluXISs6bXG2Zd6zHIr9TGXBbIOmQ6Lc72wYl+Xg5+CTvlzutrELReSlcwalPfBtK8UgBmDHoCOIombRixZ65aHgekeuuvpTAtZunkwCJNN9WTt/SoqLkGTMx6sTacUx6HVzxCZz2S5txBdeUKs426LYXMGaR4ZVFvZL2zyXsTm6X4xo8/5nz+rYTB6Z0GWO7wH8NMjfwXZECR9pbRBXb5vDsRUodFp8VXyAY5I7Ypytfl7gZ7kdoosHspf6g/ouqBeYoBSXuEwgpOV5S7qiEMOfsWULHSPjxLVsu3MdnTSLZ8QcYaIA6NNQ6s0j28ck+b6Ob+NZFI6iYrwtQVb2X5wXxz3rBBA2dtuQXiqywINaraXQIW5eZCkiFjIvDRKZV8AJb2dEMi4mm1MmBwFgkU1JgoGiI/lzGUNnAwOYtm7k5MaLRozLpciN1KBVQd+8VWR9lRjhUpUGrNO8ClHASvAzckiRxpU1fmY7nl88Ybc2wd4gzOto5g4aWaFard+gS+o2n0EvqTn9W94MVsRatudBDBySUjL7SJgyf0Oj1ON/OvLQj6dp7UNnDIzw+hHDHXLWdU0ETt4FmnK59OJy39k9PwXUVPCFX8hCQJpKK3Sf/CdcHPVUF8lLZiz/usDBr8EWZLX6HaJ5JL4r6gyTt1Wdau74Qwpd/6mMpfMIsB/5J+hw/uaeE/nObAlgVDsUa/z4NZZ6q7epgYsK4cuWsoO8Nq1gLHeSRTo+3M0rhHNmD/cscjWpFcig+FxgIH9upcHz9FddOP9JtgAnPPETO9Du854PLTbZZFVkOp0W45WRJ3qwHvY33kJQfYmm7fHHl93zDTCYQKSb43QJtzOMxmX7OoJPMF7RJattnMeMybFzJobbKYUZpC6Jmrxs7hQbTHSv37gzhVHPy6O1mXi/h23Gld7oIUzuGzeWboS2s964Odim84/PzonVb4ywn0HYkCMkQi7ora2h5UuU9p19Q5y5wnEfXBGFz0PiOyG0KjSaWBogRAoGhJSHcAaqJayRRBvBO31lRTZDOolMvXqdiqG4ZIfWHUJMzIYzm2+GVwnNmCruE7t1mqJ7uiXPFTHsAbmiDT4PwTO94s5BWYM1FyjSFzbTe47eoPr/nuxilyQ0l3loIVdw87zo7AFbhkPZhuP5z4TtNhZ/fG3af/nde0Z2AHbEfxIijmfIUGSZR3f6hS1UxpzQJKVQcYBztIUe4Tlx32sgfzt0KiZrVvVAEzwP/A3DW/k2FS2oHfnMWtYpN+JTBNhgV11e88YFj5S/bFlCpcJAFXSDyi/YdYBReFnFhAxmtUSOjeEqPq8jALtCRZZPB5UiVRDzz31MjLQ4biQo/lJIw0dfdU2wiotf3Oy3dIJLBzPHhehr5oOhBSM/m6zl9fCr4JTAxnDHV8hnfNu9Mf5cJy7cckNTvm/aLLRakC8pPEz4PDg+CcQ2K6ByAUkGsmW0Z7hjugN16JkSzMY0FPlySSsWXSIV3bvkfyPP+AzRQdmmCst8bi9xZDEm/CDUuiPAwUQ6uC/WgJa0CJFo3w1eEMTYNcnLbnE0KlQsKfPE8WVI3Wv0w7rWtVAY02VUgQto5Meg5U59n4s5924ZlHr1NFiABh2IUQ/qwlwWQ+hxQMS2j7cv8U4xMr22vUk3Xujjmjo1xmBavCjAMTWhz37oE6SbrSD9Jh2/UOb3zy0z61Ga/Tnsezy/jXhUXJaGzlFvUaRoy30fTWDUZsTREi8Lgab4445mfM31BpKl36wnfpNfT4jNDTyXgH+rp0ZYqY4GY0YWUXswo1TVIv/jLXaovBdoKxhnhxUy+eSacgLWk5q0kp0Cq+XmrkGbr84OO+yT9UEMwnu+ZBJv0DD9OytdOeEHsfvDolb8NjDlZVf1solvNDs4HPlDFm2Ypc+DF2f2CBCuvh5bQUsXsrcshovc0v1nSTH1lK19XG0W5pFPOz8rcjicOTkCkRlcn4BGoW3AQCHU0JQjEeGnL3/KO85N2lMYx+xUkJYEfSp3SdRsir/rXvvwEp1fuY6aImcnFt4ffkRhHpm02YifOneOF4xI6Wjn6sVGxxEhz70wIrkSVaLm6KV/4WlnstTOrBvW2PM6CcWrlUtovGvGi4PXaKR+PyoMoXdaWFHE7eRrp+h6onYsgSCbI0Kz2O3L2pAw+RolEdFxwLX7m0PfO+rfOHLn/iSwIbZdoXzcrzhKFbVrS4mSBDZfDXuecDfCQduLfyd6d0y2QKqgM5fV+6fpz0AM00iZhiaPL5nm3iD1v5/g6W1AbhEnDN4HcioAZwL8l9PebgZNzkL8NV3wiP3XpbrcpW45M2Itu5DnM0zTPg6aiV1iXuznQieOxyPMdoWt2rD4qiBzuq+HRXmDLn+7VOGYNegr0i20/3dlDs0ioiPBffE4mH0ZXyq+VzK52mqDfiZYHprDlHKExOPs3YsdZYPqqxN5d3TrCMWJnk22cXECJnVHnvsHAsYfQ3JxKfIiMiL3vFWCUKkvG14SC80YmWpO+3iFYCsEHAdYxs+8oAUVKqCPfWBXhow7xo9YUB6F87aBgS5curJTaFoGZlq4ZlIX328O8nDEDvpq7NsPBRdaw7sn/pqwtghuDusUF1TKZ9SAYQM6JMIwpHOXO6wcLZBzRgbBeXp0k9ttNbIMOacfbdi4ldC58rEUsF4BsvCZtev76o7gEPCRPO/1MBKaiPixfkUPL3hvn4VAjAhBzg1ZblliTf9dw0CPGkiopAxxI6AeIfDo5Y4HhvywaPCr6M1CZ7NbJvJM8L7afxh4A3EDAlQM0HONz//EcyxLua+25qxU1mc2EydINuOjH3a+uh7MkjS8fRCvhqVYP8FlFTD7AWXQxIxlYUTPfBcWQ7lMIrtIFN2F2Mxfd8eY6YxkOiXXAXfoSCBVhtwJYzskJY515PPx4fd0AQEa1vADTjGXDVT92gbXkFDU5mYjDNhI03IoKji7D6VGOIGf/gT50fAdW0uMjEudZ7XQzQYCtWYVlMdUNrR0CEAdb5fNUq+dQd7n8CZwOyqnBbMS0MSdTk72RcgRfVjb6k9QDGIO/syAxcfdaJ9c3DwD6puCXlc0M1oS9MRWcSIBDCNTxiFyLAAL4rIW+DDWKtIeFFamrV5HKxmSfhFBBODcyVnOHz7IOI3MYE4oG145wMiaqum/9v8Ue+2QeWMjL0QyAbv8E9fOKF1wJBpa37cP8rYUkDqikmTs+a1gjs//wSqyND5HWo8NsNXs3RPi+j7Km85eStyxe/zoAdkYeaYGB/jgYPG7ZS6T0fNY9b4MUQrFIFxvHrPLRophXJULnGCmpBPbcVjfcseTS8Qd8XFyNFmDfnS2GNRHgoQNm8kO2maqAHnoDFLBXpFemdgz6DRK1xpNKUDNLAxAlMIIRQRg7gDq24PcArpC7G8jG8axEqYMVtld92r7rzgQ3YMyU/WPLuov/OyPtpOLtifwuODzRLPfjYPegcTupMFt4KCfgwY6jR2KWMXfN9os0RRug4ZCHq5mEpzFPVWAeP9CWlbcLiSNg5az1zEBmjkJZscn7uvWQiRXt9WlqsPq0e3W1xXiii+8YqVRd0hlUiLWFYHhgFd3lvwLVdONos4SioPH0f482DR9B9pOgqmhrhsBMGpm435FtZ9axE7axvIMXtG33wKvmCfSe8zGnHSKskRujU8WWq0EwgtwSVqSX0wdI5IxEgWqWBV2lh4aMFWqrZEHIAVXrCQ85EnIeb0aUQIW0A+djY/VYYtY8JQqkkF4TUIb56G9sixhwXue8IBWf1Tk2YobsUlA1/yYLAtFdDuCKl6984w2pklvCF8hc1qKbHBEtrl9Un1gy2uUzMpQJa9jdzWAvCzYXmQBYl/M6IX7VyEczlWXoqGdo0tibYAZhgtsyy6k2pgo551+IaAjlx7HLKbu5vamKC37bZnZfEhb2QiVW/cenjP2xLCe7L3OgP6+wg2G3ovnvYHzIBQ2mNMdG2G0z3soBB8zosfUNGUPQrwvpnBbldDnGT7AoGNe/s/bIFieHOvqxOXQoF0BvVlEK2vjAuGa7hf9nxd7ISzR5XzjwJSMhEtU1366ZRDs6c6D1cHwCfgYM31p8gSPk3yOhVW763vaMtfiVI9/WRoYhKiPiIQu/1GaqQosvNSB2LTJOiPq+DHStStAaKujNQoN3IpifHEDKAWUmxjIGwPgeDvKpECUs1xnLW4kkFsZog9ZeWOdRVWEv62qhb7/YemXfU62Qw++wU3S38+CKi11nd1AhNcsyJpymOJCJdoKlPI7xQTjeEFy0MdYa3QuV6JH4N9eYlvyy1W9m6yOOE0M3yWA+dFRw+zp1OMXoYElsaMcTs0yQOWGwbFMnNhmzjBXWfAcKvvb9VJ0QIRyxaRgX1GyLo6kUOo0uOhCA6UUcpYL0uo7XWQvb7eNZCQHGjn5IFyjze0lcSpOQaMTSw5rNKXatw5fJTLcAEBWm5TquTYqdwyUwdLX/+mkL4XYEHIwPftur5Vv9ZL2vROmBso4ttn/apfJL+ieJe0BajzAaJJIxFIL9Pw2fk64Rl/Maess5AepxpNRGJ1VeH3HDrArTZH3MSv+jrAlN5s84+NxfRP9RwwCB2WUD4XeN0nVDtsOWbwMSfbbrBf024n0++aRQ3nYQKWQXNPActCR5g4xTmF39SR5R+gF9fIlg/Y6u8kXbGv5/6DSh98KzAmisSuRgyqQA5WRgb12XEQzzfr9J0keyg8OwpDSF0PFfv9/OpHnhPs0d1J/Pjwvq4ovOxYBzRv0FLgwqyk47kNU0sAeO48mZXxt6U9uTg+oHLEsDEIwOn+4PG0LbTKQDdsx/I32pco7Lv6FlERjT5le/zHTdWNxpbfC+B9RqdRb3xYkBnSmnNmUdnzgN5SmGinUhs1B2HLbHae/KRHv7kcsmug6uegR575iGNEpYquqHLaeUz3OdVbTBxV0Nx5f8KWW909fgHsbaJHCVNsLQV3UwfOW8mZqT4soe1puRfRlzBQhjryfD6s2AzAZPRPbIVClTbStqdnXp1toQdeKb35Ha1lPMchyjpVGJq1DhKMEAcsISjTXayt0/tbVAqrjLagrBH0ZeuMQvKui6hLHt1DUSdTyVNN0oSnOdByt3DtlsjDEF0Sgi2QV9jsx4M7iUg7QR3SV/st03QjL8K86KAbbkUIl2yIOmfOPYyjSLFOhhoDU/3TnzER6E0aaHusHqLEYyh37Bb6q21Pt2cXgeBshBWmYBP4eQ7k7de6JEIUFoi6leB9SVzLSy/eXWS5yoCnxzcKHRI4UXvxzTSyiuPQVQlWFZaIcZy3AqnJPApu4JIe4IQQu2skCRQGEhuQsJqyTAQBYaNvgh9fTfBirekygaSYybiPrhrWZ59HCvt/6q5cllQ5G7hXn548lkdIY6Sw3D6+xTkMlK2PoqU9HFEheDlGr8a8zEuWiva24OInwWylEbDbgCTlZcSpuF27S6/K78f00okLI9k7/Otzs8DlKjcy1IOQpkFFOfQCLIe+Ef4g5Wht25Zx7lCvfekPbwDpQqStyQDUhHFrL+RVsBBt7ur4SOCLQ/O5xVTmh56l7iPVuyUzVy5AEPtsg0tdTMleXzH2yXXvIbLDDD2bj4q+HTEQy9dkFf5MDfUk+lmbFbc7vm8YmfadoFUTZokBet+9Iw1OdcN51fpcIKXmLsRDmQ6XtLZi/Xa4q/iTxEG5OFwOILfEU55cYVrUIZDG7OK8JoZO91Lr+xc4PwubqJKbAc5ftHJiVttqVD96QEjuRM+t4y7B6vVPZ1xHKaTIE3w8kFwA22Kr1Kv+ivokHHm0TjL5+tooLYMK+lnIXbQ3d8imraPTVNRuVhrscTBRTzBNIkVQxXyJX1uqIQisr1zpFvuxwP4k4HXjwkhwAzSaHgls2xm/amMe6tknXJbaGslnv4HCr/b0wmQ+jQZs40t0zsPaaZyZ2hVXgYN2inUDh8Kb8BMGxnlutep+LmQLpBMB733+fyWVAaKbrvWtQXFSP1TZvyzHHRC4eElv1H+alr4KWfkklhT7wqukn636jWHL4faWJdQj4PMrIVxVIoMek0nG9Mnrc+yEXDCqqlXL3/mh3V6UtMtD6aPRw+ERlz1xEnA7kDWhewq6O60NHblZjBUrEc/fZVprXqavzmQYVUW9g0zzVr785tyPsFLOm5a74NM2RvWlr0o2ZcwEitnpiyKFnUpssLxo+ct0LDMHJMMA4yI6he5AkGSYTa0hsAFYZwevhqceNiFy8cShicUSahvKmEYuNWSbrpqKXSQj821A9RwRDLqjazswrDXH75eOJGBLA/ThK6/7X2PVBsvBfMbmg98JLwpA/Knm3OJTfB8Hvnm/L4gU5RkUWPTiJJRwcO7k82NJgRpUgoJutZp4hYG+Ciy340dxo6xGAt1/j6hJlwsa2LRpAtIrblakvvuxal2YNhGZQcRuKRY3f/cn+vil86rhPEF0SHq7w5bgOUblKSJ+Zjm1g9evSboMpqM+rljb89uZ6iBxSnVh5AMiQhWzzbiJvFtzikRfawlpi92Y/rACi0KrZtdCG/PQTu62fYzF4eHEQ2kXtYizVlUvrZoOhzRDyEoF0uuX7GUseloYQBpzx408sNtUzprorvOxvPytXhbeJKetA1XKzS7VvvkFOc798Fhlj1Bq36VUravsvcGuua4TSyIEBaUko9fSF3FKC1WEDOxdRI57RDUs0oxbECX4Q0tIsXf1+CxuhUxaCUj4mqUN1NuQrJOABTKreoiuWGFAijgqP2giTBX09n/mgqOv4ABaFrPnDGVQX8G+lM6E5ZrTPTLa+vwJmRsAXhV7DjARnp+3TUGOj7Q4sWJP66SNICDJV4IGwDx3Z/A0WwFFFsAKBKerod075YGHBQLcQXrs0u00PNIPPRxvh1OsX9eThHnmz59cg1mkv8VqTQdlif0W6XT8oK1ownOAXsZkaIHZsKVI1L/w3XhTwTdZz6mzJv8BC/b0OuCyhHOrOh8UfEdburXlvgqIG4gBrKTSCg4SXT0pEVif9WLL66fpOVNOpm7lv15OJR1l9yveHJElYwBgxVfRL/oZrjyIWW4u1wCcWvIwaDPNlVHDIH4q62QaLxbrxr28reWrngvZg1Z5ZJ9aY0Eja3LpQNZWuwLXW9RE5hdId24MZYFPoGU4+e6i4mu6AEBnG1W97HEcZzkq4LxeQLMV0elFXIis+DIkM2mtsPNJ2ukaDmisivVyI3eF50say/3p50mqXCIGbypJZkktXA4GVx3x7Lu7/yiWP2TVW9rGqjZW4xnW8qCgdf3N0i3P/j99hCgz1UPntGe4w7bZNo5EVnxLCNlHA3mr7hvGSwyBZGrCYnhmO0WOEkeOXkmcvXGHeYnvXZRVmgoDtx3BIhGcAOdTmqCi5iI1ULQ5n63+LUMONzkRj04RtyLUSwO9StIA7T0acwU2h5SDGH+OnOoiGBk/16SekYdMwOqlEB53P6GnAkxT/GVEZn9evxOVF8zU9BG41iYHzLmXMgOMpNdIfICY3cZocqmHWvexu6SyVTwyY/FEkZi3P+LekvR3lTnrnB5LJ/lxk3PeL7KwHtaFdKtshvh+nEIGKiF55VmEoO36C1yv1DLMR3zWE/lC4Oq7DoGb2TYBTK0rlfzV8roTReunvDQjzitm7Jgz5yUkZQsWiKZkSvChBgkI2jeU9SEX1V2yyg17KSzaeqCUTSktDFSCPpGKhSqFwm3+92bcJKFXnMt4PrJKg+5iOjl3qF6Sd1QwF8N6xZROLLuL/Z63lg0ZPqKj+H83PiLltYqYcvua28Wz6JPWH89d3NgOe4+dhStKr65wGyTaBIcxvhDltORu/r450T5T7/6s1c5qQnAOzwXAxfv66FrINSVJ23JIMC7GAk01k0p3EkjrIZi8MWmo9vagLQ2OZpVHss43cbvVw5qmIZYibzEI2tlGslJTDUB3rkffChWfKeqOvjSPkPXXU/ofbINBxQmoRMJ/8fHbQg8r4CFsn6ssy0HWhmIHizKEhnPRa1lvwmKWVmcQ2V+H5+8M0AZT48ejJ+GNb28SVGaoZY/c9Gb4xZY3S0ooC4ApMjSvHWEH8HenHAuI0DTj+ynAImY6jRRsNwYw/aQDEyjPZuiia0wHjGaVqUZAgbf61NoXdCSQSoKoJsNswAro1ZdWq960w0QTRB6db1G3C9juChBhemg3GrcWMEkSmZNpU5X1bPg5micqCuq3bdF5o9e4TMI0RtJOBK5Jpyi48hnItZXFFsyFc+JrnBcgaPL4pT/pCsTK03Ltvib5060uvxOnXfn2l4cnBpjeDEbtNDCmiyU/lVp5irNZP+2qNLpDynCsUfNvWMmpIKT8E9eyOhPbbXtkMAsULT4PHoAp1Oj9G766iHFIC5B7aN7mHUZdbO9DeAIjBZbIE+C6GYKfYKbtwM6T+rZWTT2gOkBe9MNG73aFHq9epKDiq7utmz4dLVYrq8NhuH8z9GVxsQLAoMe/BwzVs12uY5LiV9O0NXfHcGCO4mniIzQesrUAKdS3L2+/v4/lJc5lX/Zz4Qp85VEreQSLZ6N77SUFJmfS+OLARSiusdUwFSMtFuX3kOOXbP73LuNOeOn3TaeTUEq9S+G/v4tHQJ0uEqi+Rv1UVQdBgylwu0LqQ7B62C9GiMPFfGw4i0QpUGE2fTMVR4/iAf7xMH9E1ZEny6PWwqN3Et9kOlfFRn00NxzPfo+l8RkG0mU8plkGRT/yy9uR7qQc78CgiyF/R6UQ/a6lUIC4CTbfJU1zuu2riVA5jzHnCPJ4zn8zKUee4Hq9sWfK56J2KSI9XouE39Ge2BfddF/tQv1duLNuzPkZt/b67RdSs4PTU9rAT7/YBRIlbtEEG4gMHHjNzt0S7yhl9DK+TDVHG0dstir7VGyYXWDUjZifPIQ2iDQPMyXupyKofVtiCKbgk3kfDcelT6Vfi+QfHqBsV/iO+TL9kw+fPMNLR10SNZtmfukfF8GF8rLivkyDP+VIoeFwhP0aQRveJvMAKCb4U7/hGTzIbyYOShFSl3oavNZweNaedrw+jMzbkli+5irFeWrTJy2n8o+9chhUY8XWXPrwG72Jm+hYSfiGnFeupZe7inftfQLe35JQB8mE5vimw2ktqGXTRl1w6KsQC7iwMtRoDQGFfiffdJzBFewTTsN6bsXI/YWAj0AVFbp2cIFQAgUZ+C/d2tHpjJYCQL6pTOJfMrzMt2JUGey+M6ErQiCUWWXLNai6h8zp1iktzM1c8wbCLrb4RhOPu6d8Cnpy/jdi0gv1n8CnESdHHryHAyyUWxPK1hZ7FovI62ehpxQ0YtF/xv7sfqTmQC7zu9D2b7H8nL3QdwX0JAUouvZpbcl5lXuF8UsznN+yhsSBu1RTXO82HslkV21INIH6Y0wHxqIWq6xWgVqlXFRnZUX6Jr6lIZvA9CSbxKwE4pkavOlvPH/Ef9Kr0OI2b8dDBELGDl5CYNornTRYhGL5zsEqVBDOo1q8e7vX4FYPAZR5wIgSCI3Zuk+w4qS0iBVOcmiuEelC9XktzFzN0YerfTAqb413v5XPiC7U2vAihxMecS0o6UagRq+CP/cP40KJUhtw5PE8zIA0DKLX1yNVZ3rKKa3uTo9SgtG91swdK3Jw2RlL9H5mj2U5kjtvGGScoCspNY9atU4EFE7jqxMSOXEOXQIbgwTpmZkGWXgX1FVJ6HPKs2xhzoTUBDiaQoRo87BzWVL9e9Diu9q+l4hgw+IadSxZ3wwjy7k9HQjrmBVRHFgNNcsspr4QjCtLstyTbV8sekcaIogjp05y+ScTebi2BfjHsJVUgutBGR5u54wNu27ift2vdrbr3aivBlJfKjX4HaQRW+dqtNkW0uLcIRf3Z53yz79zMG/oguc/HbjpQV8UIeitqztlLfSTT2+94uOrzVQZ3xl+q/vFx4FMe2DvHmi8EmbhEis7bRZQ+7QniLYjOGfXZ5az2zaL/2ekCG444bkvvCaC+19f0mQk31uSLL66NxYtHIRhzVCDXlF40TafL6c0p6ZO+K0IzSQJaprcZGfWeW7+A+Of9I9fIvxCHyp6bkubb3RrvIuFEsG1e7HWkklWtGdPLyuLuprjMn6u/QrPtiIuFmSXyThtw2WVjv1KAFXqcAhR2Kmx0VyDX3GuD0IRZknn1ujqeu3AgLk/vOMUtZdPHD+n22Ydtmwi+xChg5GcoPX2fjGWGqZSc2Q/ndL+YZjb2Jy5L+X4oyOjGRs8TdSEWg5h9gxGNbr4wOfshloCnhCSr9eY4x72Og7xwkDYqPnHSlT1An1bqFjonxMRU99Rax9QGrWMuHqLMQIKiEm1aUCNgKdI4maovlX3Gfk5TKgciL+UzKhrqG77b2/Fn+fP22HO8+4E8QP1SV6QlRpoBdjU91eZFVn4+Cqtrk+tZKtN6Xu4mcdy2SQ1P+87PDzPItScleAleW+44vhEsoXMMITbiOn13PN9b79zKHCe47x1eOEOJArsRONfr0WsQfbx+JPHxCi+qOdH7XhPhYAO21sltnf5AZTyAdT/2tmtqBD9ikAilzxHZ5YKAZ04R5UCaTH0a2L4D+qjkfChuB9+1e7nHlbl+f7KSwd/GCUAYFbvGHMTa0coBtF1Y8N2yBcZirzlkx7x5O5GQUTdj8BlUhwJIaz4KKU5Y7UEdVUm7ZRETopArDKSMAFRqx/qmthjY4aIcupInPKJP5zaRL8orwFDKotm9CTo/wmphLn2rCR3OoNcR6hEn8h2T4GNYMDdhNL7mW1RtUvBwK3vikbd8ZqRH/sbB+OzDiJugpl718MNtgNKmIgEAVM1i3TKiqyMnmYmPku6G2Q336MEPD4RIyTB2mZaEDCqmjLFhQvE53CopI4jY83nJucCfVeYLJdVWqgOAGwknpjTmUUnrowkhAjU1uRdYyyp0kZQtkvc+R9oOs+tTum3rzI3TroG52MgoFkCB2IaoVcpYGEmnQHXgqjtQH+ctIa4h2fyq6m6Qf6lsJ4MG4XF+7lXIqNbmztGM1XgsxX7RVWWobxl3JJyx4okmpGrTMhCSTwIQz6uBROcky5c+2+YBYvg5l0MziYU3bGwFE9ujs7SidOlQspkz/qjyJERyit8Bv6vYL7t+jr5mA8lqXdhbiCKv5wdMdbo8CVHx/zIGoKOWzsHigQjEt5ca5+Dv+OWY5YVe4fMuqJLv/ty6O9UhynNsWmz5m93zRbWTMO1TAmLDTs3vaM+/6G6HjqQTbHaQpq3Z6adCxmcydO0y6t3z+YAF3YTcKzMo/Vhp8soa/jpYVz3Ax6NADJLhPHhfQf7VKBvRaIJCWalg1omLAb7yAcza6y0+wzdVvZaxHt59lM2rssyh6XjJf8zuwVHLmSgTglNupRRZJ3JTJWzFNtL5RvRLsbHaVkNcm2QKpg/h35If/KDqX+1VRPBUaH8BhA9WsqwiIO/n0JYjZCaZc+oDUmflh++CbaUDY7wcpdMZjJasrbdsGKtIW1HxExD31d/ZkyloUhvshAV2nT7k7jtmSeO17kU5VJFpjIm7Cgt42B1jFaQYoOIMT8YFS+OrndecAyPmzdWITIkK8X4zdzISYieZKjoM064rAfVkYQOaLcPfqG6Pb3p8bSHijCfUnVcTLBLPMyU+icbjj9D1EnMfNZs6zn0/Sgfb4f+c9JqVUmO+m1tHe3jKyHoNClkhjdTNnKmasSVnasMxlyVxN9ici4e4aFDmL8tgYb4H75OH6BT7170N6ulqlgzGHNh/zW51wRzTLGJh0wndO7Dk8a5GABr1uDStBKhWwP0FPrAbejVdS2cKY88CHgP7LGcrgTEkN5v1rIoqfCMdKEkABoZ61ee34VeKvcgUvEpHLl6Jbkpam6jdlZ/D0knhiAa0aXM13RsdzPwb9qU6VyQ3ObvvDLO6muorQsBUotz/uzKhTj9zgs+OfAD4U0FmDatkZQbADTlt+GkyNppYX+Y+B80iJ3GWGzQ2R3gWJcdErgdVEBSC+id7hmIwNARXt3B4iVpdLc1Qsap5qymG1QCMbzhQHg+pPijgOLiD/G9zItn1D9k8nyzT7zEVJ47FKfSow3tuu32d1aX4xKXfbHJhHQfGqyzhYLSMILx/l2sawa18sH0mvu+ILFr3X5d1MIF5TtD8iszNWYNJqRHeE5Spj40Mb2AOe9DL0gEZgikvYKXQtgF9VTdxorJbDyxx2izX2RQ1rdMvwAJRhT7lhWb8Jtk5C1AXjwM1hY66YfhRMHgdUNI5fB7Q78ExquYa7aSEz0QjlbPkZhun7fEd0kc+bPQ9gjBOmpLx9GGHDjygSILT3eI5sYVc7OaWPGPz5KtQJArStoNU1ACzMS1gsjVg8Jx1aHtVqENv4GyBNbzpz2VU6huGpjnm7Jv8pqYxncTn6ruYGuyOKEzwwkeC0q5Q+v9mmjDEu26J5/yZ4GZ8I7ZNYSkU+vc1v02Q57+SckZXiwtfSfilAc+WwSe8JNUCLrv4JSVujOlPKplJ+OzaSF21HWB/G/QCb6LbFfZejXhxESiAyuFaZa+3QQankU1h8xv1taGiehfxRdAY0s8eIxE1eYPbaGIu7OpAQKu8Ys30l1VIHc6kiaMJVb0+tqsWSdXOigpeSG/mnlCd/M2lycuFSszeilOyoD6w+D3zOXB5oejJNkOThaBaYaVZxFK9vn4MNVJIjBxgRkSUhqUW7nV4cwUxut/5SUOnEKDt9jslOUShlGooRFdzPL5CmdXaRbXhNRgrx2tZl17bpABtGdKScOZyL0ZkmGu6whiKclLjp3f2HalYY/dnYYSrOsAIcQPcpcNTyFN9UPRnpQTIv+B+nCO5c7pZ/TF7CVetSVNGwh7QMhC9vevd5PSFJXCyYr3MMBS17UQdFiJnvIkIqSKJr+WiparsrnJcU+aSuM5ri1toRTvwHWp/4BbSKqTxY9N361uDqAFFeKqZR79tExExOKp8bxL1r80+x9D7ZPSVNlOkMTkO0Sr27xAEmFjnhrk1VpV48I103hkqJEfNbbtgj/5vcPrHb0KKIFQzQ1UbnKSq55hF+N1368D9MyUm7mbTXWyyVi8nmgzQ0959Fa85/qje7jO8KqxcXZ24d52qirr29JHVc5v8oZ4eBFJNKqBYZtHo7kvJW2TwxX1xQQ9io578/htCwnebJYIlj5RHRIEhme6vTh3nKrpCft7cF+208/ueXShPmHfk4KtKuPgiJWGH5+ChIRNHOtSgIwRB5KakUDxr8pVrc8NSBx9hSxEu80C2ngUvJmBihVgweqVxNXH0uBDs5c2fWEd8pQMGSzhSy5t+kk/l9Q/PHfDUy0EOua8w+pM7ZBaoJilhvCKSR+Adb1vl6B6i7+AMnXwhcu5ej0wTPbbsPtLBMmYZCAPjysyXtBhuYDzRmGUjZJOmpEKmJfbl+Qwcgv2U5M6cDeuU75W3VCTP+1XrIrvcruMk7e7KG8AjZpyJOoIqwWJTWkl9WMx6uZL6Cjs6DIMjoKlrQSVvtE3RDZtPYKgh0/6wqjonet2wDjz/zVGS7pQrROaIGm+ix0ilHVBZ1P90rqdevJJHnspSCKhzonE2gwiTBAKtChXfCbD7hihUOjDOdCsNPCJ17s3MbtUxNt+8596Z2nWJHJn6LVwyF0y7C37UXTBVy9QJaTLu5EeUGaJ9MsZjz96rDGb55vWAXMw5XfircYkgFqYTxiNiJt4laAB9SS2o6ejwyUpuC7znqvakZh84h0TSqLrNQaRznyIotkVmXSlE40CMUARTH7Vi9ZD+7QgSbPQqz8SBywpjmwJ9MiSvLz+1PQ0/E96wojiMUjkFl4p2Vb8QYDm3R0pQGDccDulUqiOzQs+mAC25rf+OxslFeF8mCpZfWJXKgbtrHEQW6XLsX0HxMxn38dpfVvZ2NEHmixu0TcwV6pbdI205sjTszFoXI8OQV2dDkT/0QE0818XlJIdHVnDwDLf7aAxO7hd7EVPVIWAsmnTWNAdPnIDZv0igOeKfmwKMW7rzKppNWu4E30Rakgy+GJON9AWIcRgv3qFJVGVonlY7rlEHucZWMp6cZzr43V2HhE5rq8yQt5SK5I6n1GIv8sqn48ocg0Oyh7gEz3A4lAXohO2uzITUQyjKvQJb5WXqPcDKjaCMM/tj11nqogsRjVYgZtzqrmxxqzgvmLXHFzddGdQm6YmMmgPC9P7eSw/iUMY8ooilSERXH3lYzYHAvbFDb4O4vBOFc45Xvd5wHK/2LPFd5iBg611DSFregfma8nFBFkhs+psPLsQhk9dwWV8r53dlMEnrbXEGF1WhcZgguwewed3+UBTcGEU/j5Hv8+FZMZmneVQHmHZsqEygRG/pG7BInrGbONQp/vTLUN12Cunze1LL4AEytTHYxGoC3vvrPBszO1DvT2xXd9BLWI5IEsYu+TJyyAftVhrY8UBTOpbdJavylN9Uj7JEUJ893r4ka7oWGRrnoRqS5LLAlxq7srjq0xfSeNrUsTRZtbwz2E3hL2JFJjdIDEWvPR9GdV6B05MII+8CQyW0lIO1OWCdJS6uTBsuNtKZSE4qwVfv6gAjXg2SnE9YonUb31Jgx2rYwiGmHjR6IyxQRUXBgnCbrfx9e4hIIMcK+1D2eEQdtePSra1wEH23w/3kxCTJ9padlABYgG4xtbreX1CqiyAFVOMS1aZGjN/Q2hM58Sm1aPPj4M5dt91WCM29ZwgiLzCZE/4koBlzPIw5q2r65THcqPDM8WDFgdO2ZYDckSXDSxRM1thgGXFobvgDOY/UEg2MUwoyxzoLK8XwRyPdTH9+082VvW+8klsbSLPaCvkjm/bOdNImmK3QL0IRkQ4feJ2l3BkA7jjPDRdlLiaRwn7tb9iw+aHaVhbO1ASr1minJxNvon69zTJO3EPFvaF1JAsvlBdV313bm77WqcihYZWtUCck73l3Nh8+YfYf6L1FjTPOVgJv7WBwSmk7KxBtLvxtJHdeeOf4sv43N1vXUrSYBrU3oYqbLVbC6RauXoM2JObHwvNGsPQ7sOzP3yYYQFM0vzwpMTy3zlfjzaX8v4vDx4zjIzZAjRPRT2evEPmFsoeIQUHxLmWU9CCnY3BpNxCYOZyE9XMbF1oA0+kPFi43cqf1qu+Ccfi6ZQ2XN7anTzJxBAp4P4aLteQtdrzTjuv0EUATvUosgCkGHJ/FN0MwQu1yKZnrPf+/u57ZZ9t7XcsI73JwGgUYKaehC9K5J8+JdySnOXhazPdMQyyRMSmK1E2MLLRwp6qjBnE3GnXC+uVJGgbhxOjTvwPS64qUrXUb9NhCW8BA18FIiE9b30VbSlM3Muqp2k5IVvY0BI4Yt8t1YdomVQ50tRGJdW3GYpiz14pRYHcTWQni+8uGey438o+B0HSaKQhttSUaGq9ZIKZcu07eoTYeJT53NZq11py/so3nU2ld7mHvfGoUFHi7hk0PXRv/ygQfSlfvSud7U2ISWWgNJQ0Gxy2wgmogyQMDlL6b62cqRXCYMQHhrk8PVMA/YX3UzhAwc47ejBk7MBcEPetwf10PGBDOIf+WEHI5UwIave8x9Gr4LDURd/oKZ5nKhblcIcMsWRG7KfkootfQ0/X2XaEoSiCNnqhUbn9uEuQKHs9pItbF7Uh69wsDXC9sF0Fsc+ZUNzAxVW1UKAaHwjNVL6xTcH6VXiL5Hkc+RglCBVrgnBTTXEF7soJj0CKgu1MFdluhGDWMKQOdc/GD8XM05XjN0b88HKAJrNT/qqE6hnD828Q4qzyOBw3W02uqHFPzYANXS3TOLLbTRuJ9XHyuFF3QtDXzfxC45ph6ndtUJzjAQ7iOFKuKCzhN0xtjbPyV0GI0pEOQZAHUzMKtyO/zvxoCN71hV2iCAgeH0soXE4P+aoubT1PyaxVcsmcSTHKzY/Z7xqHGa/CFF/ZmxFTkgfuIOj6bY20ZEv/+elarDhckJwQxS0NiUTG7yFEzZcGUmRek2qEK9qdBmxOO2AK/fRBe+OSYfCDvJc3EQEVp6Vxhg6hHcLDiscXatIApsou+KIeSiM8mFcU+LgtBNCidR0dbVwzMo0XmyV6X2p3RkR8HuRUkSEzgHPufhFp0g2I9Fk7oBSRb49B2xnZvS/Tl7EmzekcFdxf8j1AnBZwd/ls8cKrcyhsxPXIW40L+zIVabVqJke5orNDdiVY+AbFhn38xeLj72d7gzPjIyTeLzpAWRRaHB863/qfLA7Jed6W95U6n05hftsfA7SoeD6BL8Z1UiD/D/Qukq+mTzqkM9WHrSk1PmcHUSo8ZvCWaab5+GYFVGareeiGoRpNlMnIWXrzZwOGnfhO6uIduCuzh/Qj3PTSD+CAiUfJtqecnppZ8nryt8QO60UDMUfjtkzVleXVetE+4bXdxCn67TmwN0VNBvIMYplzsTlmxDrbLDt/8lacyXjO9tyAsj/zGwAkmTkJa3on8C3tl1jaTpBf42k3fyQTbkd9cjAJSH193GyhU+eqO6UMhZSGdwYl1nqbiT4nLR8jHrOiaOE/m/aemli9kua2e1zvm6KPyphJ+dg2hFoshBk8ydk+gAieKF79OLx8HRvho7WfMTztEd3Xvrd2f5/NYrugtErSiKrG/ilvguQRDR9MsTErllHXovXXPeBLZkitm+AX5ILW7DkFlXIsdqnT+RFS1Dx6euNdaXzhTXxPResH1mBkO/WJznJtW1c2RG4HDSmC6cQcaAMo6urIbozWA/pcwQ+cUdPusbpIJy+MBXXFlsHJKLAacFz72q9mgA/mnq9hQ3UJ03FPcBZHraX2v8ha7CGFLfnBl9eoDqnYrCCZL2qBbpRxvBjiI5mtwm29Ls6FLAwHI2OutSvfl2HAaPn9Ydq19/z6gTdCY/LQbo+4gF4kki9raw1zEtGs0d5x1s+ImP9pl/LOU9ICeFHlpbssqEqwqiVRNb2Jvxgi+jqtyS3KpSMbw2JlXd9O95bYMniI+f9TAygwJPhuiiScIdyDslajOZSoO2w1+ZUxROwqysKw7tA07zOycNuhH8i8mapFMnKhwbREHnlMgmXkCVM0W9oOA0peoi481FYtq7AWxGPKtCoyaAFlW6VScQ/LdP0/PFctOU/yc/BxtxqjAqHRmvuC3nvzPWVhPkb6ZL/KjD08dBKSvjegygsXdIHOm0fGVA5Qb7lV3u5naRR5pcSvVhF6LylJvJxGzXExbcEn5luXgjx3zJZDn2992ZCLCNfFoH/I9vwar9YpyRSy7uFC1XLImRZN254d6WwVgGHPtFe/ywfasiYAlP9ii+qa4Y6YdcxNL4O0L6+9ekQ9CHSUq1Dt4/opcCfIfmFYBtn+COK9VTlYHRq/6lrsysSHQPqsPrhEOsJW6hzco/iSxspVvj8yJLWOo6jwRhI0wzUKbeJUY5ik8CiT8Hp0VjBlYE4sTpKZp4Zz13BnPczqgmB6TjNrGgmWZjMQH3udxAKW5ji6DlLggPq9Pm3qzkCG8obwOf39wCjrv/1lrpyy+SEJRlvqaC9TZAcPtKPXU6GX5gdH8IMxIbgmL8cLk96bheuRDwbOc0gcuf3pxF2WxFzymNG30/miGmFu2ZEtcd0ad9PEn8nx4SFu9oMeSnjR3uHTrBPBkS7p3dse+Rwxm3OKpBTj66PpujSLXP+67au7G2vSN3CSlhZq3x4xYNX7ScOilL+oPxSt92ZjSQ6PXwnS7J+DZdmGIq57GXT1klH2UAhg2BP/TcAS7B8e+MWXBxQ915lN3E7UhEGfu4G3Ps6Uw0Jx3xNfjkuI6Pg79UlfocCi1ry/NtMvFjhcApn6KT+Huc1mHhjZuNl4d0ldAQGg3T+xTCrZIasR3AxRbpgl5+PFNOEFLyYXlbaxX5DuvQwdw5eE+zWXx+FJOIC83LVC61iNg9hQTwuEz8kRaDjQ8QylRfnCPQKstQwaX1tVC6nQJcHRXrlVHQ0MqhoAX2xuIqXLNMap9WBtQY2pLvxynFZsUD1pW5oj1u4QryzngMyXK53RWfnzczo+hrC9ZraZk7lj00PGJI72MuBsacWCpBDP+FJKhq5mJOe4v9S6zbpUmjKBpo9HYSH2FFA8WDG1pPb0kt9qP/jD9pbbOtVYoMk695ez0EcnPAsYUC1q/X5O+hsC4tZpDYaWVAQvV+T56pH5gFh3y6IM+r/WZ+Kvpb02IFSNT9pN22OOydFhq+LTaYlnkukeJXecF3IvsAsLJuKSUiADHZqUwd4RJ74jzaXFgi+Qjm5QP7zLh8ablgZ8veXoBG12rNkSLC6L08zIDM5277L62iTghX9xi8HZp+y+S80C06kHcrSplnHop6fh2rBYvtyQjjFgigCnfZN753TRuFQ36nuhegbbw3bW5MrrEpZdhMLeyj3m9VFx23UaHnVxEEJiXvUArdv4NtQufKo5sBeXQ+vGCCIjQ+7LsOK5+2ghka1BKwY5DWkX0twlNSvZ422/FRObOeUkLRL/MO7mBfQRZzGjBGtqkpFyT9Gj3mt3jeSEMKU6BFJYecEb/0QHP+H88ik5MgfzdYAq+FdN/wNLeRAIubm1UVMka1ZRmsjl6DBUn7uv/7D44NT0XjJg1xfvGDjJW1fOK/9tZ31c0WJeuoQMtBomLp4T+2o+2E7WwHShtg8D+ZXfeG9zXnDbJlBRK6teItYP86xWTkfe5wWNlK1A/Vu3RbmYnl/eIT3n5lbZYDYtiUtG2k2wmEuEb5nYA4dErip6FIYduAdpZoGlZh2zQNnHk/PMHpIvue2NAaML1QgRqUs9t+tMoF+croxsCAoGNMN6UaIafDXcL+tMbYLo73Ys/Zm7dJM0qo2TxGirQhMBL/qeGdZG1PgzCAY9ub1SmAE0Ep43RUtMXOYeqBy8mO+xzOLZaIv/RmgOrJq4WZgUCy6H1DCQJWAIh/VItc8KBm1HeLItLfjz5YDOODvgqiXirEkQwpK7ykf3sjtQMSBh1Upw7OIKVHTR+v9sDkA8mkYCLx6Hi21AswVBctVbWbhEBFSo5iVF7gO4HQrRx5uqvbJa6y1Oxpm2QoMMpvZLK5t7DPA+f7ZoYE8Bc06vfJ01EpSUj92tDNptaGM4A/gg9XVVdpXKfu31S7BJnkh6M4HPnF3FoFqAPmKaRGILbXtDQl9pQ6QpmYhiXWLU2wyGzrkMFL3ZaheNgxfUpbdtWF1SJlsLsd+YSP1XOAtEmYHHNlaV5nA8mkWbMJL2kf0pO8LISTgxT2tfUeY9tSaneoRvPdokkM0tskPT1rZdgWEmmeG2MHtRLOf9rEAjD+upkH5PSsFOltJVVbIOPpbn+9+pY01CUnjx8Y1mszTb2QJCwHtcDKmykuvR162iLtawKfRcv91VZvjkHM/84+3A+fpO5wHmbRzBtaQrJOE2l7rUy4D54NxeVa6p4OC5kjdQjcYfbaP5bRkVTxzqXkiomK9HryuhxB3bx3qwAqo2YCxZo/I5Cxvyy2gmRwHTGQ8BQEMCIYgk6kmaNI8yuNQaQOdgAbrFhp/ud1Yfcf7fx9IhjInj7jXHdH3ebD9xg35M3rZFljaF42dCqRm0kwdB2/h5NtAL8J4rV8OvmerGPhlM8TNYvVrSVqwsEgicq/V7PO+VWw2fdiuuMvz3hKUSxAAO0Jpoq5cdS1UOOVHAyM1pvkZE/Z1KUCQ4qeMp9l4zCNINZ68B/PhXVQs73hECoKhx58QtM88GO3e3MzJ1RVnpLFWPpqRsQO6FjeYVrzc19O6CkLdPpvNfNbZ7qKRCkRpH4BUVDUCScjiizmF74dQqamc+UqWwQxApHWCmFRzhPhtYRUfrF+l+EwB7kcZJaf2WY/5hQt4STDR+e3+p//drNtYvj8A/ExwAcbCviSRmpx/HvFI0Dzh/knl4vcI9jXE2CeBzuIFI4S4QSGhJZGO7TPFxVc4m3jcKCZXYbbl+hQVN0KdA6JccBwlYVm20aLhd9bTlgaQ4AkQyJcCTEtS9wzYwPtyxe+f4zkNU1bjMR4lF3/Ch+GXvL6RBMWekZx8pPyM7DXZr9gUR1PjGPdoOrEryWCdyqhr0/6l155Xmm2/9lQ1/eT0iXui1qPPkVH1TL5jF9aKAeQoLYqwcjZUDoruGEXrb5JYMYeKD0MZV1baUXVJY55O7Ct3fDhDcZpTJR2QUvgKAzTzlfNd6a8bOsNMlSdqr7oSZeMhtjV01Ia1R/VsTWDcdPrupiA/Etjjr1oturDGteEvfMKvFzrMhBpzjDZobCojDK6J8e2WKLTuJCSyw8oCAPeLuBO/+Qc/SdUctqlJXL8MUXs7FbMv9LKXJQVgNXD2zrRWOJThhplK26PPtiR/ifqqEuDX2Y6uK2CAfNeR3awmoqGopz08cthmrGdJqkLJLumOZaQIQ9APxOVSXjui51jytMiTmk92wZRbSPGGc6kZFQKoMlr1atvpTOlZS4g/vQ871U7gSnouh5okpaPfJQ1pyaK+3tEfMW+hwp13l95CoXZgyNBOTzQ4gOE0aRM5RxgtmA78M2/6Q5AGIiH1taEm62vl86i3/IgtDl95Y4IX7sA0vjA8Cz3zU/z8FwVYM1JfZgcLknoKdzys8BtRwIR9YI1QUbcIDEunTT+Y1sAT5gvBE+p4KyEr9YtIEZnYKb8pGjHOlI/PDGeGNJ9BoyU6Ln1EqTrCTMa+LkXt3ozqTiSY692RjKfWo0oZ62XffN6iQdp6y+qrjji/TsLp+9+pOpCt7Na1VRo5SezT92UVIIuz0lR/7GpoCgeHnmsrAqYJNHn+RNd8eONQzunvaZfoYQ++f3o224IPs7tDTTvM1SFgTTEsPnls2qtMsnKDP51NUAx7gAHn4/qL9a3OmF9fKkizUC+SnENTPslmMT85hP62uuYkTS26hqat7VdUo3mLhf6BGIeCqyWkG6sH1XyaZiWcI2Pk21eakWzo9nnfZz5kuMOGL/hhP9b95vD0wJb7k1MnaulmchiMsT1KPhy9STdi3M4ZVHd09c8H6bH37VuTXTyfjwyRfvUF5xBWwgscH22L0opvS0DIC0OyghrZD44z7/XHcS94nNVSdKIJyy5MYdOD0AW+urDgppDFulxbtTm0ZBRdRSKIfgqVlNGrX6IbkMsWYHDJIUuZcrbMayDctD0VEP6rD/KFaBUo5KS/ngwalOErvjQdBViq7E5ZK2jvXwyu/s2m48u4dEjiSnPEVM9oKnncGkczS18MYlnXmB8sOHQesGdfODx2lXa218iJNn6Umf4MIxggmv6cDTkyfqlbG05sd10NL+JtudEmznbyOEFeZOpMirm84UO964oniQliHCDwjTFXZnOak0yjfhBJ7GVvM4gh18zlU92OMxpBxOiQNZuTbh84ZVtOiMMXFdp2MJ4PpugJHmHa7BTRnyPqME0t62lIcFs+2hISlkINn0iVepyQw6TaVwcvyCF+6+UUxyWuVgi0axtz9lOGvKnIeKiMS926Xa4GNKQSeBMYczxxN7WZ8SoQy6qC7C8bL9SU2K984smlGHKbRnwqpuAqns0wL07T+l4hKl7okJJcFqRVQFST5EytAUo+Is1Pi8DlvzzYcTOh3Gu+uDCOS4BdofItTkHsUoVuO76expQmxP0VD8Q4iv8O6FIgWDUv/XhTO8H/Tf4QoO3B+v"/>
  <p:tag name="MEKKOXMLTAGS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6FE4FF9FF044C9BFA3E76F6B99373" ma:contentTypeVersion="12" ma:contentTypeDescription="Create a new document." ma:contentTypeScope="" ma:versionID="a8909ddcdfd21edf1ecc687c38f4030a">
  <xsd:schema xmlns:xsd="http://www.w3.org/2001/XMLSchema" xmlns:xs="http://www.w3.org/2001/XMLSchema" xmlns:p="http://schemas.microsoft.com/office/2006/metadata/properties" xmlns:ns2="3f900437-9395-4a63-a110-7ccd28d7d6bc" xmlns:ns3="2238185e-3cb0-42fa-b8c1-22a47d28b78f" targetNamespace="http://schemas.microsoft.com/office/2006/metadata/properties" ma:root="true" ma:fieldsID="2ea93fcb4ef06095dd26c3c8380a6f9e" ns2:_="" ns3:_="">
    <xsd:import namespace="3f900437-9395-4a63-a110-7ccd28d7d6bc"/>
    <xsd:import namespace="2238185e-3cb0-42fa-b8c1-22a47d28b7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900437-9395-4a63-a110-7ccd28d7d6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38185e-3cb0-42fa-b8c1-22a47d28b78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9096926-D39F-4BB8-ACD0-2F1112E11015}">
  <ds:schemaRefs>
    <ds:schemaRef ds:uri="2238185e-3cb0-42fa-b8c1-22a47d28b78f"/>
    <ds:schemaRef ds:uri="3f900437-9395-4a63-a110-7ccd28d7d6b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76C6789-6A8E-4A6D-BF47-4C25033593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6D4A2F-11EF-4602-86C4-909839B374A1}">
  <ds:schemaRefs>
    <ds:schemaRef ds:uri="3f900437-9395-4a63-a110-7ccd28d7d6bc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dcmitype/"/>
    <ds:schemaRef ds:uri="2238185e-3cb0-42fa-b8c1-22a47d28b78f"/>
    <ds:schemaRef ds:uri="http://schemas.openxmlformats.org/package/2006/metadata/core-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</TotalTime>
  <Words>1940</Words>
  <Application>Microsoft Office PowerPoint</Application>
  <PresentationFormat>Widescreen</PresentationFormat>
  <Paragraphs>681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Bain Core</vt:lpstr>
      <vt:lpstr>1_Bain Core</vt:lpstr>
      <vt:lpstr>think-cell Slide</vt:lpstr>
      <vt:lpstr>BCN PEG Mekko and think-cell Survey blanks</vt:lpstr>
      <vt:lpstr>Demographics: Survey covers a diverse set of respondents across gender, age, location, income and ethnic groups</vt:lpstr>
      <vt:lpstr>Customer Advocacy: X middle of the pack on customer advocacy with ~X% NPS</vt:lpstr>
      <vt:lpstr>KPC: Criteria importance not indexed (% of respondents) - Ranked</vt:lpstr>
      <vt:lpstr>Awareness funnel: X clear leader on brand awareness and usage followed by Y</vt:lpstr>
      <vt:lpstr>Use cases: Target used primarily for Channel XX and XX</vt:lpstr>
      <vt:lpstr>Non-users: x% non-users likely to begin use X in 3 years; Non-X users cite x and y as the main reasons for non-usage</vt:lpstr>
      <vt:lpstr>~x% customers using X as primary provider indicate they’re likely to switch in the next 3 years</vt:lpstr>
      <vt:lpstr>X relatively easier switch from vs. competitors; x and y key barriers to switching across companies</vt:lpstr>
      <vt:lpstr>~x% expect a spend increase on x; Average future spend expected to increase by x% YoY</vt:lpstr>
      <vt:lpstr>Future Spend: ~x% of X customers have increased spend over past 3 years driven by y and z</vt:lpstr>
      <vt:lpstr>Share of wallet: Weighted SOW</vt:lpstr>
      <vt:lpstr>Survey Demographics</vt:lpstr>
      <vt:lpstr>Customer advocacy (NPS)</vt:lpstr>
      <vt:lpstr>Usage </vt:lpstr>
      <vt:lpstr>KPC: Criteria importance not indexed (% of respondents) - Ranked</vt:lpstr>
      <vt:lpstr>KPC: Segment level KPC</vt:lpstr>
      <vt:lpstr>Awareness funnel: X clear leader on brand awareness and usage followed by Y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tes, Reuben</dc:creator>
  <cp:lastModifiedBy>Singh, Ujjwal</cp:lastModifiedBy>
  <cp:revision>4</cp:revision>
  <cp:lastPrinted>2017-02-15T14:23:56Z</cp:lastPrinted>
  <dcterms:created xsi:type="dcterms:W3CDTF">2022-12-05T08:28:21Z</dcterms:created>
  <dcterms:modified xsi:type="dcterms:W3CDTF">2025-05-08T09:1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6FE4FF9FF044C9BFA3E76F6B99373</vt:lpwstr>
  </property>
</Properties>
</file>